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93.xml" ContentType="application/vnd.openxmlformats-officedocument.presentationml.tags+xml"/>
  <Override PartName="/ppt/notesSlides/notesSlide24.xml" ContentType="application/vnd.openxmlformats-officedocument.presentationml.notesSlide+xml"/>
  <Override PartName="/ppt/tags/tag94.xml" ContentType="application/vnd.openxmlformats-officedocument.presentationml.tags+xml"/>
  <Override PartName="/ppt/notesSlides/notesSlide25.xml" ContentType="application/vnd.openxmlformats-officedocument.presentationml.notesSlide+xml"/>
  <Override PartName="/ppt/tags/tag95.xml" ContentType="application/vnd.openxmlformats-officedocument.presentationml.tags+xml"/>
  <Override PartName="/ppt/notesSlides/notesSlide26.xml" ContentType="application/vnd.openxmlformats-officedocument.presentationml.notesSlide+xml"/>
  <Override PartName="/ppt/comments/modernComment_129_6DF462A3.xml" ContentType="application/vnd.ms-powerpoint.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96.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900" r:id="rId4"/>
    <p:sldMasterId id="2147483852" r:id="rId5"/>
    <p:sldMasterId id="2147483907" r:id="rId6"/>
  </p:sldMasterIdLst>
  <p:notesMasterIdLst>
    <p:notesMasterId r:id="rId103"/>
  </p:notesMasterIdLst>
  <p:handoutMasterIdLst>
    <p:handoutMasterId r:id="rId104"/>
  </p:handoutMasterIdLst>
  <p:sldIdLst>
    <p:sldId id="274" r:id="rId7"/>
    <p:sldId id="2147476172" r:id="rId8"/>
    <p:sldId id="2147476173" r:id="rId9"/>
    <p:sldId id="2147476135" r:id="rId10"/>
    <p:sldId id="2147476137" r:id="rId11"/>
    <p:sldId id="2147476131" r:id="rId12"/>
    <p:sldId id="2147476174" r:id="rId13"/>
    <p:sldId id="2147475600" r:id="rId14"/>
    <p:sldId id="2147476196" r:id="rId15"/>
    <p:sldId id="2147475544" r:id="rId16"/>
    <p:sldId id="2147475606" r:id="rId17"/>
    <p:sldId id="2147476175" r:id="rId18"/>
    <p:sldId id="9930" r:id="rId19"/>
    <p:sldId id="9943" r:id="rId20"/>
    <p:sldId id="2147476138" r:id="rId21"/>
    <p:sldId id="2147476139" r:id="rId22"/>
    <p:sldId id="2147476140" r:id="rId23"/>
    <p:sldId id="2147476152" r:id="rId24"/>
    <p:sldId id="2147476141" r:id="rId25"/>
    <p:sldId id="2147476153" r:id="rId26"/>
    <p:sldId id="2147476154" r:id="rId27"/>
    <p:sldId id="9942" r:id="rId28"/>
    <p:sldId id="281" r:id="rId29"/>
    <p:sldId id="2147476176" r:id="rId30"/>
    <p:sldId id="2147476177" r:id="rId31"/>
    <p:sldId id="278" r:id="rId32"/>
    <p:sldId id="277" r:id="rId33"/>
    <p:sldId id="279" r:id="rId34"/>
    <p:sldId id="2147476178" r:id="rId35"/>
    <p:sldId id="9919" r:id="rId36"/>
    <p:sldId id="2147476179" r:id="rId37"/>
    <p:sldId id="9920" r:id="rId38"/>
    <p:sldId id="9921" r:id="rId39"/>
    <p:sldId id="9934" r:id="rId40"/>
    <p:sldId id="282" r:id="rId41"/>
    <p:sldId id="9922" r:id="rId42"/>
    <p:sldId id="9926" r:id="rId43"/>
    <p:sldId id="9927" r:id="rId44"/>
    <p:sldId id="9928" r:id="rId45"/>
    <p:sldId id="9929" r:id="rId46"/>
    <p:sldId id="9931" r:id="rId47"/>
    <p:sldId id="9955" r:id="rId48"/>
    <p:sldId id="9940" r:id="rId49"/>
    <p:sldId id="9944" r:id="rId50"/>
    <p:sldId id="9741" r:id="rId51"/>
    <p:sldId id="9909" r:id="rId52"/>
    <p:sldId id="9916" r:id="rId53"/>
    <p:sldId id="9917" r:id="rId54"/>
    <p:sldId id="2147476190" r:id="rId55"/>
    <p:sldId id="256" r:id="rId56"/>
    <p:sldId id="2147476191" r:id="rId57"/>
    <p:sldId id="2147476192" r:id="rId58"/>
    <p:sldId id="276" r:id="rId59"/>
    <p:sldId id="2147476193" r:id="rId60"/>
    <p:sldId id="9936" r:id="rId61"/>
    <p:sldId id="2147476194" r:id="rId62"/>
    <p:sldId id="9938" r:id="rId63"/>
    <p:sldId id="9952" r:id="rId64"/>
    <p:sldId id="2147476159" r:id="rId65"/>
    <p:sldId id="2147476195" r:id="rId66"/>
    <p:sldId id="280" r:id="rId67"/>
    <p:sldId id="9951" r:id="rId68"/>
    <p:sldId id="2147476197" r:id="rId69"/>
    <p:sldId id="297" r:id="rId70"/>
    <p:sldId id="9757" r:id="rId71"/>
    <p:sldId id="9958" r:id="rId72"/>
    <p:sldId id="9935" r:id="rId73"/>
    <p:sldId id="9957" r:id="rId74"/>
    <p:sldId id="9960" r:id="rId75"/>
    <p:sldId id="9961" r:id="rId76"/>
    <p:sldId id="2147476198" r:id="rId77"/>
    <p:sldId id="9947" r:id="rId78"/>
    <p:sldId id="2147476199" r:id="rId79"/>
    <p:sldId id="2147476200" r:id="rId80"/>
    <p:sldId id="9954" r:id="rId81"/>
    <p:sldId id="2147476201" r:id="rId82"/>
    <p:sldId id="2147476202" r:id="rId83"/>
    <p:sldId id="2147476203" r:id="rId84"/>
    <p:sldId id="2147476167" r:id="rId85"/>
    <p:sldId id="2147476168" r:id="rId86"/>
    <p:sldId id="9953" r:id="rId87"/>
    <p:sldId id="9956" r:id="rId88"/>
    <p:sldId id="2147476169" r:id="rId89"/>
    <p:sldId id="2147476170" r:id="rId90"/>
    <p:sldId id="9968" r:id="rId91"/>
    <p:sldId id="9964" r:id="rId92"/>
    <p:sldId id="9969" r:id="rId93"/>
    <p:sldId id="2147476171" r:id="rId94"/>
    <p:sldId id="2147476183" r:id="rId95"/>
    <p:sldId id="2147476184" r:id="rId96"/>
    <p:sldId id="2147476185" r:id="rId97"/>
    <p:sldId id="2147476186" r:id="rId98"/>
    <p:sldId id="2147476187" r:id="rId99"/>
    <p:sldId id="2147476204" r:id="rId100"/>
    <p:sldId id="2147476189" r:id="rId101"/>
    <p:sldId id="271" r:id="rId102"/>
  </p:sldIdLst>
  <p:sldSz cx="12192000" cy="6858000"/>
  <p:notesSz cx="6858000" cy="9144000"/>
  <p:embeddedFontLst>
    <p:embeddedFont>
      <p:font typeface="Avenir Next" panose="020B0503020202020204" pitchFamily="34" charset="0"/>
      <p:regular r:id="rId105"/>
      <p:bold r:id="rId106"/>
      <p:italic r:id="rId107"/>
    </p:embeddedFont>
    <p:embeddedFont>
      <p:font typeface="Avenir Next LT Pro" panose="020B0504020202020204" pitchFamily="34" charset="0"/>
      <p:regular r:id="rId108"/>
      <p:bold r:id="rId109"/>
      <p:italic r:id="rId110"/>
      <p:boldItalic r:id="rId111"/>
    </p:embeddedFont>
    <p:embeddedFont>
      <p:font typeface="Avenir Next LT Pro Demi" panose="020B0704020202020204" pitchFamily="34" charset="0"/>
      <p:bold r:id="rId112"/>
      <p:boldItalic r:id="rId113"/>
    </p:embeddedFont>
    <p:embeddedFont>
      <p:font typeface="AvenirNext LT Pro Medium" panose="020B0604020202020204" pitchFamily="34" charset="0"/>
      <p:regular r:id="rId114"/>
      <p:bold r:id="rId115"/>
      <p:italic r:id="rId116"/>
      <p:boldItalic r:id="rId117"/>
    </p:embeddedFont>
    <p:embeddedFont>
      <p:font typeface="AvenirNext LT Pro Regular" panose="020B0504020202020204" pitchFamily="34" charset="0"/>
      <p:regular r:id="rId118"/>
      <p:bold r:id="rId119"/>
      <p:italic r:id="rId120"/>
      <p:boldItalic r:id="rId121"/>
    </p:embeddedFont>
    <p:embeddedFont>
      <p:font typeface="Ellab Sans" panose="02000503000000020004" pitchFamily="2" charset="0"/>
      <p:regular r:id="rId122"/>
      <p:bold r:id="rId123"/>
      <p:italic r:id="rId124"/>
      <p:boldItalic r:id="rId125"/>
    </p:embeddedFont>
    <p:embeddedFont>
      <p:font typeface="Ellab Sans SemiBold" panose="02000703000000020004" pitchFamily="2" charset="0"/>
      <p:bold r:id="rId126"/>
      <p:boldItalic r:id="rId127"/>
    </p:embeddedFont>
  </p:embeddedFontLst>
  <p:defaultTextStyle>
    <a:defPPr>
      <a:defRPr lang="da-DK"/>
    </a:defPPr>
    <a:lvl1pPr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p:defaultTextStyle>
  <p:extLst>
    <p:ext uri="{521415D9-36F7-43E2-AB2F-B90AF26B5E84}">
      <p14:sectionLst xmlns:p14="http://schemas.microsoft.com/office/powerpoint/2010/main">
        <p14:section name="Ikke-navngivet sektion" id="{EFF1556F-0D05-8747-A1B2-8A18DD99C842}">
          <p14:sldIdLst>
            <p14:sldId id="274"/>
            <p14:sldId id="2147476172"/>
            <p14:sldId id="2147476173"/>
            <p14:sldId id="2147476135"/>
            <p14:sldId id="2147476137"/>
            <p14:sldId id="2147476131"/>
            <p14:sldId id="2147476174"/>
            <p14:sldId id="2147475600"/>
            <p14:sldId id="2147476196"/>
            <p14:sldId id="2147475544"/>
            <p14:sldId id="2147475606"/>
            <p14:sldId id="2147476175"/>
            <p14:sldId id="9930"/>
            <p14:sldId id="9943"/>
            <p14:sldId id="2147476138"/>
            <p14:sldId id="2147476139"/>
            <p14:sldId id="2147476140"/>
            <p14:sldId id="2147476152"/>
            <p14:sldId id="2147476141"/>
            <p14:sldId id="2147476153"/>
            <p14:sldId id="2147476154"/>
            <p14:sldId id="9942"/>
            <p14:sldId id="281"/>
            <p14:sldId id="2147476176"/>
            <p14:sldId id="2147476177"/>
            <p14:sldId id="278"/>
            <p14:sldId id="277"/>
            <p14:sldId id="279"/>
            <p14:sldId id="2147476178"/>
            <p14:sldId id="9919"/>
            <p14:sldId id="2147476179"/>
            <p14:sldId id="9920"/>
            <p14:sldId id="9921"/>
            <p14:sldId id="9934"/>
            <p14:sldId id="282"/>
            <p14:sldId id="9922"/>
            <p14:sldId id="9926"/>
            <p14:sldId id="9927"/>
            <p14:sldId id="9928"/>
            <p14:sldId id="9929"/>
            <p14:sldId id="9931"/>
            <p14:sldId id="9955"/>
            <p14:sldId id="9940"/>
            <p14:sldId id="9944"/>
            <p14:sldId id="9741"/>
            <p14:sldId id="9909"/>
            <p14:sldId id="9916"/>
            <p14:sldId id="9917"/>
            <p14:sldId id="2147476190"/>
            <p14:sldId id="256"/>
            <p14:sldId id="2147476191"/>
            <p14:sldId id="2147476192"/>
            <p14:sldId id="276"/>
            <p14:sldId id="2147476193"/>
            <p14:sldId id="9936"/>
            <p14:sldId id="2147476194"/>
            <p14:sldId id="9938"/>
            <p14:sldId id="9952"/>
            <p14:sldId id="2147476159"/>
            <p14:sldId id="2147476195"/>
            <p14:sldId id="280"/>
            <p14:sldId id="9951"/>
            <p14:sldId id="2147476197"/>
            <p14:sldId id="297"/>
            <p14:sldId id="9757"/>
            <p14:sldId id="9958"/>
            <p14:sldId id="9935"/>
            <p14:sldId id="9957"/>
            <p14:sldId id="9960"/>
            <p14:sldId id="9961"/>
            <p14:sldId id="2147476198"/>
            <p14:sldId id="9947"/>
            <p14:sldId id="2147476199"/>
            <p14:sldId id="2147476200"/>
            <p14:sldId id="9954"/>
            <p14:sldId id="2147476201"/>
            <p14:sldId id="2147476202"/>
            <p14:sldId id="2147476203"/>
            <p14:sldId id="2147476167"/>
            <p14:sldId id="2147476168"/>
            <p14:sldId id="9953"/>
            <p14:sldId id="9956"/>
            <p14:sldId id="2147476169"/>
            <p14:sldId id="2147476170"/>
            <p14:sldId id="9968"/>
            <p14:sldId id="9964"/>
            <p14:sldId id="9969"/>
            <p14:sldId id="2147476171"/>
            <p14:sldId id="2147476183"/>
            <p14:sldId id="2147476184"/>
            <p14:sldId id="2147476185"/>
            <p14:sldId id="2147476186"/>
            <p14:sldId id="2147476187"/>
            <p14:sldId id="2147476204"/>
            <p14:sldId id="2147476189"/>
            <p14:sldId id="27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2F0238-F3F5-DBA1-4983-10C0C767AC5F}" name="Aleksandra Szejko" initials="AS" userId="S::asz@ellab.com::72bb44d8-1e0c-4109-be82-c57a4fb81907" providerId="AD"/>
  <p188:author id="{660D5641-7714-E43B-4EDD-9B9EC585A4E2}" name="Andreas Kößler" initials="AK" userId="S::ako@ellab.com::00c157eb-ce4c-456e-be81-30566200221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5D9649-9919-48C8-A3A1-AC11669A25FB}" v="106" dt="2025-03-12T09:05:40.399"/>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11" autoAdjust="0"/>
    <p:restoredTop sz="94682"/>
  </p:normalViewPr>
  <p:slideViewPr>
    <p:cSldViewPr snapToGrid="0" showGuides="1">
      <p:cViewPr varScale="1">
        <p:scale>
          <a:sx n="106" d="100"/>
          <a:sy n="106" d="100"/>
        </p:scale>
        <p:origin x="558" y="78"/>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13.fntdata"/><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6" Type="http://schemas.openxmlformats.org/officeDocument/2006/relationships/slide" Target="slides/slide10.xml"/><Relationship Id="rId107" Type="http://schemas.openxmlformats.org/officeDocument/2006/relationships/font" Target="fonts/font3.fntdata"/><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font" Target="fonts/font19.fntdata"/><Relationship Id="rId128" Type="http://schemas.openxmlformats.org/officeDocument/2006/relationships/presProps" Target="presProps.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font" Target="fonts/font9.fntdata"/><Relationship Id="rId118" Type="http://schemas.openxmlformats.org/officeDocument/2006/relationships/font" Target="fonts/font14.fntdata"/><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notesMaster" Target="notesMasters/notesMaster1.xml"/><Relationship Id="rId108" Type="http://schemas.openxmlformats.org/officeDocument/2006/relationships/font" Target="fonts/font4.fntdata"/><Relationship Id="rId124" Type="http://schemas.openxmlformats.org/officeDocument/2006/relationships/font" Target="fonts/font20.fntdata"/><Relationship Id="rId129" Type="http://schemas.openxmlformats.org/officeDocument/2006/relationships/viewProps" Target="viewProps.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font" Target="fonts/font10.fntdata"/><Relationship Id="rId119" Type="http://schemas.openxmlformats.org/officeDocument/2006/relationships/font" Target="fonts/font15.fntdata"/><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openxmlformats.org/officeDocument/2006/relationships/theme" Target="theme/theme1.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font" Target="fonts/font5.fntdata"/><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handoutMaster" Target="handoutMasters/handoutMaster1.xml"/><Relationship Id="rId120" Type="http://schemas.openxmlformats.org/officeDocument/2006/relationships/font" Target="fonts/font16.fntdata"/><Relationship Id="rId125" Type="http://schemas.openxmlformats.org/officeDocument/2006/relationships/font" Target="fonts/font21.fntdata"/><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font" Target="fonts/font6.fntdata"/><Relationship Id="rId115" Type="http://schemas.openxmlformats.org/officeDocument/2006/relationships/font" Target="fonts/font11.fntdata"/><Relationship Id="rId131" Type="http://schemas.openxmlformats.org/officeDocument/2006/relationships/tableStyles" Target="tableStyles.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font" Target="fonts/font1.fntdata"/><Relationship Id="rId126" Type="http://schemas.openxmlformats.org/officeDocument/2006/relationships/font" Target="fonts/font22.fntdata"/><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font" Target="fonts/font17.fntdata"/><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font" Target="fonts/font12.fntdata"/><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font" Target="fonts/font7.fntdata"/><Relationship Id="rId132" Type="http://schemas.microsoft.com/office/2015/10/relationships/revisionInfo" Target="revisionInfo.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font" Target="fonts/font2.fntdata"/><Relationship Id="rId127" Type="http://schemas.openxmlformats.org/officeDocument/2006/relationships/font" Target="fonts/font23.fntdata"/><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font" Target="fonts/font18.fntdata"/><Relationship Id="rId4" Type="http://schemas.openxmlformats.org/officeDocument/2006/relationships/slideMaster" Target="slideMasters/slideMaster1.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font" Target="fonts/font8.fntdata"/><Relationship Id="rId133"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553359683794467"/>
          <c:y val="0.20553359683794467"/>
          <c:w val="0.58893280632411071"/>
          <c:h val="0.58893280632411071"/>
        </c:manualLayout>
      </c:layout>
      <c:pieChart>
        <c:varyColors val="0"/>
        <c:ser>
          <c:idx val="0"/>
          <c:order val="0"/>
          <c:dPt>
            <c:idx val="0"/>
            <c:bubble3D val="0"/>
            <c:spPr>
              <a:solidFill>
                <a:schemeClr val="tx1"/>
              </a:solidFill>
              <a:ln w="9525" cmpd="sng" algn="ctr">
                <a:solidFill>
                  <a:schemeClr val="tx1"/>
                </a:solidFill>
                <a:prstDash val="solid"/>
              </a:ln>
            </c:spPr>
            <c:extLst>
              <c:ext xmlns:c16="http://schemas.microsoft.com/office/drawing/2014/chart" uri="{C3380CC4-5D6E-409C-BE32-E72D297353CC}">
                <c16:uniqueId val="{00000000-2D37-4AA9-8D6B-E3C51273879A}"/>
              </c:ext>
            </c:extLst>
          </c:dPt>
          <c:dPt>
            <c:idx val="1"/>
            <c:bubble3D val="0"/>
            <c:spPr>
              <a:solidFill>
                <a:schemeClr val="bg2"/>
              </a:solidFill>
              <a:ln w="9525" cmpd="sng" algn="ctr">
                <a:solidFill>
                  <a:schemeClr val="tx1"/>
                </a:solidFill>
                <a:prstDash val="solid"/>
              </a:ln>
            </c:spPr>
            <c:extLst>
              <c:ext xmlns:c16="http://schemas.microsoft.com/office/drawing/2014/chart" uri="{C3380CC4-5D6E-409C-BE32-E72D297353CC}">
                <c16:uniqueId val="{00000001-2D37-4AA9-8D6B-E3C51273879A}"/>
              </c:ext>
            </c:extLst>
          </c:dPt>
          <c:val>
            <c:numRef>
              <c:f>Sheet1!$A$1:$A$2</c:f>
              <c:numCache>
                <c:formatCode>General</c:formatCode>
                <c:ptCount val="2"/>
                <c:pt idx="0">
                  <c:v>31.178846860080796</c:v>
                </c:pt>
                <c:pt idx="1">
                  <c:v>68.821153139919204</c:v>
                </c:pt>
              </c:numCache>
            </c:numRef>
          </c:val>
          <c:extLst>
            <c:ext xmlns:c16="http://schemas.microsoft.com/office/drawing/2014/chart" uri="{C3380CC4-5D6E-409C-BE32-E72D297353CC}">
              <c16:uniqueId val="{00000002-2D37-4AA9-8D6B-E3C51273879A}"/>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923371647509577"/>
          <c:y val="0.19923371647509577"/>
          <c:w val="0.6015325670498084"/>
          <c:h val="0.6015325670498084"/>
        </c:manualLayout>
      </c:layout>
      <c:pieChart>
        <c:varyColors val="0"/>
        <c:ser>
          <c:idx val="0"/>
          <c:order val="0"/>
          <c:dPt>
            <c:idx val="0"/>
            <c:bubble3D val="0"/>
            <c:spPr>
              <a:solidFill>
                <a:schemeClr val="tx1"/>
              </a:solidFill>
              <a:ln w="9525" cmpd="sng" algn="ctr">
                <a:solidFill>
                  <a:schemeClr val="tx1"/>
                </a:solidFill>
                <a:prstDash val="solid"/>
              </a:ln>
            </c:spPr>
            <c:extLst>
              <c:ext xmlns:c16="http://schemas.microsoft.com/office/drawing/2014/chart" uri="{C3380CC4-5D6E-409C-BE32-E72D297353CC}">
                <c16:uniqueId val="{00000000-DF1C-4580-89C3-27F14C8EF2B1}"/>
              </c:ext>
            </c:extLst>
          </c:dPt>
          <c:dPt>
            <c:idx val="1"/>
            <c:bubble3D val="0"/>
            <c:spPr>
              <a:solidFill>
                <a:schemeClr val="bg2"/>
              </a:solidFill>
              <a:ln w="9525" cmpd="sng" algn="ctr">
                <a:solidFill>
                  <a:schemeClr val="tx1"/>
                </a:solidFill>
                <a:prstDash val="solid"/>
              </a:ln>
            </c:spPr>
            <c:extLst>
              <c:ext xmlns:c16="http://schemas.microsoft.com/office/drawing/2014/chart" uri="{C3380CC4-5D6E-409C-BE32-E72D297353CC}">
                <c16:uniqueId val="{00000001-DF1C-4580-89C3-27F14C8EF2B1}"/>
              </c:ext>
            </c:extLst>
          </c:dPt>
          <c:val>
            <c:numRef>
              <c:f>Sheet1!$A$1:$A$2</c:f>
              <c:numCache>
                <c:formatCode>General</c:formatCode>
                <c:ptCount val="2"/>
                <c:pt idx="0">
                  <c:v>7.0143224384869622</c:v>
                </c:pt>
                <c:pt idx="1">
                  <c:v>92.985677561513029</c:v>
                </c:pt>
              </c:numCache>
            </c:numRef>
          </c:val>
          <c:extLst>
            <c:ext xmlns:c16="http://schemas.microsoft.com/office/drawing/2014/chart" uri="{C3380CC4-5D6E-409C-BE32-E72D297353CC}">
              <c16:uniqueId val="{00000002-DF1C-4580-89C3-27F14C8EF2B1}"/>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923371647509577"/>
          <c:y val="0.19923371647509577"/>
          <c:w val="0.6015325670498084"/>
          <c:h val="0.6015325670498084"/>
        </c:manualLayout>
      </c:layout>
      <c:pieChart>
        <c:varyColors val="0"/>
        <c:ser>
          <c:idx val="0"/>
          <c:order val="0"/>
          <c:dPt>
            <c:idx val="0"/>
            <c:bubble3D val="0"/>
            <c:spPr>
              <a:solidFill>
                <a:schemeClr val="tx1"/>
              </a:solidFill>
              <a:ln w="9525" cmpd="sng" algn="ctr">
                <a:solidFill>
                  <a:schemeClr val="tx1"/>
                </a:solidFill>
                <a:prstDash val="solid"/>
              </a:ln>
            </c:spPr>
            <c:extLst>
              <c:ext xmlns:c16="http://schemas.microsoft.com/office/drawing/2014/chart" uri="{C3380CC4-5D6E-409C-BE32-E72D297353CC}">
                <c16:uniqueId val="{00000000-DF38-45D5-8F54-17707D072248}"/>
              </c:ext>
            </c:extLst>
          </c:dPt>
          <c:dPt>
            <c:idx val="1"/>
            <c:bubble3D val="0"/>
            <c:spPr>
              <a:solidFill>
                <a:schemeClr val="bg2"/>
              </a:solidFill>
              <a:ln w="9525" cmpd="sng" algn="ctr">
                <a:solidFill>
                  <a:schemeClr val="tx1"/>
                </a:solidFill>
                <a:prstDash val="solid"/>
              </a:ln>
            </c:spPr>
            <c:extLst>
              <c:ext xmlns:c16="http://schemas.microsoft.com/office/drawing/2014/chart" uri="{C3380CC4-5D6E-409C-BE32-E72D297353CC}">
                <c16:uniqueId val="{00000001-DF38-45D5-8F54-17707D072248}"/>
              </c:ext>
            </c:extLst>
          </c:dPt>
          <c:val>
            <c:numRef>
              <c:f>Sheet1!$A$1:$A$2</c:f>
              <c:numCache>
                <c:formatCode>General</c:formatCode>
                <c:ptCount val="2"/>
                <c:pt idx="0">
                  <c:v>61.806830701432247</c:v>
                </c:pt>
                <c:pt idx="1">
                  <c:v>38.193169298567753</c:v>
                </c:pt>
              </c:numCache>
            </c:numRef>
          </c:val>
          <c:extLst>
            <c:ext xmlns:c16="http://schemas.microsoft.com/office/drawing/2014/chart" uri="{C3380CC4-5D6E-409C-BE32-E72D297353CC}">
              <c16:uniqueId val="{00000002-DF38-45D5-8F54-17707D072248}"/>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62589928057555E-2"/>
          <c:y val="9.5063985374771481E-2"/>
          <c:w val="0.90647482014388492"/>
          <c:h val="0.80987202925045709"/>
        </c:manualLayout>
      </c:layout>
      <c:barChart>
        <c:barDir val="col"/>
        <c:grouping val="stacked"/>
        <c:varyColors val="0"/>
        <c:ser>
          <c:idx val="0"/>
          <c:order val="0"/>
          <c:spPr>
            <a:solidFill>
              <a:srgbClr val="007770"/>
            </a:solid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6EBE-4E44-9DDA-DBCF9CE90499}"/>
              </c:ext>
            </c:extLst>
          </c:dPt>
          <c:dPt>
            <c:idx val="1"/>
            <c:invertIfNegative val="0"/>
            <c:bubble3D val="0"/>
            <c:spPr>
              <a:solidFill>
                <a:schemeClr val="accent5"/>
              </a:solidFill>
              <a:ln>
                <a:noFill/>
              </a:ln>
            </c:spPr>
            <c:extLst>
              <c:ext xmlns:c16="http://schemas.microsoft.com/office/drawing/2014/chart" uri="{C3380CC4-5D6E-409C-BE32-E72D297353CC}">
                <c16:uniqueId val="{00000001-6EBE-4E44-9DDA-DBCF9CE90499}"/>
              </c:ext>
            </c:extLst>
          </c:dPt>
          <c:dPt>
            <c:idx val="2"/>
            <c:invertIfNegative val="0"/>
            <c:bubble3D val="0"/>
            <c:spPr>
              <a:solidFill>
                <a:schemeClr val="accent2"/>
              </a:solidFill>
              <a:ln>
                <a:noFill/>
              </a:ln>
            </c:spPr>
            <c:extLst>
              <c:ext xmlns:c16="http://schemas.microsoft.com/office/drawing/2014/chart" uri="{C3380CC4-5D6E-409C-BE32-E72D297353CC}">
                <c16:uniqueId val="{00000002-6EBE-4E44-9DDA-DBCF9CE90499}"/>
              </c:ext>
            </c:extLst>
          </c:dPt>
          <c:dPt>
            <c:idx val="4"/>
            <c:invertIfNegative val="0"/>
            <c:bubble3D val="0"/>
            <c:spPr>
              <a:solidFill>
                <a:schemeClr val="accent6"/>
              </a:solidFill>
              <a:ln>
                <a:noFill/>
              </a:ln>
            </c:spPr>
            <c:extLst>
              <c:ext xmlns:c16="http://schemas.microsoft.com/office/drawing/2014/chart" uri="{C3380CC4-5D6E-409C-BE32-E72D297353CC}">
                <c16:uniqueId val="{00000003-6EBE-4E44-9DDA-DBCF9CE90499}"/>
              </c:ext>
            </c:extLst>
          </c:dPt>
          <c:dPt>
            <c:idx val="5"/>
            <c:invertIfNegative val="0"/>
            <c:bubble3D val="0"/>
            <c:spPr>
              <a:solidFill>
                <a:srgbClr val="969696"/>
              </a:solidFill>
              <a:ln>
                <a:noFill/>
              </a:ln>
            </c:spPr>
            <c:extLst>
              <c:ext xmlns:c16="http://schemas.microsoft.com/office/drawing/2014/chart" uri="{C3380CC4-5D6E-409C-BE32-E72D297353CC}">
                <c16:uniqueId val="{00000004-6EBE-4E44-9DDA-DBCF9CE90499}"/>
              </c:ext>
            </c:extLst>
          </c:dPt>
          <c:val>
            <c:numRef>
              <c:f>Sheet1!$A$1:$F$1</c:f>
              <c:numCache>
                <c:formatCode>General</c:formatCode>
                <c:ptCount val="6"/>
                <c:pt idx="0">
                  <c:v>50</c:v>
                </c:pt>
                <c:pt idx="1">
                  <c:v>20</c:v>
                </c:pt>
                <c:pt idx="2">
                  <c:v>40</c:v>
                </c:pt>
                <c:pt idx="3">
                  <c:v>20</c:v>
                </c:pt>
                <c:pt idx="4">
                  <c:v>50</c:v>
                </c:pt>
                <c:pt idx="5">
                  <c:v>5</c:v>
                </c:pt>
              </c:numCache>
            </c:numRef>
          </c:val>
          <c:extLst>
            <c:ext xmlns:c16="http://schemas.microsoft.com/office/drawing/2014/chart" uri="{C3380CC4-5D6E-409C-BE32-E72D297353CC}">
              <c16:uniqueId val="{00000005-6EBE-4E44-9DDA-DBCF9CE90499}"/>
            </c:ext>
          </c:extLst>
        </c:ser>
        <c:dLbls>
          <c:showLegendKey val="0"/>
          <c:showVal val="0"/>
          <c:showCatName val="0"/>
          <c:showSerName val="0"/>
          <c:showPercent val="0"/>
          <c:showBubbleSize val="0"/>
        </c:dLbls>
        <c:gapWidth val="80"/>
        <c:overlap val="100"/>
        <c:axId val="758082399"/>
        <c:axId val="1"/>
      </c:barChart>
      <c:catAx>
        <c:axId val="75808239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600" kern="1200">
                <a:latin typeface="+mn-lt"/>
                <a:ea typeface="+mn-ea"/>
                <a:cs typeface="+mn-cs"/>
              </a:defRPr>
            </a:pPr>
            <a:endParaRPr lang="en-DK"/>
          </a:p>
        </c:txPr>
        <c:crossAx val="758082399"/>
        <c:crosses val="min"/>
        <c:crossBetween val="between"/>
        <c:majorUnit val="2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62589928057555E-2"/>
          <c:y val="9.5063985374771481E-2"/>
          <c:w val="0.90647482014388492"/>
          <c:h val="0.80987202925045709"/>
        </c:manualLayout>
      </c:layout>
      <c:barChart>
        <c:barDir val="col"/>
        <c:grouping val="stacked"/>
        <c:varyColors val="0"/>
        <c:ser>
          <c:idx val="0"/>
          <c:order val="0"/>
          <c:spPr>
            <a:solidFill>
              <a:srgbClr val="007770"/>
            </a:solid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FBC0-4CD3-8019-8B5AE31F14A9}"/>
              </c:ext>
            </c:extLst>
          </c:dPt>
          <c:dPt>
            <c:idx val="1"/>
            <c:invertIfNegative val="0"/>
            <c:bubble3D val="0"/>
            <c:spPr>
              <a:solidFill>
                <a:schemeClr val="accent5"/>
              </a:solidFill>
              <a:ln>
                <a:noFill/>
              </a:ln>
            </c:spPr>
            <c:extLst>
              <c:ext xmlns:c16="http://schemas.microsoft.com/office/drawing/2014/chart" uri="{C3380CC4-5D6E-409C-BE32-E72D297353CC}">
                <c16:uniqueId val="{00000001-FBC0-4CD3-8019-8B5AE31F14A9}"/>
              </c:ext>
            </c:extLst>
          </c:dPt>
          <c:dPt>
            <c:idx val="2"/>
            <c:invertIfNegative val="0"/>
            <c:bubble3D val="0"/>
            <c:spPr>
              <a:solidFill>
                <a:schemeClr val="accent2"/>
              </a:solidFill>
              <a:ln>
                <a:noFill/>
              </a:ln>
            </c:spPr>
            <c:extLst>
              <c:ext xmlns:c16="http://schemas.microsoft.com/office/drawing/2014/chart" uri="{C3380CC4-5D6E-409C-BE32-E72D297353CC}">
                <c16:uniqueId val="{00000002-FBC0-4CD3-8019-8B5AE31F14A9}"/>
              </c:ext>
            </c:extLst>
          </c:dPt>
          <c:dPt>
            <c:idx val="4"/>
            <c:invertIfNegative val="0"/>
            <c:bubble3D val="0"/>
            <c:spPr>
              <a:solidFill>
                <a:schemeClr val="accent6"/>
              </a:solidFill>
              <a:ln>
                <a:noFill/>
              </a:ln>
            </c:spPr>
            <c:extLst>
              <c:ext xmlns:c16="http://schemas.microsoft.com/office/drawing/2014/chart" uri="{C3380CC4-5D6E-409C-BE32-E72D297353CC}">
                <c16:uniqueId val="{00000003-FBC0-4CD3-8019-8B5AE31F14A9}"/>
              </c:ext>
            </c:extLst>
          </c:dPt>
          <c:dPt>
            <c:idx val="5"/>
            <c:invertIfNegative val="0"/>
            <c:bubble3D val="0"/>
            <c:spPr>
              <a:solidFill>
                <a:srgbClr val="969696"/>
              </a:solidFill>
              <a:ln>
                <a:noFill/>
              </a:ln>
            </c:spPr>
            <c:extLst>
              <c:ext xmlns:c16="http://schemas.microsoft.com/office/drawing/2014/chart" uri="{C3380CC4-5D6E-409C-BE32-E72D297353CC}">
                <c16:uniqueId val="{00000004-FBC0-4CD3-8019-8B5AE31F14A9}"/>
              </c:ext>
            </c:extLst>
          </c:dPt>
          <c:val>
            <c:numRef>
              <c:f>Sheet1!$A$1:$F$1</c:f>
              <c:numCache>
                <c:formatCode>General</c:formatCode>
                <c:ptCount val="6"/>
                <c:pt idx="0">
                  <c:v>50</c:v>
                </c:pt>
                <c:pt idx="1">
                  <c:v>5</c:v>
                </c:pt>
                <c:pt idx="2">
                  <c:v>30</c:v>
                </c:pt>
                <c:pt idx="3">
                  <c:v>5</c:v>
                </c:pt>
                <c:pt idx="4">
                  <c:v>30</c:v>
                </c:pt>
                <c:pt idx="5">
                  <c:v>0</c:v>
                </c:pt>
              </c:numCache>
            </c:numRef>
          </c:val>
          <c:extLst>
            <c:ext xmlns:c16="http://schemas.microsoft.com/office/drawing/2014/chart" uri="{C3380CC4-5D6E-409C-BE32-E72D297353CC}">
              <c16:uniqueId val="{00000005-FBC0-4CD3-8019-8B5AE31F14A9}"/>
            </c:ext>
          </c:extLst>
        </c:ser>
        <c:dLbls>
          <c:showLegendKey val="0"/>
          <c:showVal val="0"/>
          <c:showCatName val="0"/>
          <c:showSerName val="0"/>
          <c:showPercent val="0"/>
          <c:showBubbleSize val="0"/>
        </c:dLbls>
        <c:gapWidth val="80"/>
        <c:overlap val="100"/>
        <c:axId val="763218223"/>
        <c:axId val="1"/>
      </c:barChart>
      <c:catAx>
        <c:axId val="7632182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600" kern="1200">
                <a:latin typeface="+mn-lt"/>
                <a:ea typeface="+mn-ea"/>
                <a:cs typeface="+mn-cs"/>
              </a:defRPr>
            </a:pPr>
            <a:endParaRPr lang="en-DK"/>
          </a:p>
        </c:txPr>
        <c:crossAx val="763218223"/>
        <c:crosses val="min"/>
        <c:crossBetween val="between"/>
        <c:majorUnit val="2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62589928057555E-2"/>
          <c:y val="9.5063985374771481E-2"/>
          <c:w val="0.90647482014388492"/>
          <c:h val="0.80987202925045709"/>
        </c:manualLayout>
      </c:layout>
      <c:barChart>
        <c:barDir val="col"/>
        <c:grouping val="stacked"/>
        <c:varyColors val="0"/>
        <c:ser>
          <c:idx val="0"/>
          <c:order val="0"/>
          <c:spPr>
            <a:solidFill>
              <a:srgbClr val="007770"/>
            </a:solid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C353-4874-811E-2F16EF79ECF5}"/>
              </c:ext>
            </c:extLst>
          </c:dPt>
          <c:dPt>
            <c:idx val="1"/>
            <c:invertIfNegative val="0"/>
            <c:bubble3D val="0"/>
            <c:spPr>
              <a:solidFill>
                <a:schemeClr val="accent5"/>
              </a:solidFill>
              <a:ln>
                <a:noFill/>
              </a:ln>
            </c:spPr>
            <c:extLst>
              <c:ext xmlns:c16="http://schemas.microsoft.com/office/drawing/2014/chart" uri="{C3380CC4-5D6E-409C-BE32-E72D297353CC}">
                <c16:uniqueId val="{00000001-C353-4874-811E-2F16EF79ECF5}"/>
              </c:ext>
            </c:extLst>
          </c:dPt>
          <c:dPt>
            <c:idx val="2"/>
            <c:invertIfNegative val="0"/>
            <c:bubble3D val="0"/>
            <c:spPr>
              <a:solidFill>
                <a:schemeClr val="accent2"/>
              </a:solidFill>
              <a:ln>
                <a:noFill/>
              </a:ln>
            </c:spPr>
            <c:extLst>
              <c:ext xmlns:c16="http://schemas.microsoft.com/office/drawing/2014/chart" uri="{C3380CC4-5D6E-409C-BE32-E72D297353CC}">
                <c16:uniqueId val="{00000002-C353-4874-811E-2F16EF79ECF5}"/>
              </c:ext>
            </c:extLst>
          </c:dPt>
          <c:dPt>
            <c:idx val="4"/>
            <c:invertIfNegative val="0"/>
            <c:bubble3D val="0"/>
            <c:spPr>
              <a:solidFill>
                <a:schemeClr val="accent6"/>
              </a:solidFill>
              <a:ln>
                <a:noFill/>
              </a:ln>
            </c:spPr>
            <c:extLst>
              <c:ext xmlns:c16="http://schemas.microsoft.com/office/drawing/2014/chart" uri="{C3380CC4-5D6E-409C-BE32-E72D297353CC}">
                <c16:uniqueId val="{00000003-C353-4874-811E-2F16EF79ECF5}"/>
              </c:ext>
            </c:extLst>
          </c:dPt>
          <c:dPt>
            <c:idx val="5"/>
            <c:invertIfNegative val="0"/>
            <c:bubble3D val="0"/>
            <c:spPr>
              <a:solidFill>
                <a:srgbClr val="969696"/>
              </a:solidFill>
              <a:ln>
                <a:noFill/>
              </a:ln>
            </c:spPr>
            <c:extLst>
              <c:ext xmlns:c16="http://schemas.microsoft.com/office/drawing/2014/chart" uri="{C3380CC4-5D6E-409C-BE32-E72D297353CC}">
                <c16:uniqueId val="{00000004-C353-4874-811E-2F16EF79ECF5}"/>
              </c:ext>
            </c:extLst>
          </c:dPt>
          <c:val>
            <c:numRef>
              <c:f>Sheet1!$A$1:$F$1</c:f>
              <c:numCache>
                <c:formatCode>General</c:formatCode>
                <c:ptCount val="6"/>
                <c:pt idx="0">
                  <c:v>30</c:v>
                </c:pt>
                <c:pt idx="1">
                  <c:v>60</c:v>
                </c:pt>
                <c:pt idx="2">
                  <c:v>40</c:v>
                </c:pt>
                <c:pt idx="3">
                  <c:v>60</c:v>
                </c:pt>
                <c:pt idx="4">
                  <c:v>60</c:v>
                </c:pt>
                <c:pt idx="5">
                  <c:v>30</c:v>
                </c:pt>
              </c:numCache>
            </c:numRef>
          </c:val>
          <c:extLst>
            <c:ext xmlns:c16="http://schemas.microsoft.com/office/drawing/2014/chart" uri="{C3380CC4-5D6E-409C-BE32-E72D297353CC}">
              <c16:uniqueId val="{00000005-C353-4874-811E-2F16EF79ECF5}"/>
            </c:ext>
          </c:extLst>
        </c:ser>
        <c:dLbls>
          <c:showLegendKey val="0"/>
          <c:showVal val="0"/>
          <c:showCatName val="0"/>
          <c:showSerName val="0"/>
          <c:showPercent val="0"/>
          <c:showBubbleSize val="0"/>
        </c:dLbls>
        <c:gapWidth val="80"/>
        <c:overlap val="100"/>
        <c:axId val="1844130767"/>
        <c:axId val="1"/>
      </c:barChart>
      <c:catAx>
        <c:axId val="184413076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600" kern="1200">
                <a:latin typeface="+mn-lt"/>
                <a:ea typeface="+mn-ea"/>
                <a:cs typeface="+mn-cs"/>
              </a:defRPr>
            </a:pPr>
            <a:endParaRPr lang="en-DK"/>
          </a:p>
        </c:txPr>
        <c:crossAx val="1844130767"/>
        <c:crosses val="min"/>
        <c:crossBetween val="between"/>
        <c:majorUnit val="2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62589928057555E-2"/>
          <c:y val="9.5063985374771481E-2"/>
          <c:w val="0.90647482014388492"/>
          <c:h val="0.80987202925045709"/>
        </c:manualLayout>
      </c:layout>
      <c:barChart>
        <c:barDir val="col"/>
        <c:grouping val="stacked"/>
        <c:varyColors val="0"/>
        <c:ser>
          <c:idx val="0"/>
          <c:order val="0"/>
          <c:spPr>
            <a:solidFill>
              <a:srgbClr val="007770"/>
            </a:solid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CD1A-4EE6-8271-A6FA9F3F975B}"/>
              </c:ext>
            </c:extLst>
          </c:dPt>
          <c:dPt>
            <c:idx val="1"/>
            <c:invertIfNegative val="0"/>
            <c:bubble3D val="0"/>
            <c:spPr>
              <a:solidFill>
                <a:schemeClr val="accent5"/>
              </a:solidFill>
              <a:ln>
                <a:noFill/>
              </a:ln>
            </c:spPr>
            <c:extLst>
              <c:ext xmlns:c16="http://schemas.microsoft.com/office/drawing/2014/chart" uri="{C3380CC4-5D6E-409C-BE32-E72D297353CC}">
                <c16:uniqueId val="{00000001-CD1A-4EE6-8271-A6FA9F3F975B}"/>
              </c:ext>
            </c:extLst>
          </c:dPt>
          <c:dPt>
            <c:idx val="2"/>
            <c:invertIfNegative val="0"/>
            <c:bubble3D val="0"/>
            <c:spPr>
              <a:solidFill>
                <a:schemeClr val="accent2"/>
              </a:solidFill>
              <a:ln>
                <a:noFill/>
              </a:ln>
            </c:spPr>
            <c:extLst>
              <c:ext xmlns:c16="http://schemas.microsoft.com/office/drawing/2014/chart" uri="{C3380CC4-5D6E-409C-BE32-E72D297353CC}">
                <c16:uniqueId val="{00000002-CD1A-4EE6-8271-A6FA9F3F975B}"/>
              </c:ext>
            </c:extLst>
          </c:dPt>
          <c:dPt>
            <c:idx val="4"/>
            <c:invertIfNegative val="0"/>
            <c:bubble3D val="0"/>
            <c:spPr>
              <a:solidFill>
                <a:schemeClr val="accent6"/>
              </a:solidFill>
              <a:ln>
                <a:noFill/>
              </a:ln>
            </c:spPr>
            <c:extLst>
              <c:ext xmlns:c16="http://schemas.microsoft.com/office/drawing/2014/chart" uri="{C3380CC4-5D6E-409C-BE32-E72D297353CC}">
                <c16:uniqueId val="{00000003-CD1A-4EE6-8271-A6FA9F3F975B}"/>
              </c:ext>
            </c:extLst>
          </c:dPt>
          <c:dPt>
            <c:idx val="5"/>
            <c:invertIfNegative val="0"/>
            <c:bubble3D val="0"/>
            <c:spPr>
              <a:solidFill>
                <a:srgbClr val="969696"/>
              </a:solidFill>
              <a:ln>
                <a:noFill/>
              </a:ln>
            </c:spPr>
            <c:extLst>
              <c:ext xmlns:c16="http://schemas.microsoft.com/office/drawing/2014/chart" uri="{C3380CC4-5D6E-409C-BE32-E72D297353CC}">
                <c16:uniqueId val="{00000004-CD1A-4EE6-8271-A6FA9F3F975B}"/>
              </c:ext>
            </c:extLst>
          </c:dPt>
          <c:val>
            <c:numRef>
              <c:f>Sheet1!$A$1:$F$1</c:f>
              <c:numCache>
                <c:formatCode>General</c:formatCode>
                <c:ptCount val="6"/>
                <c:pt idx="0">
                  <c:v>30</c:v>
                </c:pt>
                <c:pt idx="1">
                  <c:v>60</c:v>
                </c:pt>
                <c:pt idx="2">
                  <c:v>20</c:v>
                </c:pt>
                <c:pt idx="3">
                  <c:v>40</c:v>
                </c:pt>
                <c:pt idx="4">
                  <c:v>30</c:v>
                </c:pt>
                <c:pt idx="5">
                  <c:v>50</c:v>
                </c:pt>
              </c:numCache>
            </c:numRef>
          </c:val>
          <c:extLst>
            <c:ext xmlns:c16="http://schemas.microsoft.com/office/drawing/2014/chart" uri="{C3380CC4-5D6E-409C-BE32-E72D297353CC}">
              <c16:uniqueId val="{00000005-CD1A-4EE6-8271-A6FA9F3F975B}"/>
            </c:ext>
          </c:extLst>
        </c:ser>
        <c:dLbls>
          <c:showLegendKey val="0"/>
          <c:showVal val="0"/>
          <c:showCatName val="0"/>
          <c:showSerName val="0"/>
          <c:showPercent val="0"/>
          <c:showBubbleSize val="0"/>
        </c:dLbls>
        <c:gapWidth val="80"/>
        <c:overlap val="100"/>
        <c:axId val="1844112463"/>
        <c:axId val="1"/>
      </c:barChart>
      <c:catAx>
        <c:axId val="184411246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600" kern="1200">
                <a:latin typeface="+mn-lt"/>
                <a:ea typeface="+mn-ea"/>
                <a:cs typeface="+mn-cs"/>
              </a:defRPr>
            </a:pPr>
            <a:endParaRPr lang="en-DK"/>
          </a:p>
        </c:txPr>
        <c:crossAx val="1844112463"/>
        <c:crosses val="min"/>
        <c:crossBetween val="between"/>
        <c:majorUnit val="20"/>
      </c:valAx>
    </c:plotArea>
    <c:plotVisOnly val="0"/>
    <c:dispBlanksAs val="gap"/>
    <c:showDLblsOverMax val="1"/>
  </c:chart>
  <c:externalData r:id="rId1">
    <c:autoUpdate val="0"/>
  </c:externalData>
</c:chartSpace>
</file>

<file path=ppt/comments/modernComment_129_6DF462A3.xml><?xml version="1.0" encoding="utf-8"?>
<p188:cmLst xmlns:a="http://schemas.openxmlformats.org/drawingml/2006/main" xmlns:r="http://schemas.openxmlformats.org/officeDocument/2006/relationships" xmlns:p188="http://schemas.microsoft.com/office/powerpoint/2018/8/main">
  <p188:cm id="{8FA19482-4315-462C-BA39-E70FB30205F1}" authorId="{660D5641-7714-E43B-4EDD-9B9EC585A4E2}" status="resolved" created="2025-05-23T12:37:21.260">
    <pc:sldMkLst xmlns:pc="http://schemas.microsoft.com/office/powerpoint/2013/main/command">
      <pc:docMk/>
      <pc:sldMk cId="1844732579" sldId="297"/>
    </pc:sldMkLst>
    <p188:replyLst>
      <p188:reply id="{94700F63-9A65-41CE-8114-33221010E2F2}" authorId="{092F0238-F3F5-DBA1-4983-10C0C767AC5F}" created="2025-05-26T11:01:48.478">
        <p188:txBody>
          <a:bodyPr/>
          <a:lstStyle/>
          <a:p>
            <a:r>
              <a:rPr lang="en-US"/>
              <a:t>Aw thanks [@Andreas], I’m glad 😃 </a:t>
            </a:r>
          </a:p>
        </p188:txBody>
      </p188:reply>
    </p188:replyLst>
    <p188:txBody>
      <a:bodyPr/>
      <a:lstStyle/>
      <a:p>
        <a:r>
          <a:rPr lang="en-US"/>
          <a:t>[@Thomas W. Flanagan] [@Aleksandra Szejko] nice work! well done - like that on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5059432E-F7F7-21CD-BF99-27DBE878B59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a:defRPr/>
            </a:pPr>
            <a:endParaRPr lang="da-DK"/>
          </a:p>
        </p:txBody>
      </p:sp>
      <p:sp>
        <p:nvSpPr>
          <p:cNvPr id="3" name="Pladsholder til dato 2">
            <a:extLst>
              <a:ext uri="{FF2B5EF4-FFF2-40B4-BE49-F238E27FC236}">
                <a16:creationId xmlns:a16="http://schemas.microsoft.com/office/drawing/2014/main" id="{A6F6D48D-6D58-7445-0C02-8529149D2F4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smtClean="0"/>
            </a:lvl1pPr>
          </a:lstStyle>
          <a:p>
            <a:pPr>
              <a:defRPr/>
            </a:pPr>
            <a:fld id="{0B0AE310-B012-674C-8A21-80655F57D4E0}" type="datetimeFigureOut">
              <a:rPr lang="da-DK"/>
              <a:pPr>
                <a:defRPr/>
              </a:pPr>
              <a:t>18-07-2025</a:t>
            </a:fld>
            <a:endParaRPr lang="da-DK"/>
          </a:p>
        </p:txBody>
      </p:sp>
      <p:sp>
        <p:nvSpPr>
          <p:cNvPr id="4" name="Pladsholder til sidefod 3">
            <a:extLst>
              <a:ext uri="{FF2B5EF4-FFF2-40B4-BE49-F238E27FC236}">
                <a16:creationId xmlns:a16="http://schemas.microsoft.com/office/drawing/2014/main" id="{B170C1B7-A827-80EA-9006-39EC43743F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a:defRPr/>
            </a:pPr>
            <a:endParaRPr lang="da-DK"/>
          </a:p>
        </p:txBody>
      </p:sp>
      <p:sp>
        <p:nvSpPr>
          <p:cNvPr id="5" name="Pladsholder til slidenummer 4">
            <a:extLst>
              <a:ext uri="{FF2B5EF4-FFF2-40B4-BE49-F238E27FC236}">
                <a16:creationId xmlns:a16="http://schemas.microsoft.com/office/drawing/2014/main" id="{9DC846A4-6D5A-89D1-D05A-24055E0A1D7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smtClean="0"/>
            </a:lvl1pPr>
          </a:lstStyle>
          <a:p>
            <a:pPr>
              <a:defRPr/>
            </a:pPr>
            <a:fld id="{A8A2EB59-D83D-7A45-98D9-85F928BE1804}" type="slidenum">
              <a:rPr lang="da-DK"/>
              <a:pPr>
                <a:defRPr/>
              </a:pPr>
              <a:t>‹#›</a:t>
            </a:fld>
            <a:endParaRPr lang="da-DK"/>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92DE11E4-B5D1-F19A-DCE8-2E248CB45E7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a:defRPr/>
            </a:pPr>
            <a:endParaRPr lang="da-DK"/>
          </a:p>
        </p:txBody>
      </p:sp>
      <p:sp>
        <p:nvSpPr>
          <p:cNvPr id="3" name="Pladsholder til dato 2">
            <a:extLst>
              <a:ext uri="{FF2B5EF4-FFF2-40B4-BE49-F238E27FC236}">
                <a16:creationId xmlns:a16="http://schemas.microsoft.com/office/drawing/2014/main" id="{9DFADC95-83CC-16AD-BCB9-3375A34DB369}"/>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smtClean="0"/>
            </a:lvl1pPr>
          </a:lstStyle>
          <a:p>
            <a:pPr>
              <a:defRPr/>
            </a:pPr>
            <a:fld id="{AAFF2690-4DF5-C147-9830-1EEC22D7D0B2}" type="datetimeFigureOut">
              <a:rPr lang="da-DK"/>
              <a:pPr>
                <a:defRPr/>
              </a:pPr>
              <a:t>18-07-2025</a:t>
            </a:fld>
            <a:endParaRPr lang="da-DK"/>
          </a:p>
        </p:txBody>
      </p:sp>
      <p:sp>
        <p:nvSpPr>
          <p:cNvPr id="4" name="Pladsholder til slidebillede 3">
            <a:extLst>
              <a:ext uri="{FF2B5EF4-FFF2-40B4-BE49-F238E27FC236}">
                <a16:creationId xmlns:a16="http://schemas.microsoft.com/office/drawing/2014/main" id="{044BB79E-78C4-EDDA-CC0B-15D2F7EE3B01}"/>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da-DK" noProof="0"/>
          </a:p>
        </p:txBody>
      </p:sp>
      <p:sp>
        <p:nvSpPr>
          <p:cNvPr id="5" name="Pladsholder til noter 4">
            <a:extLst>
              <a:ext uri="{FF2B5EF4-FFF2-40B4-BE49-F238E27FC236}">
                <a16:creationId xmlns:a16="http://schemas.microsoft.com/office/drawing/2014/main" id="{56FD0AF4-84CB-1B48-C099-F4F75666C3E1}"/>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Pladsholder til sidefod 5">
            <a:extLst>
              <a:ext uri="{FF2B5EF4-FFF2-40B4-BE49-F238E27FC236}">
                <a16:creationId xmlns:a16="http://schemas.microsoft.com/office/drawing/2014/main" id="{4350BC10-2840-688B-8C79-DD0C0C4DA7BE}"/>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a:defRPr/>
            </a:pPr>
            <a:endParaRPr lang="da-DK"/>
          </a:p>
        </p:txBody>
      </p:sp>
      <p:sp>
        <p:nvSpPr>
          <p:cNvPr id="7" name="Pladsholder til slidenummer 6">
            <a:extLst>
              <a:ext uri="{FF2B5EF4-FFF2-40B4-BE49-F238E27FC236}">
                <a16:creationId xmlns:a16="http://schemas.microsoft.com/office/drawing/2014/main" id="{D941D331-EA74-6095-250E-BF55BB2110D2}"/>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smtClean="0"/>
            </a:lvl1pPr>
          </a:lstStyle>
          <a:p>
            <a:pPr>
              <a:defRPr/>
            </a:pPr>
            <a:fld id="{BC49A242-0154-F74C-A511-93BF6AB15D8C}" type="slidenum">
              <a:rPr lang="da-DK"/>
              <a:pPr>
                <a:defRPr/>
              </a:pPr>
              <a:t>‹#›</a:t>
            </a:fld>
            <a:endParaRPr lang="da-DK"/>
          </a:p>
        </p:txBody>
      </p:sp>
    </p:spTree>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26AF0630-9FB3-4A39-8276-9897080A97FB}" type="slidenum">
              <a:rPr lang="en-SG" smtClean="0"/>
              <a:t>3</a:t>
            </a:fld>
            <a:endParaRPr lang="en-SG"/>
          </a:p>
        </p:txBody>
      </p:sp>
    </p:spTree>
    <p:extLst>
      <p:ext uri="{BB962C8B-B14F-4D97-AF65-F5344CB8AC3E}">
        <p14:creationId xmlns:p14="http://schemas.microsoft.com/office/powerpoint/2010/main" val="37442247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26AF0630-9FB3-4A39-8276-9897080A97FB}" type="slidenum">
              <a:rPr lang="en-SG" smtClean="0"/>
              <a:t>18</a:t>
            </a:fld>
            <a:endParaRPr lang="en-SG"/>
          </a:p>
        </p:txBody>
      </p:sp>
    </p:spTree>
    <p:extLst>
      <p:ext uri="{BB962C8B-B14F-4D97-AF65-F5344CB8AC3E}">
        <p14:creationId xmlns:p14="http://schemas.microsoft.com/office/powerpoint/2010/main" val="23801324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26AF0630-9FB3-4A39-8276-9897080A97FB}" type="slidenum">
              <a:rPr lang="en-SG" smtClean="0"/>
              <a:t>19</a:t>
            </a:fld>
            <a:endParaRPr lang="en-SG"/>
          </a:p>
        </p:txBody>
      </p:sp>
    </p:spTree>
    <p:extLst>
      <p:ext uri="{BB962C8B-B14F-4D97-AF65-F5344CB8AC3E}">
        <p14:creationId xmlns:p14="http://schemas.microsoft.com/office/powerpoint/2010/main" val="1817923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26AF0630-9FB3-4A39-8276-9897080A97FB}" type="slidenum">
              <a:rPr lang="en-SG" smtClean="0"/>
              <a:t>20</a:t>
            </a:fld>
            <a:endParaRPr lang="en-SG"/>
          </a:p>
        </p:txBody>
      </p:sp>
    </p:spTree>
    <p:extLst>
      <p:ext uri="{BB962C8B-B14F-4D97-AF65-F5344CB8AC3E}">
        <p14:creationId xmlns:p14="http://schemas.microsoft.com/office/powerpoint/2010/main" val="3679098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26AF0630-9FB3-4A39-8276-9897080A97FB}" type="slidenum">
              <a:rPr lang="en-SG" smtClean="0"/>
              <a:t>21</a:t>
            </a:fld>
            <a:endParaRPr lang="en-SG"/>
          </a:p>
        </p:txBody>
      </p:sp>
    </p:spTree>
    <p:extLst>
      <p:ext uri="{BB962C8B-B14F-4D97-AF65-F5344CB8AC3E}">
        <p14:creationId xmlns:p14="http://schemas.microsoft.com/office/powerpoint/2010/main" val="2728253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What could be some benefits of a value-based approach</a:t>
            </a:r>
          </a:p>
          <a:p>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dirty="0">
                <a:solidFill>
                  <a:schemeClr val="bg2">
                    <a:lumMod val="10000"/>
                  </a:schemeClr>
                </a:solidFill>
                <a:latin typeface="+mn-lt"/>
              </a:rPr>
              <a:t>Find out about hidded needs</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dirty="0">
                <a:solidFill>
                  <a:schemeClr val="bg2">
                    <a:lumMod val="10000"/>
                  </a:schemeClr>
                </a:solidFill>
                <a:latin typeface="+mn-lt"/>
              </a:rPr>
              <a:t>Less price focus</a:t>
            </a:r>
            <a:endParaRPr lang="en-SG" sz="1200" b="0" dirty="0">
              <a:solidFill>
                <a:schemeClr val="bg2">
                  <a:lumMod val="10000"/>
                </a:schemeClr>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dirty="0">
                <a:solidFill>
                  <a:schemeClr val="bg2">
                    <a:lumMod val="10000"/>
                  </a:schemeClr>
                </a:solidFill>
                <a:latin typeface="+mn-lt"/>
              </a:rPr>
              <a:t>Longterm partnerships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dirty="0">
                <a:solidFill>
                  <a:schemeClr val="bg2">
                    <a:lumMod val="10000"/>
                  </a:schemeClr>
                </a:solidFill>
                <a:latin typeface="+mn-lt"/>
              </a:rPr>
              <a:t>Happy customers</a:t>
            </a:r>
            <a:endParaRPr lang="en-SG" sz="1200" b="0" dirty="0">
              <a:solidFill>
                <a:schemeClr val="bg2">
                  <a:lumMod val="10000"/>
                </a:schemeClr>
              </a:solidFill>
              <a:latin typeface="+mn-lt"/>
            </a:endParaRPr>
          </a:p>
          <a:p>
            <a:endParaRPr lang="en-SG" dirty="0"/>
          </a:p>
        </p:txBody>
      </p:sp>
      <p:sp>
        <p:nvSpPr>
          <p:cNvPr id="4" name="Slide Number Placeholder 3"/>
          <p:cNvSpPr>
            <a:spLocks noGrp="1"/>
          </p:cNvSpPr>
          <p:nvPr>
            <p:ph type="sldNum" sz="quarter" idx="5"/>
          </p:nvPr>
        </p:nvSpPr>
        <p:spPr/>
        <p:txBody>
          <a:bodyPr/>
          <a:lstStyle/>
          <a:p>
            <a:fld id="{26AF0630-9FB3-4A39-8276-9897080A97FB}" type="slidenum">
              <a:rPr lang="en-SG" smtClean="0"/>
              <a:t>23</a:t>
            </a:fld>
            <a:endParaRPr lang="en-SG"/>
          </a:p>
        </p:txBody>
      </p:sp>
    </p:spTree>
    <p:extLst>
      <p:ext uri="{BB962C8B-B14F-4D97-AF65-F5344CB8AC3E}">
        <p14:creationId xmlns:p14="http://schemas.microsoft.com/office/powerpoint/2010/main" val="31355387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Umbrella example </a:t>
            </a:r>
          </a:p>
          <a:p>
            <a:r>
              <a:rPr lang="sv-SE" dirty="0"/>
              <a:t>If all I need to make the purchase is to understand some features – what type of sales rep do I need? A sign. </a:t>
            </a:r>
          </a:p>
          <a:p>
            <a:endParaRPr lang="en-SG" dirty="0"/>
          </a:p>
        </p:txBody>
      </p:sp>
      <p:sp>
        <p:nvSpPr>
          <p:cNvPr id="4" name="Slide Number Placeholder 3"/>
          <p:cNvSpPr>
            <a:spLocks noGrp="1"/>
          </p:cNvSpPr>
          <p:nvPr>
            <p:ph type="sldNum" sz="quarter" idx="5"/>
          </p:nvPr>
        </p:nvSpPr>
        <p:spPr/>
        <p:txBody>
          <a:bodyPr/>
          <a:lstStyle/>
          <a:p>
            <a:fld id="{26AF0630-9FB3-4A39-8276-9897080A97FB}" type="slidenum">
              <a:rPr lang="en-SG" smtClean="0"/>
              <a:t>25</a:t>
            </a:fld>
            <a:endParaRPr lang="en-SG"/>
          </a:p>
        </p:txBody>
      </p:sp>
    </p:spTree>
    <p:extLst>
      <p:ext uri="{BB962C8B-B14F-4D97-AF65-F5344CB8AC3E}">
        <p14:creationId xmlns:p14="http://schemas.microsoft.com/office/powerpoint/2010/main" val="2676771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26AF0630-9FB3-4A39-8276-9897080A97FB}" type="slidenum">
              <a:rPr lang="en-SG" smtClean="0"/>
              <a:t>28</a:t>
            </a:fld>
            <a:endParaRPr lang="en-SG"/>
          </a:p>
        </p:txBody>
      </p:sp>
    </p:spTree>
    <p:extLst>
      <p:ext uri="{BB962C8B-B14F-4D97-AF65-F5344CB8AC3E}">
        <p14:creationId xmlns:p14="http://schemas.microsoft.com/office/powerpoint/2010/main" val="42802713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eaLnBrk="1" fontAlgn="auto" hangingPunct="1">
              <a:spcBef>
                <a:spcPts val="0"/>
              </a:spcBef>
              <a:spcAft>
                <a:spcPts val="0"/>
              </a:spcAft>
            </a:pPr>
            <a:r>
              <a:rPr lang="sv-SE" sz="1200" b="0" dirty="0">
                <a:solidFill>
                  <a:schemeClr val="bg2">
                    <a:lumMod val="10000"/>
                  </a:schemeClr>
                </a:solidFill>
                <a:latin typeface="+mn-lt"/>
              </a:rPr>
              <a:t>Behind this need, is a deeper need that we have to connect to.</a:t>
            </a:r>
          </a:p>
          <a:p>
            <a:pPr algn="l" eaLnBrk="1" fontAlgn="auto" hangingPunct="1">
              <a:spcBef>
                <a:spcPts val="0"/>
              </a:spcBef>
              <a:spcAft>
                <a:spcPts val="0"/>
              </a:spcAft>
            </a:pPr>
            <a:endParaRPr lang="sv-SE" sz="1200" dirty="0">
              <a:solidFill>
                <a:schemeClr val="bg2">
                  <a:lumMod val="10000"/>
                </a:schemeClr>
              </a:solidFill>
              <a:latin typeface="+mn-lt"/>
            </a:endParaRPr>
          </a:p>
          <a:p>
            <a:pPr algn="l" eaLnBrk="1" fontAlgn="auto" hangingPunct="1">
              <a:spcBef>
                <a:spcPts val="0"/>
              </a:spcBef>
              <a:spcAft>
                <a:spcPts val="0"/>
              </a:spcAft>
            </a:pPr>
            <a:r>
              <a:rPr lang="sv-SE" sz="1200" b="0" dirty="0">
                <a:solidFill>
                  <a:schemeClr val="bg2">
                    <a:lumMod val="10000"/>
                  </a:schemeClr>
                </a:solidFill>
                <a:latin typeface="+mn-lt"/>
              </a:rPr>
              <a:t>Performance, image, finance</a:t>
            </a:r>
          </a:p>
          <a:p>
            <a:pPr algn="l" eaLnBrk="1" fontAlgn="auto" hangingPunct="1">
              <a:spcBef>
                <a:spcPts val="0"/>
              </a:spcBef>
              <a:spcAft>
                <a:spcPts val="0"/>
              </a:spcAft>
            </a:pPr>
            <a:endParaRPr lang="sv-SE" sz="1200" dirty="0">
              <a:solidFill>
                <a:schemeClr val="bg2">
                  <a:lumMod val="10000"/>
                </a:schemeClr>
              </a:solidFill>
              <a:latin typeface="+mn-lt"/>
            </a:endParaRPr>
          </a:p>
          <a:p>
            <a:pPr algn="l" eaLnBrk="1" fontAlgn="auto" hangingPunct="1">
              <a:spcBef>
                <a:spcPts val="0"/>
              </a:spcBef>
              <a:spcAft>
                <a:spcPts val="0"/>
              </a:spcAft>
            </a:pPr>
            <a:r>
              <a:rPr lang="sv-SE" sz="1200" b="0" dirty="0">
                <a:solidFill>
                  <a:schemeClr val="bg2">
                    <a:lumMod val="10000"/>
                  </a:schemeClr>
                </a:solidFill>
                <a:latin typeface="+mn-lt"/>
              </a:rPr>
              <a:t>Save Solve, Increase, Emotion</a:t>
            </a:r>
            <a:endParaRPr lang="en-SG" sz="1200" b="0" dirty="0">
              <a:solidFill>
                <a:schemeClr val="bg2">
                  <a:lumMod val="10000"/>
                </a:schemeClr>
              </a:solidFill>
              <a:latin typeface="+mn-lt"/>
            </a:endParaRPr>
          </a:p>
          <a:p>
            <a:endParaRPr lang="en-SG" dirty="0"/>
          </a:p>
        </p:txBody>
      </p:sp>
      <p:sp>
        <p:nvSpPr>
          <p:cNvPr id="4" name="Slide Number Placeholder 3"/>
          <p:cNvSpPr>
            <a:spLocks noGrp="1"/>
          </p:cNvSpPr>
          <p:nvPr>
            <p:ph type="sldNum" sz="quarter" idx="5"/>
          </p:nvPr>
        </p:nvSpPr>
        <p:spPr/>
        <p:txBody>
          <a:bodyPr/>
          <a:lstStyle/>
          <a:p>
            <a:fld id="{26AF0630-9FB3-4A39-8276-9897080A97FB}" type="slidenum">
              <a:rPr lang="en-SG" smtClean="0"/>
              <a:t>32</a:t>
            </a:fld>
            <a:endParaRPr lang="en-SG"/>
          </a:p>
        </p:txBody>
      </p:sp>
    </p:spTree>
    <p:extLst>
      <p:ext uri="{BB962C8B-B14F-4D97-AF65-F5344CB8AC3E}">
        <p14:creationId xmlns:p14="http://schemas.microsoft.com/office/powerpoint/2010/main" val="3897277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eaLnBrk="1" fontAlgn="auto" hangingPunct="1">
              <a:spcBef>
                <a:spcPts val="0"/>
              </a:spcBef>
              <a:spcAft>
                <a:spcPts val="0"/>
              </a:spcAft>
            </a:pPr>
            <a:r>
              <a:rPr lang="en-SG" sz="1200" b="0" dirty="0">
                <a:solidFill>
                  <a:schemeClr val="bg2">
                    <a:lumMod val="10000"/>
                  </a:schemeClr>
                </a:solidFill>
                <a:latin typeface="+mn-lt"/>
              </a:rPr>
              <a:t>Types of buyers </a:t>
            </a:r>
          </a:p>
          <a:p>
            <a:pPr eaLnBrk="1" fontAlgn="auto" hangingPunct="1">
              <a:spcBef>
                <a:spcPts val="0"/>
              </a:spcBef>
              <a:spcAft>
                <a:spcPts val="0"/>
              </a:spcAft>
            </a:pPr>
            <a:r>
              <a:rPr lang="en-SG" sz="1200" dirty="0">
                <a:solidFill>
                  <a:schemeClr val="bg2">
                    <a:lumMod val="10000"/>
                  </a:schemeClr>
                </a:solidFill>
                <a:latin typeface="+mn-lt"/>
              </a:rPr>
              <a:t>Strategic – Long term, overall business improvement</a:t>
            </a:r>
          </a:p>
          <a:p>
            <a:pPr algn="l" eaLnBrk="1" fontAlgn="auto" hangingPunct="1">
              <a:spcBef>
                <a:spcPts val="0"/>
              </a:spcBef>
              <a:spcAft>
                <a:spcPts val="0"/>
              </a:spcAft>
            </a:pPr>
            <a:r>
              <a:rPr lang="en-SG" sz="1200" dirty="0">
                <a:solidFill>
                  <a:schemeClr val="bg2">
                    <a:lumMod val="10000"/>
                  </a:schemeClr>
                </a:solidFill>
                <a:latin typeface="+mn-lt"/>
              </a:rPr>
              <a:t>Financial</a:t>
            </a:r>
            <a:r>
              <a:rPr lang="en-SG" sz="1200" b="0" dirty="0">
                <a:solidFill>
                  <a:schemeClr val="bg2">
                    <a:lumMod val="10000"/>
                  </a:schemeClr>
                </a:solidFill>
                <a:latin typeface="+mn-lt"/>
              </a:rPr>
              <a:t> (ROI, alternatives and if the product is even needed at this time)</a:t>
            </a:r>
          </a:p>
          <a:p>
            <a:pPr algn="l" eaLnBrk="1" fontAlgn="auto" hangingPunct="1">
              <a:spcBef>
                <a:spcPts val="0"/>
              </a:spcBef>
              <a:spcAft>
                <a:spcPts val="0"/>
              </a:spcAft>
            </a:pPr>
            <a:r>
              <a:rPr lang="en-SG" sz="1200" dirty="0">
                <a:solidFill>
                  <a:schemeClr val="bg2">
                    <a:lumMod val="10000"/>
                  </a:schemeClr>
                </a:solidFill>
                <a:latin typeface="+mn-lt"/>
              </a:rPr>
              <a:t>Technical (Does it do the job, is it future proof)</a:t>
            </a:r>
          </a:p>
          <a:p>
            <a:pPr algn="l" eaLnBrk="1" fontAlgn="auto" hangingPunct="1">
              <a:spcBef>
                <a:spcPts val="0"/>
              </a:spcBef>
              <a:spcAft>
                <a:spcPts val="0"/>
              </a:spcAft>
            </a:pPr>
            <a:r>
              <a:rPr lang="en-SG" sz="1200" b="0" dirty="0">
                <a:solidFill>
                  <a:schemeClr val="bg2">
                    <a:lumMod val="10000"/>
                  </a:schemeClr>
                </a:solidFill>
                <a:latin typeface="+mn-lt"/>
              </a:rPr>
              <a:t>User (</a:t>
            </a:r>
            <a:r>
              <a:rPr lang="en-SG" sz="1200" dirty="0">
                <a:solidFill>
                  <a:schemeClr val="bg2">
                    <a:lumMod val="10000"/>
                  </a:schemeClr>
                </a:solidFill>
                <a:latin typeface="+mn-lt"/>
              </a:rPr>
              <a:t>help me save time, ease of use)</a:t>
            </a:r>
            <a:endParaRPr lang="en-SG" sz="1200" b="0" dirty="0">
              <a:solidFill>
                <a:schemeClr val="bg2">
                  <a:lumMod val="10000"/>
                </a:schemeClr>
              </a:solidFill>
              <a:latin typeface="+mn-lt"/>
            </a:endParaRPr>
          </a:p>
          <a:p>
            <a:endParaRPr lang="en-SG" dirty="0"/>
          </a:p>
          <a:p>
            <a:endParaRPr lang="en-SG" dirty="0"/>
          </a:p>
          <a:p>
            <a:pPr algn="l" eaLnBrk="1" fontAlgn="auto" hangingPunct="1">
              <a:spcBef>
                <a:spcPts val="0"/>
              </a:spcBef>
              <a:spcAft>
                <a:spcPts val="0"/>
              </a:spcAft>
            </a:pPr>
            <a:r>
              <a:rPr lang="en-SG" sz="1200" b="0" dirty="0">
                <a:solidFill>
                  <a:schemeClr val="bg2">
                    <a:lumMod val="10000"/>
                  </a:schemeClr>
                </a:solidFill>
                <a:latin typeface="+mn-lt"/>
              </a:rPr>
              <a:t>Soft/personality characteristics </a:t>
            </a:r>
          </a:p>
          <a:p>
            <a:pPr algn="l" eaLnBrk="1" fontAlgn="auto" hangingPunct="1">
              <a:spcBef>
                <a:spcPts val="0"/>
              </a:spcBef>
              <a:spcAft>
                <a:spcPts val="0"/>
              </a:spcAft>
            </a:pPr>
            <a:r>
              <a:rPr lang="en-SG" sz="1200" dirty="0">
                <a:solidFill>
                  <a:schemeClr val="bg2">
                    <a:lumMod val="10000"/>
                  </a:schemeClr>
                </a:solidFill>
                <a:latin typeface="+mn-lt"/>
              </a:rPr>
              <a:t>Decisive</a:t>
            </a:r>
          </a:p>
          <a:p>
            <a:pPr algn="l" eaLnBrk="1" fontAlgn="auto" hangingPunct="1">
              <a:spcBef>
                <a:spcPts val="0"/>
              </a:spcBef>
              <a:spcAft>
                <a:spcPts val="0"/>
              </a:spcAft>
            </a:pPr>
            <a:r>
              <a:rPr lang="en-SG" sz="1200" dirty="0">
                <a:solidFill>
                  <a:schemeClr val="bg2">
                    <a:lumMod val="10000"/>
                  </a:schemeClr>
                </a:solidFill>
                <a:latin typeface="+mn-lt"/>
              </a:rPr>
              <a:t>Consensus</a:t>
            </a:r>
          </a:p>
          <a:p>
            <a:pPr algn="l" eaLnBrk="1" fontAlgn="auto" hangingPunct="1">
              <a:spcBef>
                <a:spcPts val="0"/>
              </a:spcBef>
              <a:spcAft>
                <a:spcPts val="0"/>
              </a:spcAft>
            </a:pPr>
            <a:r>
              <a:rPr lang="en-SG" sz="1200" dirty="0">
                <a:solidFill>
                  <a:schemeClr val="bg2">
                    <a:lumMod val="10000"/>
                  </a:schemeClr>
                </a:solidFill>
                <a:latin typeface="+mn-lt"/>
              </a:rPr>
              <a:t>Trust and relationship</a:t>
            </a:r>
          </a:p>
          <a:p>
            <a:pPr algn="l" eaLnBrk="1" fontAlgn="auto" hangingPunct="1">
              <a:spcBef>
                <a:spcPts val="0"/>
              </a:spcBef>
              <a:spcAft>
                <a:spcPts val="0"/>
              </a:spcAft>
            </a:pPr>
            <a:r>
              <a:rPr lang="en-SG" sz="1200" dirty="0">
                <a:solidFill>
                  <a:schemeClr val="bg2">
                    <a:lumMod val="10000"/>
                  </a:schemeClr>
                </a:solidFill>
                <a:latin typeface="+mn-lt"/>
              </a:rPr>
              <a:t>Sceptical (usually closed, </a:t>
            </a:r>
          </a:p>
          <a:p>
            <a:pPr algn="l" eaLnBrk="1" fontAlgn="auto" hangingPunct="1">
              <a:spcBef>
                <a:spcPts val="0"/>
              </a:spcBef>
              <a:spcAft>
                <a:spcPts val="0"/>
              </a:spcAft>
            </a:pPr>
            <a:r>
              <a:rPr lang="en-SG" sz="1200" dirty="0">
                <a:solidFill>
                  <a:schemeClr val="bg2">
                    <a:lumMod val="10000"/>
                  </a:schemeClr>
                </a:solidFill>
                <a:latin typeface="+mn-lt"/>
              </a:rPr>
              <a:t>Analytical (used Kaye before and it worked) – Need a lot of data, facts and understanding to change</a:t>
            </a:r>
          </a:p>
          <a:p>
            <a:pPr algn="l" eaLnBrk="1" fontAlgn="auto" hangingPunct="1">
              <a:spcBef>
                <a:spcPts val="0"/>
              </a:spcBef>
              <a:spcAft>
                <a:spcPts val="0"/>
              </a:spcAft>
            </a:pPr>
            <a:r>
              <a:rPr lang="en-SG" sz="1200" dirty="0">
                <a:solidFill>
                  <a:schemeClr val="bg2">
                    <a:lumMod val="10000"/>
                  </a:schemeClr>
                </a:solidFill>
                <a:latin typeface="+mn-lt"/>
              </a:rPr>
              <a:t>Innovative (attitude towards - Let’s try – let this type be creative, involved and you direct her forward)</a:t>
            </a:r>
          </a:p>
          <a:p>
            <a:endParaRPr lang="en-SG" dirty="0"/>
          </a:p>
          <a:p>
            <a:endParaRPr lang="en-SG" dirty="0"/>
          </a:p>
          <a:p>
            <a:endParaRPr lang="en-SG" dirty="0"/>
          </a:p>
          <a:p>
            <a:endParaRPr lang="en-SG" dirty="0"/>
          </a:p>
          <a:p>
            <a:r>
              <a:rPr lang="en-SG" dirty="0"/>
              <a:t>How risk </a:t>
            </a:r>
            <a:r>
              <a:rPr lang="en-SG" dirty="0" err="1"/>
              <a:t>aweresness</a:t>
            </a:r>
            <a:r>
              <a:rPr lang="en-SG" dirty="0"/>
              <a:t> they are or ´their personality types </a:t>
            </a:r>
          </a:p>
        </p:txBody>
      </p:sp>
      <p:sp>
        <p:nvSpPr>
          <p:cNvPr id="4" name="Slide Number Placeholder 3"/>
          <p:cNvSpPr>
            <a:spLocks noGrp="1"/>
          </p:cNvSpPr>
          <p:nvPr>
            <p:ph type="sldNum" sz="quarter" idx="5"/>
          </p:nvPr>
        </p:nvSpPr>
        <p:spPr/>
        <p:txBody>
          <a:bodyPr/>
          <a:lstStyle/>
          <a:p>
            <a:fld id="{26AF0630-9FB3-4A39-8276-9897080A97FB}" type="slidenum">
              <a:rPr lang="en-SG" smtClean="0"/>
              <a:t>35</a:t>
            </a:fld>
            <a:endParaRPr lang="en-SG"/>
          </a:p>
        </p:txBody>
      </p:sp>
    </p:spTree>
    <p:extLst>
      <p:ext uri="{BB962C8B-B14F-4D97-AF65-F5344CB8AC3E}">
        <p14:creationId xmlns:p14="http://schemas.microsoft.com/office/powerpoint/2010/main" val="31163496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https://www.growthaspire.com/know-your-5-types-of-enterprise-buyers/</a:t>
            </a:r>
          </a:p>
        </p:txBody>
      </p:sp>
      <p:sp>
        <p:nvSpPr>
          <p:cNvPr id="4" name="Slide Number Placeholder 3"/>
          <p:cNvSpPr>
            <a:spLocks noGrp="1"/>
          </p:cNvSpPr>
          <p:nvPr>
            <p:ph type="sldNum" sz="quarter" idx="5"/>
          </p:nvPr>
        </p:nvSpPr>
        <p:spPr/>
        <p:txBody>
          <a:bodyPr/>
          <a:lstStyle/>
          <a:p>
            <a:fld id="{26AF0630-9FB3-4A39-8276-9897080A97FB}" type="slidenum">
              <a:rPr lang="en-SG" smtClean="0"/>
              <a:t>39</a:t>
            </a:fld>
            <a:endParaRPr lang="en-SG"/>
          </a:p>
        </p:txBody>
      </p:sp>
    </p:spTree>
    <p:extLst>
      <p:ext uri="{BB962C8B-B14F-4D97-AF65-F5344CB8AC3E}">
        <p14:creationId xmlns:p14="http://schemas.microsoft.com/office/powerpoint/2010/main" val="1228447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26AF0630-9FB3-4A39-8276-9897080A97FB}" type="slidenum">
              <a:rPr lang="en-SG" smtClean="0"/>
              <a:t>4</a:t>
            </a:fld>
            <a:endParaRPr lang="en-SG"/>
          </a:p>
        </p:txBody>
      </p:sp>
    </p:spTree>
    <p:extLst>
      <p:ext uri="{BB962C8B-B14F-4D97-AF65-F5344CB8AC3E}">
        <p14:creationId xmlns:p14="http://schemas.microsoft.com/office/powerpoint/2010/main" val="2148267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JECT (COACH) BUYER</a:t>
            </a:r>
          </a:p>
          <a:p>
            <a:r>
              <a:rPr lang="en-US" dirty="0"/>
              <a:t>These buyers if they exist in the buying cycle as separate individuals or can be the same as the technical buyer or user buyer itself.</a:t>
            </a:r>
          </a:p>
          <a:p>
            <a:endParaRPr lang="en-US" dirty="0"/>
          </a:p>
          <a:p>
            <a:r>
              <a:rPr lang="en-US" dirty="0"/>
              <a:t>The key consideration will be of overall solution complexity, ease of implementation, timelines, milestones, services, etc.</a:t>
            </a:r>
          </a:p>
          <a:p>
            <a:endParaRPr lang="en-US" dirty="0"/>
          </a:p>
          <a:p>
            <a:r>
              <a:rPr lang="en-US" dirty="0"/>
              <a:t>You must build a good rapport and personal relation with this buyer and provide him with enough materials, </a:t>
            </a:r>
            <a:r>
              <a:rPr lang="en-US" dirty="0" err="1"/>
              <a:t>informations</a:t>
            </a:r>
            <a:r>
              <a:rPr lang="en-US" dirty="0"/>
              <a:t> which helps him ease the implementation. Also, this buyer may have to influence internal stakeholders. So it becomes important for your assist him which helps him in the role.</a:t>
            </a:r>
          </a:p>
          <a:p>
            <a:endParaRPr lang="en-US" dirty="0"/>
          </a:p>
          <a:p>
            <a:r>
              <a:rPr lang="en-US" dirty="0"/>
              <a:t>You can coach this buyer on what your solution can do and help him experience the same.</a:t>
            </a:r>
            <a:endParaRPr lang="en-SG" dirty="0"/>
          </a:p>
        </p:txBody>
      </p:sp>
      <p:sp>
        <p:nvSpPr>
          <p:cNvPr id="4" name="Slide Number Placeholder 3"/>
          <p:cNvSpPr>
            <a:spLocks noGrp="1"/>
          </p:cNvSpPr>
          <p:nvPr>
            <p:ph type="sldNum" sz="quarter" idx="5"/>
          </p:nvPr>
        </p:nvSpPr>
        <p:spPr/>
        <p:txBody>
          <a:bodyPr/>
          <a:lstStyle/>
          <a:p>
            <a:fld id="{26AF0630-9FB3-4A39-8276-9897080A97FB}" type="slidenum">
              <a:rPr lang="en-SG" smtClean="0"/>
              <a:t>40</a:t>
            </a:fld>
            <a:endParaRPr lang="en-SG"/>
          </a:p>
        </p:txBody>
      </p:sp>
    </p:spTree>
    <p:extLst>
      <p:ext uri="{BB962C8B-B14F-4D97-AF65-F5344CB8AC3E}">
        <p14:creationId xmlns:p14="http://schemas.microsoft.com/office/powerpoint/2010/main" val="6256913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B2B15-778A-6D72-1D23-87481398A2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46BD6-3554-A572-8AA4-5367EE512B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6FD9F9-9BCB-2575-03BC-87F987F0E01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dirty="0">
                <a:solidFill>
                  <a:schemeClr val="bg2">
                    <a:lumMod val="10000"/>
                  </a:schemeClr>
                </a:solidFill>
                <a:latin typeface="+mn-lt"/>
              </a:rPr>
              <a:t>Do your homework</a:t>
            </a:r>
            <a:endParaRPr lang="en-SG" sz="1200" b="0" dirty="0">
              <a:solidFill>
                <a:schemeClr val="bg2">
                  <a:lumMod val="10000"/>
                </a:schemeClr>
              </a:solidFill>
              <a:latin typeface="+mn-lt"/>
            </a:endParaRPr>
          </a:p>
          <a:p>
            <a:endParaRPr lang="en-SG" dirty="0"/>
          </a:p>
          <a:p>
            <a:endParaRPr lang="en-SG" dirty="0"/>
          </a:p>
          <a:p>
            <a:endParaRPr lang="en-SG"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dirty="0">
                <a:solidFill>
                  <a:schemeClr val="bg2">
                    <a:lumMod val="10000"/>
                  </a:schemeClr>
                </a:solidFill>
                <a:latin typeface="+mn-lt"/>
              </a:rPr>
              <a:t>Ask questions </a:t>
            </a:r>
            <a:endParaRPr lang="en-SG" sz="1200" b="0" dirty="0">
              <a:solidFill>
                <a:schemeClr val="bg2">
                  <a:lumMod val="10000"/>
                </a:schemeClr>
              </a:solidFill>
              <a:latin typeface="+mn-lt"/>
            </a:endParaRPr>
          </a:p>
          <a:p>
            <a:endParaRPr lang="en-SG"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solidFill>
                  <a:schemeClr val="bg2">
                    <a:lumMod val="10000"/>
                  </a:schemeClr>
                </a:solidFill>
                <a:latin typeface="+mn-lt"/>
              </a:rPr>
              <a:t>Negotiations come second</a:t>
            </a:r>
            <a:endParaRPr lang="en-SG" sz="1200" b="0" dirty="0">
              <a:solidFill>
                <a:schemeClr val="bg2">
                  <a:lumMod val="10000"/>
                </a:schemeClr>
              </a:solidFill>
              <a:latin typeface="+mn-lt"/>
            </a:endParaRPr>
          </a:p>
          <a:p>
            <a:pPr algn="l" eaLnBrk="1" fontAlgn="auto" hangingPunct="1">
              <a:spcBef>
                <a:spcPts val="0"/>
              </a:spcBef>
              <a:spcAft>
                <a:spcPts val="0"/>
              </a:spcAft>
            </a:pPr>
            <a:r>
              <a:rPr lang="sv-SE" sz="1200" b="0" dirty="0">
                <a:solidFill>
                  <a:schemeClr val="bg2">
                    <a:lumMod val="10000"/>
                  </a:schemeClr>
                </a:solidFill>
                <a:latin typeface="+mn-lt"/>
              </a:rPr>
              <a:t>Effective / high close rate</a:t>
            </a:r>
          </a:p>
          <a:p>
            <a:pPr algn="l" eaLnBrk="1" fontAlgn="auto" hangingPunct="1">
              <a:spcBef>
                <a:spcPts val="0"/>
              </a:spcBef>
              <a:spcAft>
                <a:spcPts val="0"/>
              </a:spcAft>
            </a:pPr>
            <a:r>
              <a:rPr lang="sv-SE" sz="1200" dirty="0">
                <a:solidFill>
                  <a:schemeClr val="bg2">
                    <a:lumMod val="10000"/>
                  </a:schemeClr>
                </a:solidFill>
                <a:latin typeface="+mn-lt"/>
              </a:rPr>
              <a:t>Less on the price discussion </a:t>
            </a:r>
          </a:p>
          <a:p>
            <a:pPr algn="l" eaLnBrk="1" fontAlgn="auto" hangingPunct="1">
              <a:spcBef>
                <a:spcPts val="0"/>
              </a:spcBef>
              <a:spcAft>
                <a:spcPts val="0"/>
              </a:spcAft>
            </a:pPr>
            <a:r>
              <a:rPr lang="sv-SE" sz="1200" b="0" dirty="0">
                <a:solidFill>
                  <a:schemeClr val="bg2">
                    <a:lumMod val="10000"/>
                  </a:schemeClr>
                </a:solidFill>
                <a:latin typeface="+mn-lt"/>
              </a:rPr>
              <a:t>Retain and grow customers </a:t>
            </a:r>
          </a:p>
          <a:p>
            <a:pPr algn="l" eaLnBrk="1" fontAlgn="auto" hangingPunct="1">
              <a:spcBef>
                <a:spcPts val="0"/>
              </a:spcBef>
              <a:spcAft>
                <a:spcPts val="0"/>
              </a:spcAft>
            </a:pPr>
            <a:r>
              <a:rPr lang="en-SG" sz="1200" b="0" dirty="0">
                <a:solidFill>
                  <a:schemeClr val="bg2">
                    <a:lumMod val="10000"/>
                  </a:schemeClr>
                </a:solidFill>
                <a:latin typeface="+mn-lt"/>
              </a:rPr>
              <a:t>Happy customers </a:t>
            </a:r>
          </a:p>
          <a:p>
            <a:endParaRPr lang="en-SG" dirty="0"/>
          </a:p>
        </p:txBody>
      </p:sp>
      <p:sp>
        <p:nvSpPr>
          <p:cNvPr id="4" name="Slide Number Placeholder 3">
            <a:extLst>
              <a:ext uri="{FF2B5EF4-FFF2-40B4-BE49-F238E27FC236}">
                <a16:creationId xmlns:a16="http://schemas.microsoft.com/office/drawing/2014/main" id="{EA095C98-9809-5EB4-4E03-FAE7F32B5CDA}"/>
              </a:ext>
            </a:extLst>
          </p:cNvPr>
          <p:cNvSpPr>
            <a:spLocks noGrp="1"/>
          </p:cNvSpPr>
          <p:nvPr>
            <p:ph type="sldNum" sz="quarter" idx="5"/>
          </p:nvPr>
        </p:nvSpPr>
        <p:spPr/>
        <p:txBody>
          <a:bodyPr/>
          <a:lstStyle/>
          <a:p>
            <a:fld id="{26AF0630-9FB3-4A39-8276-9897080A97FB}" type="slidenum">
              <a:rPr lang="en-SG" smtClean="0"/>
              <a:t>42</a:t>
            </a:fld>
            <a:endParaRPr lang="en-SG"/>
          </a:p>
        </p:txBody>
      </p:sp>
    </p:spTree>
    <p:extLst>
      <p:ext uri="{BB962C8B-B14F-4D97-AF65-F5344CB8AC3E}">
        <p14:creationId xmlns:p14="http://schemas.microsoft.com/office/powerpoint/2010/main" val="11895243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6E887C62-5F9D-4EB6-820F-FAD71655EB88}" type="slidenum">
              <a:rPr lang="en-US" smtClean="0"/>
              <a:t>43</a:t>
            </a:fld>
            <a:endParaRPr lang="en-US"/>
          </a:p>
        </p:txBody>
      </p:sp>
    </p:spTree>
    <p:extLst>
      <p:ext uri="{BB962C8B-B14F-4D97-AF65-F5344CB8AC3E}">
        <p14:creationId xmlns:p14="http://schemas.microsoft.com/office/powerpoint/2010/main" val="29044097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26AF0630-9FB3-4A39-8276-9897080A97FB}" type="slidenum">
              <a:rPr lang="en-SG" smtClean="0"/>
              <a:t>46</a:t>
            </a:fld>
            <a:endParaRPr lang="en-SG"/>
          </a:p>
        </p:txBody>
      </p:sp>
    </p:spTree>
    <p:extLst>
      <p:ext uri="{BB962C8B-B14F-4D97-AF65-F5344CB8AC3E}">
        <p14:creationId xmlns:p14="http://schemas.microsoft.com/office/powerpoint/2010/main" val="26365814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dirty="0">
                <a:solidFill>
                  <a:schemeClr val="bg2">
                    <a:lumMod val="10000"/>
                  </a:schemeClr>
                </a:solidFill>
                <a:latin typeface="+mn-lt"/>
              </a:rPr>
              <a:t>Do your homework</a:t>
            </a:r>
            <a:endParaRPr lang="en-SG" sz="1200" b="0" dirty="0">
              <a:solidFill>
                <a:schemeClr val="bg2">
                  <a:lumMod val="10000"/>
                </a:schemeClr>
              </a:solidFill>
              <a:latin typeface="+mn-lt"/>
            </a:endParaRPr>
          </a:p>
          <a:p>
            <a:endParaRPr lang="en-SG" dirty="0"/>
          </a:p>
          <a:p>
            <a:endParaRPr lang="en-SG" dirty="0"/>
          </a:p>
          <a:p>
            <a:endParaRPr lang="en-SG"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dirty="0">
                <a:solidFill>
                  <a:schemeClr val="bg2">
                    <a:lumMod val="10000"/>
                  </a:schemeClr>
                </a:solidFill>
                <a:latin typeface="+mn-lt"/>
              </a:rPr>
              <a:t>Ask questions </a:t>
            </a:r>
            <a:endParaRPr lang="en-SG" sz="1200" b="0" dirty="0">
              <a:solidFill>
                <a:schemeClr val="bg2">
                  <a:lumMod val="10000"/>
                </a:schemeClr>
              </a:solidFill>
              <a:latin typeface="+mn-lt"/>
            </a:endParaRPr>
          </a:p>
          <a:p>
            <a:endParaRPr lang="en-SG"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solidFill>
                  <a:schemeClr val="bg2">
                    <a:lumMod val="10000"/>
                  </a:schemeClr>
                </a:solidFill>
                <a:latin typeface="+mn-lt"/>
              </a:rPr>
              <a:t>Negotiations come second</a:t>
            </a:r>
            <a:endParaRPr lang="en-SG" sz="1200" b="0" dirty="0">
              <a:solidFill>
                <a:schemeClr val="bg2">
                  <a:lumMod val="10000"/>
                </a:schemeClr>
              </a:solidFill>
              <a:latin typeface="+mn-lt"/>
            </a:endParaRPr>
          </a:p>
          <a:p>
            <a:pPr algn="l" eaLnBrk="1" fontAlgn="auto" hangingPunct="1">
              <a:spcBef>
                <a:spcPts val="0"/>
              </a:spcBef>
              <a:spcAft>
                <a:spcPts val="0"/>
              </a:spcAft>
            </a:pPr>
            <a:r>
              <a:rPr lang="sv-SE" sz="1200" b="0" dirty="0">
                <a:solidFill>
                  <a:schemeClr val="bg2">
                    <a:lumMod val="10000"/>
                  </a:schemeClr>
                </a:solidFill>
                <a:latin typeface="+mn-lt"/>
              </a:rPr>
              <a:t>Effective / high close rate</a:t>
            </a:r>
          </a:p>
          <a:p>
            <a:pPr algn="l" eaLnBrk="1" fontAlgn="auto" hangingPunct="1">
              <a:spcBef>
                <a:spcPts val="0"/>
              </a:spcBef>
              <a:spcAft>
                <a:spcPts val="0"/>
              </a:spcAft>
            </a:pPr>
            <a:r>
              <a:rPr lang="sv-SE" sz="1200" dirty="0">
                <a:solidFill>
                  <a:schemeClr val="bg2">
                    <a:lumMod val="10000"/>
                  </a:schemeClr>
                </a:solidFill>
                <a:latin typeface="+mn-lt"/>
              </a:rPr>
              <a:t>Less on the price discussion </a:t>
            </a:r>
          </a:p>
          <a:p>
            <a:pPr algn="l" eaLnBrk="1" fontAlgn="auto" hangingPunct="1">
              <a:spcBef>
                <a:spcPts val="0"/>
              </a:spcBef>
              <a:spcAft>
                <a:spcPts val="0"/>
              </a:spcAft>
            </a:pPr>
            <a:r>
              <a:rPr lang="sv-SE" sz="1200" b="0" dirty="0">
                <a:solidFill>
                  <a:schemeClr val="bg2">
                    <a:lumMod val="10000"/>
                  </a:schemeClr>
                </a:solidFill>
                <a:latin typeface="+mn-lt"/>
              </a:rPr>
              <a:t>Retain and grow customers </a:t>
            </a:r>
          </a:p>
          <a:p>
            <a:pPr algn="l" eaLnBrk="1" fontAlgn="auto" hangingPunct="1">
              <a:spcBef>
                <a:spcPts val="0"/>
              </a:spcBef>
              <a:spcAft>
                <a:spcPts val="0"/>
              </a:spcAft>
            </a:pPr>
            <a:r>
              <a:rPr lang="en-SG" sz="1200" b="0" dirty="0">
                <a:solidFill>
                  <a:schemeClr val="bg2">
                    <a:lumMod val="10000"/>
                  </a:schemeClr>
                </a:solidFill>
                <a:latin typeface="+mn-lt"/>
              </a:rPr>
              <a:t>Happy customers </a:t>
            </a:r>
          </a:p>
          <a:p>
            <a:endParaRPr lang="en-SG" dirty="0"/>
          </a:p>
        </p:txBody>
      </p:sp>
      <p:sp>
        <p:nvSpPr>
          <p:cNvPr id="4" name="Slide Number Placeholder 3"/>
          <p:cNvSpPr>
            <a:spLocks noGrp="1"/>
          </p:cNvSpPr>
          <p:nvPr>
            <p:ph type="sldNum" sz="quarter" idx="5"/>
          </p:nvPr>
        </p:nvSpPr>
        <p:spPr/>
        <p:txBody>
          <a:bodyPr/>
          <a:lstStyle/>
          <a:p>
            <a:fld id="{26AF0630-9FB3-4A39-8276-9897080A97FB}" type="slidenum">
              <a:rPr lang="en-SG" smtClean="0"/>
              <a:t>49</a:t>
            </a:fld>
            <a:endParaRPr lang="en-SG"/>
          </a:p>
        </p:txBody>
      </p:sp>
    </p:spTree>
    <p:extLst>
      <p:ext uri="{BB962C8B-B14F-4D97-AF65-F5344CB8AC3E}">
        <p14:creationId xmlns:p14="http://schemas.microsoft.com/office/powerpoint/2010/main" val="33739594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B2B15-778A-6D72-1D23-87481398A2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46BD6-3554-A572-8AA4-5367EE512B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6FD9F9-9BCB-2575-03BC-87F987F0E01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dirty="0">
                <a:solidFill>
                  <a:schemeClr val="bg2">
                    <a:lumMod val="10000"/>
                  </a:schemeClr>
                </a:solidFill>
                <a:latin typeface="+mn-lt"/>
              </a:rPr>
              <a:t>Do your homework</a:t>
            </a:r>
            <a:endParaRPr lang="en-SG" sz="1200" b="0" dirty="0">
              <a:solidFill>
                <a:schemeClr val="bg2">
                  <a:lumMod val="10000"/>
                </a:schemeClr>
              </a:solidFill>
              <a:latin typeface="+mn-lt"/>
            </a:endParaRPr>
          </a:p>
          <a:p>
            <a:endParaRPr lang="en-SG" dirty="0"/>
          </a:p>
          <a:p>
            <a:endParaRPr lang="en-SG" dirty="0"/>
          </a:p>
          <a:p>
            <a:endParaRPr lang="en-SG"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dirty="0">
                <a:solidFill>
                  <a:schemeClr val="bg2">
                    <a:lumMod val="10000"/>
                  </a:schemeClr>
                </a:solidFill>
                <a:latin typeface="+mn-lt"/>
              </a:rPr>
              <a:t>Ask questions </a:t>
            </a:r>
            <a:endParaRPr lang="en-SG" sz="1200" b="0" dirty="0">
              <a:solidFill>
                <a:schemeClr val="bg2">
                  <a:lumMod val="10000"/>
                </a:schemeClr>
              </a:solidFill>
              <a:latin typeface="+mn-lt"/>
            </a:endParaRPr>
          </a:p>
          <a:p>
            <a:endParaRPr lang="en-SG"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solidFill>
                  <a:schemeClr val="bg2">
                    <a:lumMod val="10000"/>
                  </a:schemeClr>
                </a:solidFill>
                <a:latin typeface="+mn-lt"/>
              </a:rPr>
              <a:t>Negotiations come second</a:t>
            </a:r>
            <a:endParaRPr lang="en-SG" sz="1200" b="0" dirty="0">
              <a:solidFill>
                <a:schemeClr val="bg2">
                  <a:lumMod val="10000"/>
                </a:schemeClr>
              </a:solidFill>
              <a:latin typeface="+mn-lt"/>
            </a:endParaRPr>
          </a:p>
          <a:p>
            <a:pPr algn="l" eaLnBrk="1" fontAlgn="auto" hangingPunct="1">
              <a:spcBef>
                <a:spcPts val="0"/>
              </a:spcBef>
              <a:spcAft>
                <a:spcPts val="0"/>
              </a:spcAft>
            </a:pPr>
            <a:r>
              <a:rPr lang="sv-SE" sz="1200" b="0" dirty="0">
                <a:solidFill>
                  <a:schemeClr val="bg2">
                    <a:lumMod val="10000"/>
                  </a:schemeClr>
                </a:solidFill>
                <a:latin typeface="+mn-lt"/>
              </a:rPr>
              <a:t>Effective / high close rate</a:t>
            </a:r>
          </a:p>
          <a:p>
            <a:pPr algn="l" eaLnBrk="1" fontAlgn="auto" hangingPunct="1">
              <a:spcBef>
                <a:spcPts val="0"/>
              </a:spcBef>
              <a:spcAft>
                <a:spcPts val="0"/>
              </a:spcAft>
            </a:pPr>
            <a:r>
              <a:rPr lang="sv-SE" sz="1200" dirty="0">
                <a:solidFill>
                  <a:schemeClr val="bg2">
                    <a:lumMod val="10000"/>
                  </a:schemeClr>
                </a:solidFill>
                <a:latin typeface="+mn-lt"/>
              </a:rPr>
              <a:t>Less on the price discussion </a:t>
            </a:r>
          </a:p>
          <a:p>
            <a:pPr algn="l" eaLnBrk="1" fontAlgn="auto" hangingPunct="1">
              <a:spcBef>
                <a:spcPts val="0"/>
              </a:spcBef>
              <a:spcAft>
                <a:spcPts val="0"/>
              </a:spcAft>
            </a:pPr>
            <a:r>
              <a:rPr lang="sv-SE" sz="1200" b="0" dirty="0">
                <a:solidFill>
                  <a:schemeClr val="bg2">
                    <a:lumMod val="10000"/>
                  </a:schemeClr>
                </a:solidFill>
                <a:latin typeface="+mn-lt"/>
              </a:rPr>
              <a:t>Retain and grow customers </a:t>
            </a:r>
          </a:p>
          <a:p>
            <a:pPr algn="l" eaLnBrk="1" fontAlgn="auto" hangingPunct="1">
              <a:spcBef>
                <a:spcPts val="0"/>
              </a:spcBef>
              <a:spcAft>
                <a:spcPts val="0"/>
              </a:spcAft>
            </a:pPr>
            <a:r>
              <a:rPr lang="en-SG" sz="1200" b="0" dirty="0">
                <a:solidFill>
                  <a:schemeClr val="bg2">
                    <a:lumMod val="10000"/>
                  </a:schemeClr>
                </a:solidFill>
                <a:latin typeface="+mn-lt"/>
              </a:rPr>
              <a:t>Happy customers </a:t>
            </a:r>
          </a:p>
          <a:p>
            <a:endParaRPr lang="en-SG" dirty="0"/>
          </a:p>
        </p:txBody>
      </p:sp>
      <p:sp>
        <p:nvSpPr>
          <p:cNvPr id="4" name="Slide Number Placeholder 3">
            <a:extLst>
              <a:ext uri="{FF2B5EF4-FFF2-40B4-BE49-F238E27FC236}">
                <a16:creationId xmlns:a16="http://schemas.microsoft.com/office/drawing/2014/main" id="{EA095C98-9809-5EB4-4E03-FAE7F32B5CDA}"/>
              </a:ext>
            </a:extLst>
          </p:cNvPr>
          <p:cNvSpPr>
            <a:spLocks noGrp="1"/>
          </p:cNvSpPr>
          <p:nvPr>
            <p:ph type="sldNum" sz="quarter" idx="5"/>
          </p:nvPr>
        </p:nvSpPr>
        <p:spPr/>
        <p:txBody>
          <a:bodyPr/>
          <a:lstStyle/>
          <a:p>
            <a:fld id="{26AF0630-9FB3-4A39-8276-9897080A97FB}" type="slidenum">
              <a:rPr lang="en-SG" smtClean="0"/>
              <a:t>51</a:t>
            </a:fld>
            <a:endParaRPr lang="en-SG"/>
          </a:p>
        </p:txBody>
      </p:sp>
    </p:spTree>
    <p:extLst>
      <p:ext uri="{BB962C8B-B14F-4D97-AF65-F5344CB8AC3E}">
        <p14:creationId xmlns:p14="http://schemas.microsoft.com/office/powerpoint/2010/main" val="11895243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C49A242-0154-F74C-A511-93BF6AB15D8C}" type="slidenum">
              <a:rPr kumimoji="0" lang="da-DK"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64</a:t>
            </a:fld>
            <a:endParaRPr kumimoji="0" lang="da-DK"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7129805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DCFB3-FD2F-17B2-5CA7-9FC6357C44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F4AB22-6E22-01BE-7CC4-9B159D54B7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C1D283-E775-6B0C-ECC8-BEE096AD67A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C60937D-6E07-04DF-4678-223B132E1BAC}"/>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C49A242-0154-F74C-A511-93BF6AB15D8C}" type="slidenum">
              <a:rPr kumimoji="0" lang="da-DK"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66</a:t>
            </a:fld>
            <a:endParaRPr kumimoji="0" lang="da-DK"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5636677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C0FDC-B824-86FA-DF54-6625629781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801581-6629-58FC-6257-4EB2DD8074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2F7E4D-576C-5336-7A58-5FF3F05B77E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7A02145-DB6A-E94A-4FAA-2414E459EB72}"/>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C49A242-0154-F74C-A511-93BF6AB15D8C}" type="slidenum">
              <a:rPr kumimoji="0" lang="da-DK"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68</a:t>
            </a:fld>
            <a:endParaRPr kumimoji="0" lang="da-DK"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41590597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F966B-4DE0-2663-D2B2-17545F55F2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60B66F-C1D8-1FD5-C1B8-3B0349DFF9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63E088-8E32-62CF-BDDE-9CAA5E36807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98777A5-6278-2D83-F7B6-B094AFD8F8CA}"/>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C49A242-0154-F74C-A511-93BF6AB15D8C}" type="slidenum">
              <a:rPr kumimoji="0" lang="da-DK"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71</a:t>
            </a:fld>
            <a:endParaRPr kumimoji="0" lang="da-DK"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389261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Tree>
    <p:extLst>
      <p:ext uri="{BB962C8B-B14F-4D97-AF65-F5344CB8AC3E}">
        <p14:creationId xmlns:p14="http://schemas.microsoft.com/office/powerpoint/2010/main" val="16183137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F213A-D4A7-F864-1B54-EF1B0944D8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100658-6FDB-6E94-E18A-ACF7DEEFF9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C88AEB-D73E-41AE-7799-66D66D1DC8B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B3DF619-A1EB-2693-764A-8431281434B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C49A242-0154-F74C-A511-93BF6AB15D8C}" type="slidenum">
              <a:rPr kumimoji="0" lang="da-DK"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73</a:t>
            </a:fld>
            <a:endParaRPr kumimoji="0" lang="da-DK"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3348878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36F33-B70D-F63A-04A9-BA67AE7734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F06DC6-9523-9FAE-4FD6-ECC74F0B19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2EB38E-4F17-ECFC-78D0-9F7E4900879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B9F59FE-A29D-283D-09F3-E3911425C90C}"/>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C49A242-0154-F74C-A511-93BF6AB15D8C}" type="slidenum">
              <a:rPr kumimoji="0" lang="da-DK"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75</a:t>
            </a:fld>
            <a:endParaRPr kumimoji="0" lang="da-DK"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6733847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189D3-B4AF-8DFA-1706-2029981088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A7F482-3B64-CFFF-E64A-CCAD980934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CF3CBF-74D1-667A-6954-65763CB93A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E78B192-4887-D36C-087A-7246BC2A45F8}"/>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C49A242-0154-F74C-A511-93BF6AB15D8C}" type="slidenum">
              <a:rPr kumimoji="0" lang="da-DK"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78</a:t>
            </a:fld>
            <a:endParaRPr kumimoji="0" lang="da-DK"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7598852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92B5F-511F-3E41-7C7C-0DC2FD6050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ADA652-968F-0D79-601F-D0F41C774C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210486-A6A3-DBD6-D6A9-354A9E263BA6}"/>
              </a:ext>
            </a:extLst>
          </p:cNvPr>
          <p:cNvSpPr>
            <a:spLocks noGrp="1"/>
          </p:cNvSpPr>
          <p:nvPr>
            <p:ph type="body" idx="1"/>
          </p:nvPr>
        </p:nvSpPr>
        <p:spPr/>
        <p:txBody>
          <a:bodyPr/>
          <a:lstStyle/>
          <a:p>
            <a:endParaRPr lang="en-DK"/>
          </a:p>
        </p:txBody>
      </p:sp>
    </p:spTree>
    <p:extLst>
      <p:ext uri="{BB962C8B-B14F-4D97-AF65-F5344CB8AC3E}">
        <p14:creationId xmlns:p14="http://schemas.microsoft.com/office/powerpoint/2010/main" val="33979296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AB8F1-2D12-65DC-9809-F4C3B86619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C91C2F-3DCC-FA21-45C8-581F1B718F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637662-0B5C-6E8D-68AF-31EE0624342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168546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26AF0630-9FB3-4A39-8276-9897080A97FB}" type="slidenum">
              <a:rPr lang="en-SG" smtClean="0"/>
              <a:t>14</a:t>
            </a:fld>
            <a:endParaRPr lang="en-SG"/>
          </a:p>
        </p:txBody>
      </p:sp>
    </p:spTree>
    <p:extLst>
      <p:ext uri="{BB962C8B-B14F-4D97-AF65-F5344CB8AC3E}">
        <p14:creationId xmlns:p14="http://schemas.microsoft.com/office/powerpoint/2010/main" val="2736330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26AF0630-9FB3-4A39-8276-9897080A97FB}" type="slidenum">
              <a:rPr lang="en-SG" smtClean="0"/>
              <a:t>15</a:t>
            </a:fld>
            <a:endParaRPr lang="en-SG"/>
          </a:p>
        </p:txBody>
      </p:sp>
    </p:spTree>
    <p:extLst>
      <p:ext uri="{BB962C8B-B14F-4D97-AF65-F5344CB8AC3E}">
        <p14:creationId xmlns:p14="http://schemas.microsoft.com/office/powerpoint/2010/main" val="3718488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26AF0630-9FB3-4A39-8276-9897080A97FB}" type="slidenum">
              <a:rPr lang="en-SG" smtClean="0"/>
              <a:t>16</a:t>
            </a:fld>
            <a:endParaRPr lang="en-SG"/>
          </a:p>
        </p:txBody>
      </p:sp>
    </p:spTree>
    <p:extLst>
      <p:ext uri="{BB962C8B-B14F-4D97-AF65-F5344CB8AC3E}">
        <p14:creationId xmlns:p14="http://schemas.microsoft.com/office/powerpoint/2010/main" val="34143157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26AF0630-9FB3-4A39-8276-9897080A97FB}" type="slidenum">
              <a:rPr lang="en-SG" smtClean="0"/>
              <a:t>17</a:t>
            </a:fld>
            <a:endParaRPr lang="en-SG"/>
          </a:p>
        </p:txBody>
      </p:sp>
    </p:spTree>
    <p:extLst>
      <p:ext uri="{BB962C8B-B14F-4D97-AF65-F5344CB8AC3E}">
        <p14:creationId xmlns:p14="http://schemas.microsoft.com/office/powerpoint/2010/main" val="11846605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svg"/><Relationship Id="rId2" Type="http://schemas.openxmlformats.org/officeDocument/2006/relationships/image" Target="../media/image12.jp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g"/><Relationship Id="rId1" Type="http://schemas.openxmlformats.org/officeDocument/2006/relationships/slideMaster" Target="../slideMasters/slideMaster2.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jpg"/><Relationship Id="rId1" Type="http://schemas.openxmlformats.org/officeDocument/2006/relationships/slideMaster" Target="../slideMasters/slideMaster2.xml"/><Relationship Id="rId5" Type="http://schemas.openxmlformats.org/officeDocument/2006/relationships/image" Target="../media/image19.svg"/><Relationship Id="rId4"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jpg"/><Relationship Id="rId1" Type="http://schemas.openxmlformats.org/officeDocument/2006/relationships/slideMaster" Target="../slideMasters/slideMaster2.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svg"/><Relationship Id="rId2" Type="http://schemas.openxmlformats.org/officeDocument/2006/relationships/image" Target="../media/image12.jp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5.jp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jp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jp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7.svg"/><Relationship Id="rId2" Type="http://schemas.openxmlformats.org/officeDocument/2006/relationships/image" Target="../media/image26.jp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hyperlink" Target="https://www.linkedin.com/company/ellab/" TargetMode="External"/><Relationship Id="rId4" Type="http://schemas.openxmlformats.org/officeDocument/2006/relationships/hyperlink" Target="https://www.ellab.com/"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29.png"/><Relationship Id="rId5" Type="http://schemas.openxmlformats.org/officeDocument/2006/relationships/image" Target="../media/image28.jpeg"/><Relationship Id="rId4" Type="http://schemas.openxmlformats.org/officeDocument/2006/relationships/image" Target="../media/image27.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1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5" Type="http://schemas.openxmlformats.org/officeDocument/2006/relationships/image" Target="../media/image30.emf"/><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27.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27.emf"/><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30.emf"/><Relationship Id="rId4" Type="http://schemas.openxmlformats.org/officeDocument/2006/relationships/image" Target="../media/image27.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1.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Master" Target="../slideMasters/slideMaster3.xml"/><Relationship Id="rId1" Type="http://schemas.openxmlformats.org/officeDocument/2006/relationships/tags" Target="../tags/tag19.xml"/><Relationship Id="rId5" Type="http://schemas.openxmlformats.org/officeDocument/2006/relationships/image" Target="../media/image27.emf"/><Relationship Id="rId4" Type="http://schemas.openxmlformats.org/officeDocument/2006/relationships/oleObject" Target="../embeddings/oleObject10.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27.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27.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2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27.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02741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content slide 3">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5404473" y="2520000"/>
            <a:ext cx="6452565"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sp>
        <p:nvSpPr>
          <p:cNvPr id="27" name="Pladsholder til tekst 3"/>
          <p:cNvSpPr>
            <a:spLocks noGrp="1"/>
          </p:cNvSpPr>
          <p:nvPr>
            <p:ph type="body" sz="half" idx="2"/>
          </p:nvPr>
        </p:nvSpPr>
        <p:spPr>
          <a:xfrm>
            <a:off x="5404474" y="1566000"/>
            <a:ext cx="6452564"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5392998" y="965049"/>
            <a:ext cx="6464040" cy="360000"/>
          </a:xfrm>
        </p:spPr>
        <p:txBody>
          <a:bodyPr wrap="square">
            <a:noAutofit/>
          </a:bodyPr>
          <a:lstStyle>
            <a:lvl1pPr>
              <a:lnSpc>
                <a:spcPts val="3800"/>
              </a:lnSpc>
              <a:defRPr sz="3600"/>
            </a:lvl1pPr>
          </a:lstStyle>
          <a:p>
            <a:r>
              <a:rPr lang="da-DK" dirty="0"/>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371475" y="936000"/>
            <a:ext cx="4324350" cy="5229850"/>
          </a:xfrm>
        </p:spPr>
        <p:txBody>
          <a:bodyPr/>
          <a:lstStyle/>
          <a:p>
            <a:r>
              <a:rPr lang="da-DK"/>
              <a:t>Klik på ikonet for at tilføje et billede</a:t>
            </a:r>
            <a:endParaRPr lang="da-DK" dirty="0"/>
          </a:p>
        </p:txBody>
      </p:sp>
      <p:pic>
        <p:nvPicPr>
          <p:cNvPr id="5" name="Billede 5">
            <a:extLst>
              <a:ext uri="{FF2B5EF4-FFF2-40B4-BE49-F238E27FC236}">
                <a16:creationId xmlns:a16="http://schemas.microsoft.com/office/drawing/2014/main" id="{AD4D8A8E-012A-80EF-4E00-3E736B28E8A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4275201149"/>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content slide 4">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Pladsholder til tekst 3"/>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dirty="0"/>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11497038" cy="360000"/>
          </a:xfrm>
        </p:spPr>
        <p:txBody>
          <a:bodyPr wrap="square">
            <a:noAutofit/>
          </a:bodyPr>
          <a:lstStyle>
            <a:lvl1pPr>
              <a:lnSpc>
                <a:spcPts val="3800"/>
              </a:lnSpc>
              <a:defRPr sz="3600"/>
            </a:lvl1pPr>
          </a:lstStyle>
          <a:p>
            <a:r>
              <a:rPr lang="da-DK" dirty="0"/>
              <a:t>Klik for at redigere titeltypografien i masteren</a:t>
            </a:r>
          </a:p>
        </p:txBody>
      </p:sp>
      <p:sp>
        <p:nvSpPr>
          <p:cNvPr id="5" name="Pladsholder til indhold 4">
            <a:extLst>
              <a:ext uri="{FF2B5EF4-FFF2-40B4-BE49-F238E27FC236}">
                <a16:creationId xmlns:a16="http://schemas.microsoft.com/office/drawing/2014/main" id="{48C364EF-8BA1-3690-B05C-45C03F05CCAB}"/>
              </a:ext>
            </a:extLst>
          </p:cNvPr>
          <p:cNvSpPr>
            <a:spLocks noGrp="1"/>
          </p:cNvSpPr>
          <p:nvPr>
            <p:ph sz="quarter" idx="14"/>
          </p:nvPr>
        </p:nvSpPr>
        <p:spPr>
          <a:xfrm>
            <a:off x="371474" y="2520000"/>
            <a:ext cx="5400000" cy="3645850"/>
          </a:xfrm>
        </p:spPr>
        <p:txBody>
          <a:bodyPr/>
          <a:lstStyle>
            <a:lvl1pPr>
              <a:lnSpc>
                <a:spcPts val="1600"/>
              </a:lnSpc>
              <a:defRPr sz="1400" b="0"/>
            </a:lvl1pPr>
          </a:lstStyle>
          <a:p>
            <a:pPr lvl="0"/>
            <a:r>
              <a:rPr lang="da-DK" dirty="0"/>
              <a:t>Klik for at redigere teksttypografierne i masteren</a:t>
            </a:r>
          </a:p>
        </p:txBody>
      </p:sp>
      <p:sp>
        <p:nvSpPr>
          <p:cNvPr id="6" name="Pladsholder til indhold 4">
            <a:extLst>
              <a:ext uri="{FF2B5EF4-FFF2-40B4-BE49-F238E27FC236}">
                <a16:creationId xmlns:a16="http://schemas.microsoft.com/office/drawing/2014/main" id="{2ABA36BD-9324-6825-8DB4-BA7CC7BCF5EC}"/>
              </a:ext>
            </a:extLst>
          </p:cNvPr>
          <p:cNvSpPr>
            <a:spLocks noGrp="1"/>
          </p:cNvSpPr>
          <p:nvPr>
            <p:ph sz="quarter" idx="15"/>
          </p:nvPr>
        </p:nvSpPr>
        <p:spPr>
          <a:xfrm>
            <a:off x="6457038" y="2520000"/>
            <a:ext cx="5400000" cy="3645850"/>
          </a:xfrm>
        </p:spPr>
        <p:txBody>
          <a:bodyPr/>
          <a:lstStyle>
            <a:lvl1pPr>
              <a:lnSpc>
                <a:spcPts val="1600"/>
              </a:lnSpc>
              <a:defRPr sz="1400" b="0"/>
            </a:lvl1pPr>
          </a:lstStyle>
          <a:p>
            <a:pPr lvl="0"/>
            <a:r>
              <a:rPr lang="da-DK"/>
              <a:t>Klik for at redigere teksttypografierne i masteren</a:t>
            </a:r>
          </a:p>
        </p:txBody>
      </p:sp>
      <p:pic>
        <p:nvPicPr>
          <p:cNvPr id="4" name="Billede 5">
            <a:extLst>
              <a:ext uri="{FF2B5EF4-FFF2-40B4-BE49-F238E27FC236}">
                <a16:creationId xmlns:a16="http://schemas.microsoft.com/office/drawing/2014/main" id="{32144073-8049-9F66-3EC9-D55F7E8C60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50109819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909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reaker slide cya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5222748" y="693053"/>
            <a:ext cx="1746504" cy="5151082"/>
          </a:xfrm>
          <a:prstGeom prst="rect">
            <a:avLst/>
          </a:prstGeom>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Body </a:t>
            </a:r>
            <a:r>
              <a:rPr lang="da-DK" dirty="0" err="1"/>
              <a:t>text</a:t>
            </a:r>
            <a:endParaRPr lang="da-DK" dirty="0"/>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err="1"/>
              <a:t>Subtitle</a:t>
            </a:r>
            <a:endParaRPr lang="da-DK" dirty="0"/>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dirty="0"/>
              <a:t>Insert Your Title Here</a:t>
            </a:r>
            <a:endParaRPr lang="da-DK" dirty="0"/>
          </a:p>
        </p:txBody>
      </p:sp>
      <p:pic>
        <p:nvPicPr>
          <p:cNvPr id="7" name="Billede 1">
            <a:extLst>
              <a:ext uri="{FF2B5EF4-FFF2-40B4-BE49-F238E27FC236}">
                <a16:creationId xmlns:a16="http://schemas.microsoft.com/office/drawing/2014/main" id="{A42DB8ED-5D3C-6FA8-0BBF-D50FE7DAEBF7}"/>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lede 5">
            <a:extLst>
              <a:ext uri="{FF2B5EF4-FFF2-40B4-BE49-F238E27FC236}">
                <a16:creationId xmlns:a16="http://schemas.microsoft.com/office/drawing/2014/main" id="{0C08EC35-69EE-AD1E-CB40-57F679FBF14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3930276950"/>
      </p:ext>
    </p:extLst>
  </p:cSld>
  <p:clrMapOvr>
    <a:masterClrMapping/>
  </p:clrMapOvr>
  <p:extLst>
    <p:ext uri="{DCECCB84-F9BA-43D5-87BE-67443E8EF086}">
      <p15:sldGuideLst xmlns:p15="http://schemas.microsoft.com/office/powerpoint/2012/main">
        <p15:guide id="1" pos="767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gendaslide 1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dirty="0"/>
              <a:t>Insert Your Title Here</a:t>
            </a:r>
            <a:br>
              <a:rPr lang="en-US" noProof="0" dirty="0"/>
            </a:br>
            <a:r>
              <a:rPr lang="en-US" noProof="0" dirty="0"/>
              <a:t>Up to </a:t>
            </a:r>
            <a:br>
              <a:rPr lang="en-US" noProof="0" dirty="0"/>
            </a:br>
            <a:r>
              <a:rPr lang="en-US" noProof="0" dirty="0"/>
              <a:t>3 lines</a:t>
            </a:r>
            <a:endParaRPr lang="da-DK" dirty="0"/>
          </a:p>
        </p:txBody>
      </p:sp>
      <p:sp>
        <p:nvSpPr>
          <p:cNvPr id="2" name="Pladsholder til tekst 3">
            <a:extLst>
              <a:ext uri="{FF2B5EF4-FFF2-40B4-BE49-F238E27FC236}">
                <a16:creationId xmlns:a16="http://schemas.microsoft.com/office/drawing/2014/main" id="{4137AC0D-7540-76C8-C1AE-A09D24A2CA8A}"/>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pic>
        <p:nvPicPr>
          <p:cNvPr id="4" name="Billede 5">
            <a:extLst>
              <a:ext uri="{FF2B5EF4-FFF2-40B4-BE49-F238E27FC236}">
                <a16:creationId xmlns:a16="http://schemas.microsoft.com/office/drawing/2014/main" id="{32ADEE3F-41B3-E072-2393-677D26B9C47F}"/>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270855103"/>
      </p:ext>
    </p:extLst>
  </p:cSld>
  <p:clrMapOvr>
    <a:masterClrMapping/>
  </p:clrMapOvr>
  <p:extLst>
    <p:ext uri="{DCECCB84-F9BA-43D5-87BE-67443E8EF086}">
      <p15:sldGuideLst xmlns:p15="http://schemas.microsoft.com/office/powerpoint/2012/main">
        <p15:guide id="1" pos="767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155672"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1" y="944563"/>
            <a:ext cx="11497039" cy="1102866"/>
          </a:xfrm>
        </p:spPr>
        <p:txBody>
          <a:bodyPr wrap="square">
            <a:spAutoFit/>
          </a:bodyPr>
          <a:lstStyle>
            <a:lvl1pPr>
              <a:defRPr>
                <a:solidFill>
                  <a:schemeClr val="bg1"/>
                </a:solidFill>
              </a:defRPr>
            </a:lvl1pPr>
          </a:lstStyle>
          <a:p>
            <a:r>
              <a:rPr lang="en-US" noProof="0"/>
              <a:t>Insert Your Title Here</a:t>
            </a:r>
            <a:br>
              <a:rPr lang="en-US" noProof="0"/>
            </a:br>
            <a:r>
              <a:rPr lang="en-US" noProof="0"/>
              <a:t>Up to 2 lines</a:t>
            </a:r>
            <a:endParaRPr lang="da-DK"/>
          </a:p>
        </p:txBody>
      </p:sp>
      <p:sp>
        <p:nvSpPr>
          <p:cNvPr id="5" name="Pladsholder til medieklip 4">
            <a:extLst>
              <a:ext uri="{FF2B5EF4-FFF2-40B4-BE49-F238E27FC236}">
                <a16:creationId xmlns:a16="http://schemas.microsoft.com/office/drawing/2014/main" id="{59F1AD72-C172-CBE2-C555-993FF5F511DE}"/>
              </a:ext>
            </a:extLst>
          </p:cNvPr>
          <p:cNvSpPr>
            <a:spLocks noGrp="1"/>
          </p:cNvSpPr>
          <p:nvPr>
            <p:ph type="media" sz="quarter" idx="14"/>
          </p:nvPr>
        </p:nvSpPr>
        <p:spPr>
          <a:xfrm>
            <a:off x="2840451" y="2257805"/>
            <a:ext cx="6511099" cy="3896428"/>
          </a:xfrm>
        </p:spPr>
        <p:txBody>
          <a:bodyPr/>
          <a:lstStyle/>
          <a:p>
            <a:r>
              <a:rPr lang="da-DK"/>
              <a:t>Klik på ikonet for at tilføje et medie</a:t>
            </a:r>
          </a:p>
        </p:txBody>
      </p:sp>
      <p:pic>
        <p:nvPicPr>
          <p:cNvPr id="2" name="Billede 5">
            <a:extLst>
              <a:ext uri="{FF2B5EF4-FFF2-40B4-BE49-F238E27FC236}">
                <a16:creationId xmlns:a16="http://schemas.microsoft.com/office/drawing/2014/main" id="{E881B0EB-12D2-9055-F003-E560E963C07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6"/>
            <a:ext cx="818507" cy="310770"/>
          </a:xfrm>
          <a:prstGeom prst="rect">
            <a:avLst/>
          </a:prstGeom>
        </p:spPr>
      </p:pic>
    </p:spTree>
    <p:extLst>
      <p:ext uri="{BB962C8B-B14F-4D97-AF65-F5344CB8AC3E}">
        <p14:creationId xmlns:p14="http://schemas.microsoft.com/office/powerpoint/2010/main" val="4279188063"/>
      </p:ext>
    </p:extLst>
  </p:cSld>
  <p:clrMapOvr>
    <a:masterClrMapping/>
  </p:clrMapOvr>
  <p:extLst>
    <p:ext uri="{DCECCB84-F9BA-43D5-87BE-67443E8EF086}">
      <p15:sldGuideLst xmlns:p15="http://schemas.microsoft.com/office/powerpoint/2012/main">
        <p15:guide id="1" pos="767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Agendaslide 3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dirty="0"/>
              <a:t>Insert Your Title Here</a:t>
            </a:r>
            <a:br>
              <a:rPr lang="en-US" noProof="0" dirty="0"/>
            </a:br>
            <a:r>
              <a:rPr lang="en-US" noProof="0" dirty="0"/>
              <a:t>Up to </a:t>
            </a:r>
            <a:br>
              <a:rPr lang="en-US" noProof="0" dirty="0"/>
            </a:br>
            <a:r>
              <a:rPr lang="en-US" noProof="0" dirty="0"/>
              <a:t>3 lines</a:t>
            </a:r>
            <a:endParaRPr lang="da-DK" dirty="0"/>
          </a:p>
        </p:txBody>
      </p:sp>
      <p:pic>
        <p:nvPicPr>
          <p:cNvPr id="4" name="Billede 5">
            <a:extLst>
              <a:ext uri="{FF2B5EF4-FFF2-40B4-BE49-F238E27FC236}">
                <a16:creationId xmlns:a16="http://schemas.microsoft.com/office/drawing/2014/main" id="{7016FFF3-4074-E198-B0F4-80A26178A06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40634880"/>
      </p:ext>
    </p:extLst>
  </p:cSld>
  <p:clrMapOvr>
    <a:masterClrMapping/>
  </p:clrMapOvr>
  <p:extLst>
    <p:ext uri="{DCECCB84-F9BA-43D5-87BE-67443E8EF086}">
      <p15:sldGuideLst xmlns:p15="http://schemas.microsoft.com/office/powerpoint/2012/main">
        <p15:guide id="1" pos="767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reaker slide dark blue">
    <p:bg>
      <p:bgPr>
        <a:solidFill>
          <a:schemeClr val="tx2"/>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5222748" y="693053"/>
            <a:ext cx="1746504" cy="5151082"/>
          </a:xfrm>
          <a:prstGeom prst="rect">
            <a:avLst/>
          </a:prstGeom>
        </p:spPr>
      </p:pic>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dirty="0"/>
              <a:t>Body Text</a:t>
            </a:r>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dirty="0"/>
              <a:t>Subtitle</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dirty="0"/>
              <a:t>Insert Your Title Here</a:t>
            </a:r>
          </a:p>
        </p:txBody>
      </p:sp>
      <p:pic>
        <p:nvPicPr>
          <p:cNvPr id="4" name="Billede 5">
            <a:extLst>
              <a:ext uri="{FF2B5EF4-FFF2-40B4-BE49-F238E27FC236}">
                <a16:creationId xmlns:a16="http://schemas.microsoft.com/office/drawing/2014/main" id="{5448ED32-B925-AA4A-EF8E-139E026961B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5952347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reaker slide cya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5222748" y="693053"/>
            <a:ext cx="1746504" cy="5151082"/>
          </a:xfrm>
          <a:prstGeom prst="rect">
            <a:avLst/>
          </a:prstGeom>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Body </a:t>
            </a:r>
            <a:r>
              <a:rPr lang="da-DK" dirty="0" err="1"/>
              <a:t>text</a:t>
            </a:r>
            <a:endParaRPr lang="da-DK" dirty="0"/>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err="1"/>
              <a:t>Subtitle</a:t>
            </a:r>
            <a:endParaRPr lang="da-DK" dirty="0"/>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dirty="0"/>
              <a:t>Insert Your Title Here</a:t>
            </a:r>
            <a:endParaRPr lang="da-DK" dirty="0"/>
          </a:p>
        </p:txBody>
      </p:sp>
      <p:pic>
        <p:nvPicPr>
          <p:cNvPr id="7" name="Billede 1">
            <a:extLst>
              <a:ext uri="{FF2B5EF4-FFF2-40B4-BE49-F238E27FC236}">
                <a16:creationId xmlns:a16="http://schemas.microsoft.com/office/drawing/2014/main" id="{A42DB8ED-5D3C-6FA8-0BBF-D50FE7DAEBF7}"/>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lede 5">
            <a:extLst>
              <a:ext uri="{FF2B5EF4-FFF2-40B4-BE49-F238E27FC236}">
                <a16:creationId xmlns:a16="http://schemas.microsoft.com/office/drawing/2014/main" id="{0C08EC35-69EE-AD1E-CB40-57F679FBF14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073998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slide 1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dirty="0"/>
              <a:t>Insert Your Title Here</a:t>
            </a:r>
            <a:br>
              <a:rPr lang="en-US" noProof="0" dirty="0"/>
            </a:br>
            <a:r>
              <a:rPr lang="en-US" noProof="0" dirty="0"/>
              <a:t>Up to </a:t>
            </a:r>
            <a:br>
              <a:rPr lang="en-US" noProof="0" dirty="0"/>
            </a:br>
            <a:r>
              <a:rPr lang="en-US" noProof="0" dirty="0"/>
              <a:t>3 lines</a:t>
            </a:r>
            <a:endParaRPr lang="da-DK" dirty="0"/>
          </a:p>
        </p:txBody>
      </p:sp>
      <p:sp>
        <p:nvSpPr>
          <p:cNvPr id="2" name="Pladsholder til tekst 3">
            <a:extLst>
              <a:ext uri="{FF2B5EF4-FFF2-40B4-BE49-F238E27FC236}">
                <a16:creationId xmlns:a16="http://schemas.microsoft.com/office/drawing/2014/main" id="{4137AC0D-7540-76C8-C1AE-A09D24A2CA8A}"/>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pic>
        <p:nvPicPr>
          <p:cNvPr id="4" name="Billede 5">
            <a:extLst>
              <a:ext uri="{FF2B5EF4-FFF2-40B4-BE49-F238E27FC236}">
                <a16:creationId xmlns:a16="http://schemas.microsoft.com/office/drawing/2014/main" id="{32ADEE3F-41B3-E072-2393-677D26B9C47F}"/>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2869018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da-DK" dirty="0" err="1"/>
              <a:t>Insert</a:t>
            </a:r>
            <a:r>
              <a:rPr lang="da-DK" dirty="0"/>
              <a:t> </a:t>
            </a:r>
            <a:r>
              <a:rPr lang="da-DK" dirty="0" err="1"/>
              <a:t>Your</a:t>
            </a:r>
            <a:r>
              <a:rPr lang="da-DK" dirty="0"/>
              <a:t> Title Here</a:t>
            </a:r>
          </a:p>
        </p:txBody>
      </p:sp>
    </p:spTree>
    <p:extLst>
      <p:ext uri="{BB962C8B-B14F-4D97-AF65-F5344CB8AC3E}">
        <p14:creationId xmlns:p14="http://schemas.microsoft.com/office/powerpoint/2010/main" val="254620637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slide 2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dirty="0"/>
              <a:t>Insert Your Title Here</a:t>
            </a:r>
            <a:br>
              <a:rPr lang="en-US" noProof="0" dirty="0"/>
            </a:br>
            <a:r>
              <a:rPr lang="en-US" noProof="0" dirty="0"/>
              <a:t>Up to </a:t>
            </a:r>
            <a:br>
              <a:rPr lang="en-US" noProof="0" dirty="0"/>
            </a:br>
            <a:r>
              <a:rPr lang="en-US" noProof="0" dirty="0"/>
              <a:t>3 lines</a:t>
            </a:r>
            <a:endParaRPr lang="da-DK" dirty="0"/>
          </a:p>
        </p:txBody>
      </p:sp>
      <p:sp>
        <p:nvSpPr>
          <p:cNvPr id="2" name="Pladsholder til tekst 3">
            <a:extLst>
              <a:ext uri="{FF2B5EF4-FFF2-40B4-BE49-F238E27FC236}">
                <a16:creationId xmlns:a16="http://schemas.microsoft.com/office/drawing/2014/main" id="{29B56DD9-5B8D-56AE-78E5-C66BDAE7814B}"/>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pic>
        <p:nvPicPr>
          <p:cNvPr id="4" name="Billede 5">
            <a:extLst>
              <a:ext uri="{FF2B5EF4-FFF2-40B4-BE49-F238E27FC236}">
                <a16:creationId xmlns:a16="http://schemas.microsoft.com/office/drawing/2014/main" id="{D4BDF3EF-1FCD-1E2C-99AF-BEF35A92BD1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862924041"/>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slide 3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dirty="0"/>
              <a:t>Insert Your Title Here</a:t>
            </a:r>
            <a:br>
              <a:rPr lang="en-US" noProof="0" dirty="0"/>
            </a:br>
            <a:r>
              <a:rPr lang="en-US" noProof="0" dirty="0"/>
              <a:t>Up to </a:t>
            </a:r>
            <a:br>
              <a:rPr lang="en-US" noProof="0" dirty="0"/>
            </a:br>
            <a:r>
              <a:rPr lang="en-US" noProof="0" dirty="0"/>
              <a:t>3 lines</a:t>
            </a:r>
            <a:endParaRPr lang="da-DK" dirty="0"/>
          </a:p>
        </p:txBody>
      </p:sp>
      <p:pic>
        <p:nvPicPr>
          <p:cNvPr id="4" name="Billede 5">
            <a:extLst>
              <a:ext uri="{FF2B5EF4-FFF2-40B4-BE49-F238E27FC236}">
                <a16:creationId xmlns:a16="http://schemas.microsoft.com/office/drawing/2014/main" id="{7016FFF3-4074-E198-B0F4-80A26178A06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348706008"/>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944563"/>
            <a:ext cx="11497038" cy="1102866"/>
          </a:xfrm>
        </p:spPr>
        <p:txBody>
          <a:bodyPr wrap="square">
            <a:spAutoFit/>
          </a:bodyPr>
          <a:lstStyle>
            <a:lvl1pPr>
              <a:defRPr>
                <a:solidFill>
                  <a:schemeClr val="bg1"/>
                </a:solidFill>
              </a:defRPr>
            </a:lvl1pPr>
          </a:lstStyle>
          <a:p>
            <a:r>
              <a:rPr lang="en-US" noProof="0" dirty="0"/>
              <a:t>Insert Your Title Here</a:t>
            </a:r>
            <a:br>
              <a:rPr lang="en-US" noProof="0" dirty="0"/>
            </a:br>
            <a:r>
              <a:rPr lang="en-US" noProof="0" dirty="0"/>
              <a:t>Up to 2 lines</a:t>
            </a:r>
            <a:endParaRPr lang="da-DK" dirty="0"/>
          </a:p>
        </p:txBody>
      </p:sp>
      <p:sp>
        <p:nvSpPr>
          <p:cNvPr id="5" name="Pladsholder til medieklip 4">
            <a:extLst>
              <a:ext uri="{FF2B5EF4-FFF2-40B4-BE49-F238E27FC236}">
                <a16:creationId xmlns:a16="http://schemas.microsoft.com/office/drawing/2014/main" id="{59F1AD72-C172-CBE2-C555-993FF5F511DE}"/>
              </a:ext>
            </a:extLst>
          </p:cNvPr>
          <p:cNvSpPr>
            <a:spLocks noGrp="1"/>
          </p:cNvSpPr>
          <p:nvPr>
            <p:ph type="media" sz="quarter" idx="14"/>
          </p:nvPr>
        </p:nvSpPr>
        <p:spPr>
          <a:xfrm>
            <a:off x="2840451" y="2257805"/>
            <a:ext cx="6511098" cy="3896428"/>
          </a:xfrm>
        </p:spPr>
        <p:txBody>
          <a:bodyPr/>
          <a:lstStyle/>
          <a:p>
            <a:r>
              <a:rPr lang="da-DK"/>
              <a:t>Klik på ikonet for at tilføje et medie</a:t>
            </a:r>
          </a:p>
        </p:txBody>
      </p:sp>
      <p:pic>
        <p:nvPicPr>
          <p:cNvPr id="2" name="Billede 5">
            <a:extLst>
              <a:ext uri="{FF2B5EF4-FFF2-40B4-BE49-F238E27FC236}">
                <a16:creationId xmlns:a16="http://schemas.microsoft.com/office/drawing/2014/main" id="{E881B0EB-12D2-9055-F003-E560E963C07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00127949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 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Billede 1">
            <a:extLst>
              <a:ext uri="{FF2B5EF4-FFF2-40B4-BE49-F238E27FC236}">
                <a16:creationId xmlns:a16="http://schemas.microsoft.com/office/drawing/2014/main" id="{AD0F86D2-6CBC-B132-2F53-416B3C9BD645}"/>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1">
            <a:hlinkClick r:id="rId4"/>
            <a:extLst>
              <a:ext uri="{FF2B5EF4-FFF2-40B4-BE49-F238E27FC236}">
                <a16:creationId xmlns:a16="http://schemas.microsoft.com/office/drawing/2014/main" id="{C59D8A96-938A-E83F-A089-2B4359555F33}"/>
              </a:ext>
            </a:extLst>
          </p:cNvPr>
          <p:cNvSpPr/>
          <p:nvPr userDrawn="1"/>
        </p:nvSpPr>
        <p:spPr>
          <a:xfrm>
            <a:off x="1725853" y="4426665"/>
            <a:ext cx="2502435" cy="2482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Rektangel 2">
            <a:hlinkClick r:id="rId5"/>
            <a:extLst>
              <a:ext uri="{FF2B5EF4-FFF2-40B4-BE49-F238E27FC236}">
                <a16:creationId xmlns:a16="http://schemas.microsoft.com/office/drawing/2014/main" id="{9226D4BF-70A2-3657-700D-D60918386FCE}"/>
              </a:ext>
            </a:extLst>
          </p:cNvPr>
          <p:cNvSpPr/>
          <p:nvPr userDrawn="1"/>
        </p:nvSpPr>
        <p:spPr>
          <a:xfrm>
            <a:off x="1725853" y="4805464"/>
            <a:ext cx="4000496" cy="2788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4" name="Billede 5">
            <a:extLst>
              <a:ext uri="{FF2B5EF4-FFF2-40B4-BE49-F238E27FC236}">
                <a16:creationId xmlns:a16="http://schemas.microsoft.com/office/drawing/2014/main" id="{74F8FD49-2D02-8955-23DE-BA689703FB04}"/>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3500975419"/>
      </p:ext>
    </p:extLst>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5D555F-EB0F-4CC0-ACEA-CD714B9A74BF}"/>
              </a:ext>
            </a:extLst>
          </p:cNvPr>
          <p:cNvGraphicFramePr>
            <a:graphicFrameLocks noChangeAspect="1"/>
          </p:cNvGraphicFramePr>
          <p:nvPr userDrawn="1">
            <p:custDataLst>
              <p:tags r:id="rId1"/>
            </p:custDataLst>
            <p:extLst>
              <p:ext uri="{D42A27DB-BD31-4B8C-83A1-F6EECF244321}">
                <p14:modId xmlns:p14="http://schemas.microsoft.com/office/powerpoint/2010/main" val="194486003"/>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295D555F-EB0F-4CC0-ACEA-CD714B9A74BF}"/>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sp>
        <p:nvSpPr>
          <p:cNvPr id="6" name="Graphic 21">
            <a:extLst>
              <a:ext uri="{FF2B5EF4-FFF2-40B4-BE49-F238E27FC236}">
                <a16:creationId xmlns:a16="http://schemas.microsoft.com/office/drawing/2014/main" id="{94BCEA85-BAC3-A34D-9391-738DA7142C26}"/>
              </a:ext>
            </a:extLst>
          </p:cNvPr>
          <p:cNvSpPr/>
          <p:nvPr userDrawn="1"/>
        </p:nvSpPr>
        <p:spPr>
          <a:xfrm>
            <a:off x="6515100" y="0"/>
            <a:ext cx="2133600" cy="6859906"/>
          </a:xfrm>
          <a:custGeom>
            <a:avLst/>
            <a:gdLst>
              <a:gd name="connsiteX0" fmla="*/ 614793 w 2134480"/>
              <a:gd name="connsiteY0" fmla="*/ 0 h 6859123"/>
              <a:gd name="connsiteX1" fmla="*/ 1885457 w 2134480"/>
              <a:gd name="connsiteY1" fmla="*/ 3425825 h 6859123"/>
              <a:gd name="connsiteX2" fmla="*/ 0 w 2134480"/>
              <a:gd name="connsiteY2" fmla="*/ 6859124 h 6859123"/>
              <a:gd name="connsiteX3" fmla="*/ 605506 w 2134480"/>
              <a:gd name="connsiteY3" fmla="*/ 6859124 h 6859123"/>
              <a:gd name="connsiteX4" fmla="*/ 2134480 w 2134480"/>
              <a:gd name="connsiteY4" fmla="*/ 3425825 h 6859123"/>
              <a:gd name="connsiteX5" fmla="*/ 614793 w 2134480"/>
              <a:gd name="connsiteY5" fmla="*/ 0 h 685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4480" h="6859123">
                <a:moveTo>
                  <a:pt x="614793" y="0"/>
                </a:moveTo>
                <a:cubicBezTo>
                  <a:pt x="1531026" y="738315"/>
                  <a:pt x="1885457" y="1997075"/>
                  <a:pt x="1885457" y="3425825"/>
                </a:cubicBezTo>
                <a:cubicBezTo>
                  <a:pt x="1885457" y="4859427"/>
                  <a:pt x="921443" y="6121851"/>
                  <a:pt x="0" y="6859124"/>
                </a:cubicBezTo>
                <a:lnTo>
                  <a:pt x="605506" y="6859124"/>
                </a:lnTo>
                <a:cubicBezTo>
                  <a:pt x="1526949" y="6121851"/>
                  <a:pt x="2134480" y="4859427"/>
                  <a:pt x="2134480" y="3425825"/>
                </a:cubicBezTo>
                <a:cubicBezTo>
                  <a:pt x="2134474" y="1997075"/>
                  <a:pt x="1531026" y="738315"/>
                  <a:pt x="614793" y="0"/>
                </a:cubicBezTo>
                <a:close/>
              </a:path>
            </a:pathLst>
          </a:custGeom>
          <a:gradFill>
            <a:gsLst>
              <a:gs pos="0">
                <a:srgbClr val="1F6898">
                  <a:alpha val="40000"/>
                </a:srgbClr>
              </a:gs>
              <a:gs pos="100000">
                <a:srgbClr val="FFFFFF">
                  <a:shade val="100000"/>
                  <a:satMod val="115000"/>
                </a:srgbClr>
              </a:gs>
            </a:gsLst>
            <a:lin ang="16800000" scaled="0"/>
          </a:gradFill>
          <a:ln w="6331" cap="flat">
            <a:noFill/>
            <a:prstDash val="solid"/>
            <a:miter/>
          </a:ln>
        </p:spPr>
        <p:txBody>
          <a:bodyPr anchor="ctr"/>
          <a:lstStyle/>
          <a:p>
            <a:pPr eaLnBrk="1" fontAlgn="auto" hangingPunct="1">
              <a:spcBef>
                <a:spcPts val="0"/>
              </a:spcBef>
              <a:spcAft>
                <a:spcPts val="0"/>
              </a:spcAft>
              <a:defRPr/>
            </a:pPr>
            <a:endParaRPr lang="en-US" sz="1404">
              <a:latin typeface="Avenir Next" panose="020B0503020202020204" pitchFamily="34" charset="0"/>
            </a:endParaRPr>
          </a:p>
        </p:txBody>
      </p:sp>
      <p:sp>
        <p:nvSpPr>
          <p:cNvPr id="8" name="Graphic 8">
            <a:extLst>
              <a:ext uri="{FF2B5EF4-FFF2-40B4-BE49-F238E27FC236}">
                <a16:creationId xmlns:a16="http://schemas.microsoft.com/office/drawing/2014/main" id="{1E3F33A5-A716-4545-9060-C51E2535FCC2}"/>
              </a:ext>
            </a:extLst>
          </p:cNvPr>
          <p:cNvSpPr/>
          <p:nvPr userDrawn="1"/>
        </p:nvSpPr>
        <p:spPr>
          <a:xfrm>
            <a:off x="7047960" y="0"/>
            <a:ext cx="5144040" cy="6859346"/>
          </a:xfrm>
          <a:custGeom>
            <a:avLst/>
            <a:gdLst>
              <a:gd name="connsiteX0" fmla="*/ 6979 w 3858030"/>
              <a:gd name="connsiteY0" fmla="*/ 0 h 5716122"/>
              <a:gd name="connsiteX1" fmla="*/ 3858030 w 3858030"/>
              <a:gd name="connsiteY1" fmla="*/ 0 h 5716122"/>
              <a:gd name="connsiteX2" fmla="*/ 3858030 w 3858030"/>
              <a:gd name="connsiteY2" fmla="*/ 5716122 h 5716122"/>
              <a:gd name="connsiteX3" fmla="*/ 0 w 3858030"/>
              <a:gd name="connsiteY3" fmla="*/ 5716122 h 5716122"/>
              <a:gd name="connsiteX4" fmla="*/ 1148829 w 3858030"/>
              <a:gd name="connsiteY4" fmla="*/ 2854944 h 5716122"/>
              <a:gd name="connsiteX5" fmla="*/ 6979 w 3858030"/>
              <a:gd name="connsiteY5" fmla="*/ 0 h 571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8030" h="5716122">
                <a:moveTo>
                  <a:pt x="6979" y="0"/>
                </a:moveTo>
                <a:lnTo>
                  <a:pt x="3858030" y="0"/>
                </a:lnTo>
                <a:lnTo>
                  <a:pt x="3858030" y="5716122"/>
                </a:lnTo>
                <a:lnTo>
                  <a:pt x="0" y="5716122"/>
                </a:lnTo>
                <a:cubicBezTo>
                  <a:pt x="692364" y="5101696"/>
                  <a:pt x="1148829" y="4049654"/>
                  <a:pt x="1148829" y="2854944"/>
                </a:cubicBezTo>
                <a:cubicBezTo>
                  <a:pt x="1148829" y="1664282"/>
                  <a:pt x="695420" y="615283"/>
                  <a:pt x="6979" y="0"/>
                </a:cubicBezTo>
                <a:close/>
              </a:path>
            </a:pathLst>
          </a:custGeom>
          <a:blipFill>
            <a:blip r:embed="rId5" cstate="screen">
              <a:extLst>
                <a:ext uri="{28A0092B-C50C-407E-A947-70E740481C1C}">
                  <a14:useLocalDpi xmlns:a14="http://schemas.microsoft.com/office/drawing/2010/main"/>
                </a:ext>
              </a:extLst>
            </a:blip>
            <a:stretch>
              <a:fillRect/>
            </a:stretch>
          </a:blipFill>
          <a:ln w="5284" cap="flat">
            <a:noFill/>
            <a:prstDash val="solid"/>
            <a:miter/>
          </a:ln>
        </p:spPr>
        <p:txBody>
          <a:bodyPr rtlCol="0" anchor="ctr"/>
          <a:lstStyle/>
          <a:p>
            <a:endParaRPr lang="en-US"/>
          </a:p>
        </p:txBody>
      </p:sp>
      <p:cxnSp>
        <p:nvCxnSpPr>
          <p:cNvPr id="5" name="Google Shape;44;p6">
            <a:extLst>
              <a:ext uri="{FF2B5EF4-FFF2-40B4-BE49-F238E27FC236}">
                <a16:creationId xmlns:a16="http://schemas.microsoft.com/office/drawing/2014/main" id="{2040788B-1529-A54A-8354-4E71AA8B3307}"/>
              </a:ext>
            </a:extLst>
          </p:cNvPr>
          <p:cNvCxnSpPr>
            <a:cxnSpLocks noChangeShapeType="1"/>
          </p:cNvCxnSpPr>
          <p:nvPr userDrawn="1"/>
        </p:nvCxnSpPr>
        <p:spPr bwMode="auto">
          <a:xfrm>
            <a:off x="1295401" y="3992880"/>
            <a:ext cx="901700" cy="0"/>
          </a:xfrm>
          <a:prstGeom prst="straightConnector1">
            <a:avLst/>
          </a:prstGeom>
          <a:noFill/>
          <a:ln w="76200">
            <a:solidFill>
              <a:srgbClr val="CA0538"/>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40A0EA0C-E7CC-FB46-B80F-8BD09262EF7C}"/>
              </a:ext>
            </a:extLst>
          </p:cNvPr>
          <p:cNvSpPr txBox="1">
            <a:spLocks noGrp="1"/>
          </p:cNvSpPr>
          <p:nvPr>
            <p:ph type="title"/>
          </p:nvPr>
        </p:nvSpPr>
        <p:spPr>
          <a:xfrm>
            <a:off x="1165757" y="2804019"/>
            <a:ext cx="4851871" cy="762416"/>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2400"/>
              <a:buNone/>
              <a:defRPr sz="3200" b="0" i="0">
                <a:solidFill>
                  <a:srgbClr val="1F6898"/>
                </a:solidFill>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endParaRPr/>
          </a:p>
        </p:txBody>
      </p:sp>
      <p:sp>
        <p:nvSpPr>
          <p:cNvPr id="9" name="Text Placeholder 3">
            <a:extLst>
              <a:ext uri="{FF2B5EF4-FFF2-40B4-BE49-F238E27FC236}">
                <a16:creationId xmlns:a16="http://schemas.microsoft.com/office/drawing/2014/main" id="{A33A6440-67D3-6844-A14C-3985E0CBCFC4}"/>
              </a:ext>
            </a:extLst>
          </p:cNvPr>
          <p:cNvSpPr>
            <a:spLocks noGrp="1"/>
          </p:cNvSpPr>
          <p:nvPr>
            <p:ph type="body" sz="quarter" idx="11"/>
          </p:nvPr>
        </p:nvSpPr>
        <p:spPr>
          <a:xfrm>
            <a:off x="1165757" y="4420438"/>
            <a:ext cx="4851871" cy="464723"/>
          </a:xfrm>
          <a:prstGeom prst="rect">
            <a:avLst/>
          </a:prstGeom>
        </p:spPr>
        <p:txBody>
          <a:bodyPr/>
          <a:lstStyle>
            <a:lvl1pPr>
              <a:buNone/>
              <a:defRPr sz="1400" b="0" i="0">
                <a:solidFill>
                  <a:schemeClr val="bg2">
                    <a:lumMod val="10000"/>
                  </a:schemeClr>
                </a:solidFill>
                <a:latin typeface="+mj-lt"/>
              </a:defRPr>
            </a:lvl1pPr>
          </a:lstStyle>
          <a:p>
            <a:pPr lvl="0"/>
            <a:endParaRPr lang="en-US"/>
          </a:p>
        </p:txBody>
      </p:sp>
      <p:sp>
        <p:nvSpPr>
          <p:cNvPr id="10" name="Text Placeholder 15">
            <a:extLst>
              <a:ext uri="{FF2B5EF4-FFF2-40B4-BE49-F238E27FC236}">
                <a16:creationId xmlns:a16="http://schemas.microsoft.com/office/drawing/2014/main" id="{38EC70EC-140A-0646-BC27-4A3F5042FF05}"/>
              </a:ext>
            </a:extLst>
          </p:cNvPr>
          <p:cNvSpPr>
            <a:spLocks noGrp="1"/>
          </p:cNvSpPr>
          <p:nvPr>
            <p:ph type="body" sz="quarter" idx="18"/>
          </p:nvPr>
        </p:nvSpPr>
        <p:spPr>
          <a:xfrm>
            <a:off x="1165753" y="5057618"/>
            <a:ext cx="2996667" cy="371123"/>
          </a:xfrm>
          <a:prstGeom prst="rect">
            <a:avLst/>
          </a:prstGeom>
        </p:spPr>
        <p:txBody>
          <a:bodyPr/>
          <a:lstStyle>
            <a:lvl1pPr algn="l">
              <a:buFont typeface="Arial" panose="020B0604020202020204" pitchFamily="34" charset="0"/>
              <a:buNone/>
              <a:defRPr sz="1200" b="0" i="0">
                <a:solidFill>
                  <a:schemeClr val="bg2">
                    <a:lumMod val="10000"/>
                  </a:schemeClr>
                </a:solidFill>
                <a:latin typeface="+mn-lt"/>
              </a:defRPr>
            </a:lvl1pPr>
          </a:lstStyle>
          <a:p>
            <a:pPr lvl="0"/>
            <a:endParaRPr lang="en-US"/>
          </a:p>
        </p:txBody>
      </p:sp>
      <p:sp>
        <p:nvSpPr>
          <p:cNvPr id="12" name="Text Placeholder 15">
            <a:extLst>
              <a:ext uri="{FF2B5EF4-FFF2-40B4-BE49-F238E27FC236}">
                <a16:creationId xmlns:a16="http://schemas.microsoft.com/office/drawing/2014/main" id="{29832FE1-2BBB-3B4D-A817-B4D1C82B51F8}"/>
              </a:ext>
            </a:extLst>
          </p:cNvPr>
          <p:cNvSpPr>
            <a:spLocks noGrp="1"/>
          </p:cNvSpPr>
          <p:nvPr>
            <p:ph type="body" sz="quarter" idx="19"/>
          </p:nvPr>
        </p:nvSpPr>
        <p:spPr>
          <a:xfrm>
            <a:off x="1165753" y="6606228"/>
            <a:ext cx="2996667" cy="252392"/>
          </a:xfrm>
          <a:prstGeom prst="rect">
            <a:avLst/>
          </a:prstGeom>
        </p:spPr>
        <p:txBody>
          <a:bodyPr/>
          <a:lstStyle>
            <a:lvl1pPr algn="l">
              <a:buFont typeface="Arial" panose="020B0604020202020204" pitchFamily="34" charset="0"/>
              <a:buNone/>
              <a:defRPr sz="720" b="0" i="1">
                <a:solidFill>
                  <a:schemeClr val="bg2">
                    <a:lumMod val="10000"/>
                  </a:schemeClr>
                </a:solidFill>
                <a:latin typeface="+mn-lt"/>
              </a:defRPr>
            </a:lvl1pPr>
          </a:lstStyle>
          <a:p>
            <a:pPr lvl="0"/>
            <a:endParaRPr lang="en-US"/>
          </a:p>
        </p:txBody>
      </p:sp>
      <p:pic>
        <p:nvPicPr>
          <p:cNvPr id="11" name="Picture 3" descr="Logo&#10;&#10;Description automatically generated">
            <a:extLst>
              <a:ext uri="{FF2B5EF4-FFF2-40B4-BE49-F238E27FC236}">
                <a16:creationId xmlns:a16="http://schemas.microsoft.com/office/drawing/2014/main" id="{271EC943-E313-49FF-9029-5B016106AD21}"/>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166285" y="1335406"/>
            <a:ext cx="1644649" cy="1042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375888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98F8CC-9094-40E5-82CF-866292A5DDCA}"/>
              </a:ext>
            </a:extLst>
          </p:cNvPr>
          <p:cNvGraphicFramePr>
            <a:graphicFrameLocks noChangeAspect="1"/>
          </p:cNvGraphicFramePr>
          <p:nvPr userDrawn="1">
            <p:custDataLst>
              <p:tags r:id="rId1"/>
            </p:custDataLst>
            <p:extLst>
              <p:ext uri="{D42A27DB-BD31-4B8C-83A1-F6EECF244321}">
                <p14:modId xmlns:p14="http://schemas.microsoft.com/office/powerpoint/2010/main" val="523052468"/>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6398F8CC-9094-40E5-82CF-866292A5DDCA}"/>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0B8AFFC2-1746-1441-B457-2F1810CF5E02}"/>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11" name="Google Shape;30;p4"/>
          <p:cNvSpPr txBox="1">
            <a:spLocks noGrp="1"/>
          </p:cNvSpPr>
          <p:nvPr>
            <p:ph type="title"/>
          </p:nvPr>
        </p:nvSpPr>
        <p:spPr>
          <a:xfrm>
            <a:off x="813783" y="603507"/>
            <a:ext cx="9277917"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12" name="Text Placeholder 3"/>
          <p:cNvSpPr>
            <a:spLocks noGrp="1"/>
          </p:cNvSpPr>
          <p:nvPr>
            <p:ph type="body" sz="quarter" idx="10"/>
          </p:nvPr>
        </p:nvSpPr>
        <p:spPr>
          <a:xfrm>
            <a:off x="813782" y="1323335"/>
            <a:ext cx="9276149"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3" name="Text Placeholder 2"/>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30505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73CF69-A85E-4856-AEE9-464D3A203923}"/>
              </a:ext>
            </a:extLst>
          </p:cNvPr>
          <p:cNvGraphicFramePr>
            <a:graphicFrameLocks noChangeAspect="1"/>
          </p:cNvGraphicFramePr>
          <p:nvPr userDrawn="1">
            <p:custDataLst>
              <p:tags r:id="rId1"/>
            </p:custDataLst>
            <p:extLst>
              <p:ext uri="{D42A27DB-BD31-4B8C-83A1-F6EECF244321}">
                <p14:modId xmlns:p14="http://schemas.microsoft.com/office/powerpoint/2010/main" val="2230227239"/>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1D73CF69-A85E-4856-AEE9-464D3A20392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grpSp>
        <p:nvGrpSpPr>
          <p:cNvPr id="6" name="Group 8">
            <a:extLst>
              <a:ext uri="{FF2B5EF4-FFF2-40B4-BE49-F238E27FC236}">
                <a16:creationId xmlns:a16="http://schemas.microsoft.com/office/drawing/2014/main" id="{DFB7BEFB-285B-4B4E-BF80-26BFFF689C47}"/>
              </a:ext>
            </a:extLst>
          </p:cNvPr>
          <p:cNvGrpSpPr>
            <a:grpSpLocks/>
          </p:cNvGrpSpPr>
          <p:nvPr userDrawn="1"/>
        </p:nvGrpSpPr>
        <p:grpSpPr bwMode="auto">
          <a:xfrm>
            <a:off x="7423151" y="1691640"/>
            <a:ext cx="4504267" cy="4061460"/>
            <a:chOff x="7536611" y="1330745"/>
            <a:chExt cx="4786736" cy="4796721"/>
          </a:xfrm>
        </p:grpSpPr>
        <p:sp>
          <p:nvSpPr>
            <p:cNvPr id="7" name="Oval 6">
              <a:extLst>
                <a:ext uri="{FF2B5EF4-FFF2-40B4-BE49-F238E27FC236}">
                  <a16:creationId xmlns:a16="http://schemas.microsoft.com/office/drawing/2014/main" id="{6AC6D09C-D44D-BD45-B157-1896D6ED9A1B}"/>
                </a:ext>
              </a:extLst>
            </p:cNvPr>
            <p:cNvSpPr>
              <a:spLocks/>
            </p:cNvSpPr>
            <p:nvPr userDrawn="1"/>
          </p:nvSpPr>
          <p:spPr>
            <a:xfrm rot="6883338">
              <a:off x="8260229" y="1448824"/>
              <a:ext cx="1604681" cy="1368523"/>
            </a:xfrm>
            <a:prstGeom prst="ellipse">
              <a:avLst/>
            </a:prstGeom>
            <a:blipFill>
              <a:blip r:embed="rId5"/>
              <a:stretch>
                <a:fillRect l="3955" t="-21998" r="-161773" b="-13567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venirNext LT Pro Regular" panose="020B0504020202020204" pitchFamily="34" charset="77"/>
              </a:endParaRPr>
            </a:p>
          </p:txBody>
        </p:sp>
        <p:grpSp>
          <p:nvGrpSpPr>
            <p:cNvPr id="8" name="Group 17">
              <a:extLst>
                <a:ext uri="{FF2B5EF4-FFF2-40B4-BE49-F238E27FC236}">
                  <a16:creationId xmlns:a16="http://schemas.microsoft.com/office/drawing/2014/main" id="{8D450295-ACBD-614A-9308-788590CDB8F5}"/>
                </a:ext>
              </a:extLst>
            </p:cNvPr>
            <p:cNvGrpSpPr>
              <a:grpSpLocks/>
            </p:cNvGrpSpPr>
            <p:nvPr userDrawn="1"/>
          </p:nvGrpSpPr>
          <p:grpSpPr bwMode="auto">
            <a:xfrm>
              <a:off x="7536611" y="1854176"/>
              <a:ext cx="4786736" cy="4273290"/>
              <a:chOff x="6096000" y="1097280"/>
              <a:chExt cx="4786736" cy="4273290"/>
            </a:xfrm>
          </p:grpSpPr>
          <p:sp>
            <p:nvSpPr>
              <p:cNvPr id="9" name="Graphic 2">
                <a:extLst>
                  <a:ext uri="{FF2B5EF4-FFF2-40B4-BE49-F238E27FC236}">
                    <a16:creationId xmlns:a16="http://schemas.microsoft.com/office/drawing/2014/main" id="{6BB7FA0D-5C24-CB44-BBED-832FE19630A4}"/>
                  </a:ext>
                </a:extLst>
              </p:cNvPr>
              <p:cNvSpPr>
                <a:spLocks/>
              </p:cNvSpPr>
              <p:nvPr userDrawn="1"/>
            </p:nvSpPr>
            <p:spPr bwMode="auto">
              <a:xfrm>
                <a:off x="6275385" y="1097280"/>
                <a:ext cx="4607351" cy="4273290"/>
              </a:xfrm>
              <a:custGeom>
                <a:avLst/>
                <a:gdLst>
                  <a:gd name="T0" fmla="*/ 940926 w 3318440"/>
                  <a:gd name="T1" fmla="*/ 68121 h 3077833"/>
                  <a:gd name="T2" fmla="*/ 1734238 w 3318440"/>
                  <a:gd name="T3" fmla="*/ 85600 h 3077833"/>
                  <a:gd name="T4" fmla="*/ 2388799 w 3318440"/>
                  <a:gd name="T5" fmla="*/ 558101 h 3077833"/>
                  <a:gd name="T6" fmla="*/ 2981409 w 3318440"/>
                  <a:gd name="T7" fmla="*/ 1112208 h 3077833"/>
                  <a:gd name="T8" fmla="*/ 3580982 w 3318440"/>
                  <a:gd name="T9" fmla="*/ 1187841 h 3077833"/>
                  <a:gd name="T10" fmla="*/ 3886295 w 3318440"/>
                  <a:gd name="T11" fmla="*/ 1103027 h 3077833"/>
                  <a:gd name="T12" fmla="*/ 4551959 w 3318440"/>
                  <a:gd name="T13" fmla="*/ 1438030 h 3077833"/>
                  <a:gd name="T14" fmla="*/ 4607079 w 3318440"/>
                  <a:gd name="T15" fmla="*/ 1671336 h 3077833"/>
                  <a:gd name="T16" fmla="*/ 4436760 w 3318440"/>
                  <a:gd name="T17" fmla="*/ 2014159 h 3077833"/>
                  <a:gd name="T18" fmla="*/ 2708115 w 3318440"/>
                  <a:gd name="T19" fmla="*/ 3158716 h 3077833"/>
                  <a:gd name="T20" fmla="*/ 2175596 w 3318440"/>
                  <a:gd name="T21" fmla="*/ 3502875 h 3077833"/>
                  <a:gd name="T22" fmla="*/ 1364245 w 3318440"/>
                  <a:gd name="T23" fmla="*/ 4242832 h 3077833"/>
                  <a:gd name="T24" fmla="*/ 691975 w 3318440"/>
                  <a:gd name="T25" fmla="*/ 4199395 h 3077833"/>
                  <a:gd name="T26" fmla="*/ 449036 w 3318440"/>
                  <a:gd name="T27" fmla="*/ 4113908 h 3077833"/>
                  <a:gd name="T28" fmla="*/ 211332 w 3318440"/>
                  <a:gd name="T29" fmla="*/ 3854775 h 3077833"/>
                  <a:gd name="T30" fmla="*/ 107486 w 3318440"/>
                  <a:gd name="T31" fmla="*/ 2162069 h 3077833"/>
                  <a:gd name="T32" fmla="*/ 413075 w 3318440"/>
                  <a:gd name="T33" fmla="*/ 908668 h 3077833"/>
                  <a:gd name="T34" fmla="*/ 940926 w 3318440"/>
                  <a:gd name="T35" fmla="*/ 68121 h 30778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18440" h="3077833">
                    <a:moveTo>
                      <a:pt x="677701" y="49064"/>
                    </a:moveTo>
                    <a:cubicBezTo>
                      <a:pt x="858385" y="-25154"/>
                      <a:pt x="1067582" y="-10491"/>
                      <a:pt x="1249083" y="61653"/>
                    </a:cubicBezTo>
                    <a:cubicBezTo>
                      <a:pt x="1430584" y="133797"/>
                      <a:pt x="1586774" y="259454"/>
                      <a:pt x="1720530" y="401972"/>
                    </a:cubicBezTo>
                    <a:cubicBezTo>
                      <a:pt x="1854600" y="544833"/>
                      <a:pt x="1973958" y="710131"/>
                      <a:pt x="2147357" y="801067"/>
                    </a:cubicBezTo>
                    <a:cubicBezTo>
                      <a:pt x="2280248" y="870129"/>
                      <a:pt x="2433368" y="889444"/>
                      <a:pt x="2579199" y="855541"/>
                    </a:cubicBezTo>
                    <a:cubicBezTo>
                      <a:pt x="2653281" y="838024"/>
                      <a:pt x="2724001" y="806938"/>
                      <a:pt x="2799100" y="794454"/>
                    </a:cubicBezTo>
                    <a:cubicBezTo>
                      <a:pt x="2987762" y="763054"/>
                      <a:pt x="3191013" y="865390"/>
                      <a:pt x="3278544" y="1035740"/>
                    </a:cubicBezTo>
                    <a:cubicBezTo>
                      <a:pt x="3306562" y="1087179"/>
                      <a:pt x="3320274" y="1145214"/>
                      <a:pt x="3318244" y="1203778"/>
                    </a:cubicBezTo>
                    <a:cubicBezTo>
                      <a:pt x="3312441" y="1297188"/>
                      <a:pt x="3256006" y="1379333"/>
                      <a:pt x="3195572" y="1450696"/>
                    </a:cubicBezTo>
                    <a:cubicBezTo>
                      <a:pt x="2871434" y="1833435"/>
                      <a:pt x="2395590" y="2044576"/>
                      <a:pt x="1950517" y="2275062"/>
                    </a:cubicBezTo>
                    <a:cubicBezTo>
                      <a:pt x="1814938" y="2345275"/>
                      <a:pt x="1679282" y="2419417"/>
                      <a:pt x="1566971" y="2522942"/>
                    </a:cubicBezTo>
                    <a:cubicBezTo>
                      <a:pt x="1370568" y="2703987"/>
                      <a:pt x="1237933" y="2978043"/>
                      <a:pt x="982596" y="3055896"/>
                    </a:cubicBezTo>
                    <a:cubicBezTo>
                      <a:pt x="825884" y="3103691"/>
                      <a:pt x="657395" y="3064212"/>
                      <a:pt x="498394" y="3024610"/>
                    </a:cubicBezTo>
                    <a:cubicBezTo>
                      <a:pt x="438197" y="3009662"/>
                      <a:pt x="377051" y="2994247"/>
                      <a:pt x="323418" y="2963038"/>
                    </a:cubicBezTo>
                    <a:cubicBezTo>
                      <a:pt x="249620" y="2920162"/>
                      <a:pt x="195132" y="2850254"/>
                      <a:pt x="152212" y="2776398"/>
                    </a:cubicBezTo>
                    <a:cubicBezTo>
                      <a:pt x="-57450" y="2415734"/>
                      <a:pt x="-18054" y="1963516"/>
                      <a:pt x="77417" y="1557228"/>
                    </a:cubicBezTo>
                    <a:cubicBezTo>
                      <a:pt x="148280" y="1255759"/>
                      <a:pt x="246743" y="960522"/>
                      <a:pt x="297517" y="654467"/>
                    </a:cubicBezTo>
                    <a:cubicBezTo>
                      <a:pt x="340162" y="397396"/>
                      <a:pt x="413826" y="157394"/>
                      <a:pt x="677701" y="49064"/>
                    </a:cubicBezTo>
                    <a:close/>
                  </a:path>
                </a:pathLst>
              </a:custGeom>
              <a:solidFill>
                <a:srgbClr val="E6ECF4"/>
              </a:solidFill>
              <a:ln>
                <a:noFill/>
              </a:ln>
              <a:extLst>
                <a:ext uri="{91240B29-F687-4F45-9708-019B960494DF}">
                  <a14:hiddenLine xmlns:a14="http://schemas.microsoft.com/office/drawing/2010/main" w="9498" cap="flat">
                    <a:solidFill>
                      <a:srgbClr val="000000"/>
                    </a:solidFill>
                    <a:prstDash val="solid"/>
                    <a:miter lim="800000"/>
                    <a:headEnd/>
                    <a:tailEnd/>
                  </a14:hiddenLine>
                </a:ext>
              </a:extLst>
            </p:spPr>
            <p:txBody>
              <a:bodyPr anchor="ctr"/>
              <a:lstStyle/>
              <a:p>
                <a:endParaRPr lang="en-US">
                  <a:latin typeface="AvenirNext LT Pro Regular" panose="020B0504020202020204" pitchFamily="34" charset="77"/>
                </a:endParaRPr>
              </a:p>
            </p:txBody>
          </p:sp>
          <p:sp>
            <p:nvSpPr>
              <p:cNvPr id="10" name="Oval 9">
                <a:extLst>
                  <a:ext uri="{FF2B5EF4-FFF2-40B4-BE49-F238E27FC236}">
                    <a16:creationId xmlns:a16="http://schemas.microsoft.com/office/drawing/2014/main" id="{89915D3F-ACAD-854D-B3D0-A4FB97CE47C5}"/>
                  </a:ext>
                </a:extLst>
              </p:cNvPr>
              <p:cNvSpPr/>
              <p:nvPr userDrawn="1"/>
            </p:nvSpPr>
            <p:spPr>
              <a:xfrm>
                <a:off x="6096000" y="1176814"/>
                <a:ext cx="4116413" cy="4115011"/>
              </a:xfrm>
              <a:prstGeom prst="ellipse">
                <a:avLst/>
              </a:prstGeom>
              <a:noFill/>
              <a:ln w="9525" cap="rnd">
                <a:solidFill>
                  <a:srgbClr val="D2E282"/>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venirNext LT Pro Regular" panose="020B0504020202020204" pitchFamily="34" charset="77"/>
                </a:endParaRPr>
              </a:p>
            </p:txBody>
          </p:sp>
        </p:grpSp>
      </p:grpSp>
      <p:cxnSp>
        <p:nvCxnSpPr>
          <p:cNvPr id="11" name="Google Shape;44;p6">
            <a:extLst>
              <a:ext uri="{FF2B5EF4-FFF2-40B4-BE49-F238E27FC236}">
                <a16:creationId xmlns:a16="http://schemas.microsoft.com/office/drawing/2014/main" id="{0D6AFC07-9539-C546-B232-E06E533ACE98}"/>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16" name="Picture Placeholder 21"/>
          <p:cNvSpPr>
            <a:spLocks noGrp="1"/>
          </p:cNvSpPr>
          <p:nvPr>
            <p:ph type="pic" sz="quarter" idx="12"/>
          </p:nvPr>
        </p:nvSpPr>
        <p:spPr>
          <a:xfrm>
            <a:off x="7551148" y="2317054"/>
            <a:ext cx="3613225" cy="3251903"/>
          </a:xfrm>
          <a:custGeom>
            <a:avLst/>
            <a:gdLst>
              <a:gd name="connsiteX0" fmla="*/ 1382865 w 2765730"/>
              <a:gd name="connsiteY0" fmla="*/ 0 h 2765730"/>
              <a:gd name="connsiteX1" fmla="*/ 2765730 w 2765730"/>
              <a:gd name="connsiteY1" fmla="*/ 1382865 h 2765730"/>
              <a:gd name="connsiteX2" fmla="*/ 1382865 w 2765730"/>
              <a:gd name="connsiteY2" fmla="*/ 2765730 h 2765730"/>
              <a:gd name="connsiteX3" fmla="*/ 0 w 2765730"/>
              <a:gd name="connsiteY3" fmla="*/ 1382865 h 2765730"/>
              <a:gd name="connsiteX4" fmla="*/ 1382865 w 2765730"/>
              <a:gd name="connsiteY4" fmla="*/ 0 h 2765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730" h="2765730">
                <a:moveTo>
                  <a:pt x="1382865" y="0"/>
                </a:moveTo>
                <a:cubicBezTo>
                  <a:pt x="2146600" y="0"/>
                  <a:pt x="2765730" y="619130"/>
                  <a:pt x="2765730" y="1382865"/>
                </a:cubicBezTo>
                <a:cubicBezTo>
                  <a:pt x="2765730" y="2146600"/>
                  <a:pt x="2146600" y="2765730"/>
                  <a:pt x="1382865" y="2765730"/>
                </a:cubicBezTo>
                <a:cubicBezTo>
                  <a:pt x="619130" y="2765730"/>
                  <a:pt x="0" y="2146600"/>
                  <a:pt x="0" y="1382865"/>
                </a:cubicBezTo>
                <a:cubicBezTo>
                  <a:pt x="0" y="619130"/>
                  <a:pt x="619130" y="0"/>
                  <a:pt x="1382865" y="0"/>
                </a:cubicBezTo>
                <a:close/>
              </a:path>
            </a:pathLst>
          </a:custGeom>
        </p:spPr>
        <p:txBody>
          <a:bodyPr wrap="square">
            <a:noAutofit/>
          </a:bodyPr>
          <a:lstStyle>
            <a:lvl1pPr>
              <a:defRPr b="0" i="0">
                <a:latin typeface="+mn-lt"/>
              </a:defRPr>
            </a:lvl1pPr>
          </a:lstStyle>
          <a:p>
            <a:pPr lvl="0"/>
            <a:r>
              <a:rPr lang="en-US" noProof="0"/>
              <a:t>Click icon to add picture</a:t>
            </a:r>
            <a:endParaRPr lang="en-US" noProof="0" dirty="0"/>
          </a:p>
        </p:txBody>
      </p:sp>
      <p:cxnSp>
        <p:nvCxnSpPr>
          <p:cNvPr id="12" name="Google Shape;44;p6">
            <a:extLst>
              <a:ext uri="{FF2B5EF4-FFF2-40B4-BE49-F238E27FC236}">
                <a16:creationId xmlns:a16="http://schemas.microsoft.com/office/drawing/2014/main" id="{FCC57063-1A03-5240-B846-DC9BE4272E6D}"/>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13" name="Google Shape;30;p4">
            <a:extLst>
              <a:ext uri="{FF2B5EF4-FFF2-40B4-BE49-F238E27FC236}">
                <a16:creationId xmlns:a16="http://schemas.microsoft.com/office/drawing/2014/main" id="{BB8531BB-09DF-3C4B-82C7-3718D1ACC0A3}"/>
              </a:ext>
            </a:extLst>
          </p:cNvPr>
          <p:cNvSpPr txBox="1">
            <a:spLocks noGrp="1"/>
          </p:cNvSpPr>
          <p:nvPr>
            <p:ph type="title"/>
          </p:nvPr>
        </p:nvSpPr>
        <p:spPr>
          <a:xfrm>
            <a:off x="813783" y="603507"/>
            <a:ext cx="7081600"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14" name="Text Placeholder 3">
            <a:extLst>
              <a:ext uri="{FF2B5EF4-FFF2-40B4-BE49-F238E27FC236}">
                <a16:creationId xmlns:a16="http://schemas.microsoft.com/office/drawing/2014/main" id="{CC2A4E21-3EB9-0444-B05B-A023EBFA3009}"/>
              </a:ext>
            </a:extLst>
          </p:cNvPr>
          <p:cNvSpPr>
            <a:spLocks noGrp="1"/>
          </p:cNvSpPr>
          <p:nvPr>
            <p:ph type="body" sz="quarter" idx="10"/>
          </p:nvPr>
        </p:nvSpPr>
        <p:spPr>
          <a:xfrm>
            <a:off x="813781" y="1323335"/>
            <a:ext cx="7080251"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5" name="Text Placeholder 2">
            <a:extLst>
              <a:ext uri="{FF2B5EF4-FFF2-40B4-BE49-F238E27FC236}">
                <a16:creationId xmlns:a16="http://schemas.microsoft.com/office/drawing/2014/main" id="{98B5694D-13FE-4F4B-85E7-A81E8A100865}"/>
              </a:ext>
            </a:extLst>
          </p:cNvPr>
          <p:cNvSpPr>
            <a:spLocks noGrp="1"/>
          </p:cNvSpPr>
          <p:nvPr>
            <p:ph type="body" sz="quarter" idx="11"/>
          </p:nvPr>
        </p:nvSpPr>
        <p:spPr>
          <a:xfrm>
            <a:off x="813781" y="1769224"/>
            <a:ext cx="7080251"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94758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684D94-625A-4EEA-AB58-6D4875FA6D15}"/>
              </a:ext>
            </a:extLst>
          </p:cNvPr>
          <p:cNvGraphicFramePr>
            <a:graphicFrameLocks noChangeAspect="1"/>
          </p:cNvGraphicFramePr>
          <p:nvPr userDrawn="1">
            <p:custDataLst>
              <p:tags r:id="rId1"/>
            </p:custDataLst>
            <p:extLst>
              <p:ext uri="{D42A27DB-BD31-4B8C-83A1-F6EECF244321}">
                <p14:modId xmlns:p14="http://schemas.microsoft.com/office/powerpoint/2010/main" val="2651262831"/>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9E684D94-625A-4EEA-AB58-6D4875FA6D15}"/>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sp>
        <p:nvSpPr>
          <p:cNvPr id="4" name="Google Shape;30;p4">
            <a:extLst>
              <a:ext uri="{FF2B5EF4-FFF2-40B4-BE49-F238E27FC236}">
                <a16:creationId xmlns:a16="http://schemas.microsoft.com/office/drawing/2014/main" id="{B00CD058-E979-3847-951D-E572702AE66A}"/>
              </a:ext>
            </a:extLst>
          </p:cNvPr>
          <p:cNvSpPr txBox="1">
            <a:spLocks noGrp="1"/>
          </p:cNvSpPr>
          <p:nvPr>
            <p:ph type="title"/>
          </p:nvPr>
        </p:nvSpPr>
        <p:spPr>
          <a:xfrm>
            <a:off x="813782" y="603507"/>
            <a:ext cx="9192065"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Tree>
    <p:extLst>
      <p:ext uri="{BB962C8B-B14F-4D97-AF65-F5344CB8AC3E}">
        <p14:creationId xmlns:p14="http://schemas.microsoft.com/office/powerpoint/2010/main" val="33380594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677CBB-AFEE-4201-9C7D-A4919C2D1D7A}"/>
              </a:ext>
            </a:extLst>
          </p:cNvPr>
          <p:cNvGraphicFramePr>
            <a:graphicFrameLocks noChangeAspect="1"/>
          </p:cNvGraphicFramePr>
          <p:nvPr userDrawn="1">
            <p:custDataLst>
              <p:tags r:id="rId1"/>
            </p:custDataLst>
            <p:extLst>
              <p:ext uri="{D42A27DB-BD31-4B8C-83A1-F6EECF244321}">
                <p14:modId xmlns:p14="http://schemas.microsoft.com/office/powerpoint/2010/main" val="757849376"/>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A2677CBB-AFEE-4201-9C7D-A4919C2D1D7A}"/>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89A71863-70A7-C542-BA48-7F7FF9B67E7B}"/>
              </a:ext>
            </a:extLst>
          </p:cNvPr>
          <p:cNvSpPr/>
          <p:nvPr userDrawn="1"/>
        </p:nvSpPr>
        <p:spPr>
          <a:xfrm>
            <a:off x="0" y="3587116"/>
            <a:ext cx="12192000" cy="2846070"/>
          </a:xfrm>
          <a:prstGeom prst="rect">
            <a:avLst/>
          </a:prstGeom>
          <a:solidFill>
            <a:srgbClr val="F5F5F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4">
              <a:latin typeface="AvenirNext LT Pro Regular" panose="020B0504020202020204" pitchFamily="34" charset="77"/>
            </a:endParaRPr>
          </a:p>
        </p:txBody>
      </p:sp>
      <p:cxnSp>
        <p:nvCxnSpPr>
          <p:cNvPr id="5" name="Google Shape;39;p5">
            <a:extLst>
              <a:ext uri="{FF2B5EF4-FFF2-40B4-BE49-F238E27FC236}">
                <a16:creationId xmlns:a16="http://schemas.microsoft.com/office/drawing/2014/main" id="{CB4298F0-E17B-4B41-99DD-E1FDF216E936}"/>
              </a:ext>
            </a:extLst>
          </p:cNvPr>
          <p:cNvCxnSpPr>
            <a:cxnSpLocks noChangeShapeType="1"/>
          </p:cNvCxnSpPr>
          <p:nvPr userDrawn="1"/>
        </p:nvCxnSpPr>
        <p:spPr bwMode="auto">
          <a:xfrm>
            <a:off x="1384301" y="5027296"/>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8" name="Google Shape;37;p5"/>
          <p:cNvSpPr txBox="1">
            <a:spLocks noGrp="1"/>
          </p:cNvSpPr>
          <p:nvPr>
            <p:ph type="title"/>
          </p:nvPr>
        </p:nvSpPr>
        <p:spPr>
          <a:xfrm>
            <a:off x="1275034" y="3931261"/>
            <a:ext cx="10094279" cy="996787"/>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2400"/>
              <a:buNone/>
              <a:defRPr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10" name="Text Placeholder 3"/>
          <p:cNvSpPr>
            <a:spLocks noGrp="1"/>
          </p:cNvSpPr>
          <p:nvPr>
            <p:ph type="body" sz="quarter" idx="10"/>
          </p:nvPr>
        </p:nvSpPr>
        <p:spPr>
          <a:xfrm>
            <a:off x="1275034" y="5343959"/>
            <a:ext cx="3483087" cy="619864"/>
          </a:xfrm>
          <a:prstGeom prst="rect">
            <a:avLst/>
          </a:prstGeom>
        </p:spPr>
        <p:txBody>
          <a:bodyPr/>
          <a:lstStyle>
            <a:lvl1pPr marL="36000" indent="0">
              <a:buNone/>
              <a:defRPr sz="1400" b="1" i="0">
                <a:solidFill>
                  <a:schemeClr val="bg2">
                    <a:lumMod val="10000"/>
                  </a:schemeClr>
                </a:solidFill>
                <a:latin typeface="+mj-lt"/>
              </a:defRPr>
            </a:lvl1pPr>
          </a:lstStyle>
          <a:p>
            <a:pPr lvl="0"/>
            <a:r>
              <a:rPr lang="en-US"/>
              <a:t>Click to edit Master text styles</a:t>
            </a:r>
          </a:p>
        </p:txBody>
      </p:sp>
    </p:spTree>
    <p:extLst>
      <p:ext uri="{BB962C8B-B14F-4D97-AF65-F5344CB8AC3E}">
        <p14:creationId xmlns:p14="http://schemas.microsoft.com/office/powerpoint/2010/main" val="4099322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wo Content">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8526DD-4B37-428F-97E5-74F8263EB072}"/>
              </a:ext>
            </a:extLst>
          </p:cNvPr>
          <p:cNvGraphicFramePr>
            <a:graphicFrameLocks noChangeAspect="1"/>
          </p:cNvGraphicFramePr>
          <p:nvPr userDrawn="1">
            <p:custDataLst>
              <p:tags r:id="rId1"/>
            </p:custDataLst>
            <p:extLst>
              <p:ext uri="{D42A27DB-BD31-4B8C-83A1-F6EECF244321}">
                <p14:modId xmlns:p14="http://schemas.microsoft.com/office/powerpoint/2010/main" val="1687559902"/>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2F8526DD-4B37-428F-97E5-74F8263EB072}"/>
                          </a:ext>
                        </a:extLst>
                      </p:cNvPr>
                      <p:cNvPicPr/>
                      <p:nvPr/>
                    </p:nvPicPr>
                    <p:blipFill>
                      <a:blip r:embed="rId5"/>
                      <a:stretch>
                        <a:fillRect/>
                      </a:stretch>
                    </p:blipFill>
                    <p:spPr>
                      <a:xfrm>
                        <a:off x="2118" y="1905"/>
                        <a:ext cx="2117" cy="1906"/>
                      </a:xfrm>
                      <a:prstGeom prst="rect">
                        <a:avLst/>
                      </a:prstGeom>
                    </p:spPr>
                  </p:pic>
                </p:oleObj>
              </mc:Fallback>
            </mc:AlternateContent>
          </a:graphicData>
        </a:graphic>
      </p:graphicFrame>
      <p:sp>
        <p:nvSpPr>
          <p:cNvPr id="5" name="Graphic 2">
            <a:extLst>
              <a:ext uri="{FF2B5EF4-FFF2-40B4-BE49-F238E27FC236}">
                <a16:creationId xmlns:a16="http://schemas.microsoft.com/office/drawing/2014/main" id="{57DADCFD-EC2F-A048-9FB0-2AC04A8AFAC6}"/>
              </a:ext>
            </a:extLst>
          </p:cNvPr>
          <p:cNvSpPr/>
          <p:nvPr userDrawn="1"/>
        </p:nvSpPr>
        <p:spPr>
          <a:xfrm>
            <a:off x="6460067" y="0"/>
            <a:ext cx="5731933" cy="4756786"/>
          </a:xfrm>
          <a:custGeom>
            <a:avLst/>
            <a:gdLst>
              <a:gd name="connsiteX0" fmla="*/ 7445899 w 7445898"/>
              <a:gd name="connsiteY0" fmla="*/ 0 h 6858311"/>
              <a:gd name="connsiteX1" fmla="*/ 814055 w 7445898"/>
              <a:gd name="connsiteY1" fmla="*/ 0 h 6858311"/>
              <a:gd name="connsiteX2" fmla="*/ 691476 w 7445898"/>
              <a:gd name="connsiteY2" fmla="*/ 70046 h 6858311"/>
              <a:gd name="connsiteX3" fmla="*/ 69433 w 7445898"/>
              <a:gd name="connsiteY3" fmla="*/ 678643 h 6858311"/>
              <a:gd name="connsiteX4" fmla="*/ 14093 w 7445898"/>
              <a:gd name="connsiteY4" fmla="*/ 1220462 h 6858311"/>
              <a:gd name="connsiteX5" fmla="*/ 1196590 w 7445898"/>
              <a:gd name="connsiteY5" fmla="*/ 2436198 h 6858311"/>
              <a:gd name="connsiteX6" fmla="*/ 1916738 w 7445898"/>
              <a:gd name="connsiteY6" fmla="*/ 2482043 h 6858311"/>
              <a:gd name="connsiteX7" fmla="*/ 3150397 w 7445898"/>
              <a:gd name="connsiteY7" fmla="*/ 3091829 h 6858311"/>
              <a:gd name="connsiteX8" fmla="*/ 4012367 w 7445898"/>
              <a:gd name="connsiteY8" fmla="*/ 4723248 h 6858311"/>
              <a:gd name="connsiteX9" fmla="*/ 5068468 w 7445898"/>
              <a:gd name="connsiteY9" fmla="*/ 6225771 h 6858311"/>
              <a:gd name="connsiteX10" fmla="*/ 6762342 w 7445898"/>
              <a:gd name="connsiteY10" fmla="*/ 6855353 h 6858311"/>
              <a:gd name="connsiteX11" fmla="*/ 7445899 w 7445898"/>
              <a:gd name="connsiteY11" fmla="*/ 6675706 h 68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45898" h="6858311">
                <a:moveTo>
                  <a:pt x="7445899" y="0"/>
                </a:moveTo>
                <a:lnTo>
                  <a:pt x="814055" y="0"/>
                </a:lnTo>
                <a:cubicBezTo>
                  <a:pt x="772956" y="22780"/>
                  <a:pt x="732096" y="46129"/>
                  <a:pt x="691476" y="70046"/>
                </a:cubicBezTo>
                <a:cubicBezTo>
                  <a:pt x="437089" y="220054"/>
                  <a:pt x="183450" y="406335"/>
                  <a:pt x="69433" y="678643"/>
                </a:cubicBezTo>
                <a:cubicBezTo>
                  <a:pt x="2750" y="851036"/>
                  <a:pt x="-16363" y="1038163"/>
                  <a:pt x="14093" y="1220462"/>
                </a:cubicBezTo>
                <a:cubicBezTo>
                  <a:pt x="99251" y="1818761"/>
                  <a:pt x="600495" y="2334263"/>
                  <a:pt x="1196590" y="2436198"/>
                </a:cubicBezTo>
                <a:cubicBezTo>
                  <a:pt x="1433845" y="2476815"/>
                  <a:pt x="1677297" y="2457475"/>
                  <a:pt x="1916738" y="2482043"/>
                </a:cubicBezTo>
                <a:cubicBezTo>
                  <a:pt x="2387473" y="2532139"/>
                  <a:pt x="2824896" y="2748353"/>
                  <a:pt x="3150397" y="3091829"/>
                </a:cubicBezTo>
                <a:cubicBezTo>
                  <a:pt x="3574268" y="3542460"/>
                  <a:pt x="3759732" y="4158656"/>
                  <a:pt x="4012367" y="4723248"/>
                </a:cubicBezTo>
                <a:cubicBezTo>
                  <a:pt x="4264419" y="5286494"/>
                  <a:pt x="4600948" y="5822741"/>
                  <a:pt x="5068468" y="6225771"/>
                </a:cubicBezTo>
                <a:cubicBezTo>
                  <a:pt x="5535988" y="6628800"/>
                  <a:pt x="6145756" y="6889261"/>
                  <a:pt x="6762342" y="6855353"/>
                </a:cubicBezTo>
                <a:cubicBezTo>
                  <a:pt x="7023697" y="6841023"/>
                  <a:pt x="7248596" y="6776961"/>
                  <a:pt x="7445899" y="6675706"/>
                </a:cubicBezTo>
                <a:close/>
              </a:path>
            </a:pathLst>
          </a:custGeom>
          <a:gradFill>
            <a:gsLst>
              <a:gs pos="0">
                <a:srgbClr val="9EC9DF">
                  <a:alpha val="0"/>
                </a:srgbClr>
              </a:gs>
              <a:gs pos="100000">
                <a:srgbClr val="1F6898"/>
              </a:gs>
            </a:gsLst>
            <a:lin ang="0" scaled="0"/>
          </a:gradFill>
          <a:ln w="7476" cap="flat">
            <a:noFill/>
            <a:prstDash val="solid"/>
            <a:miter/>
          </a:ln>
        </p:spPr>
        <p:txBody>
          <a:bodyPr anchor="ctr"/>
          <a:lstStyle/>
          <a:p>
            <a:pPr eaLnBrk="1" fontAlgn="auto" hangingPunct="1">
              <a:spcBef>
                <a:spcPts val="0"/>
              </a:spcBef>
              <a:spcAft>
                <a:spcPts val="0"/>
              </a:spcAft>
              <a:defRPr/>
            </a:pPr>
            <a:endParaRPr lang="en-US" sz="1404">
              <a:latin typeface="Avenir Next" panose="020B0503020202020204" pitchFamily="34" charset="0"/>
            </a:endParaRPr>
          </a:p>
        </p:txBody>
      </p:sp>
      <p:sp>
        <p:nvSpPr>
          <p:cNvPr id="6" name="Graphic 2">
            <a:extLst>
              <a:ext uri="{FF2B5EF4-FFF2-40B4-BE49-F238E27FC236}">
                <a16:creationId xmlns:a16="http://schemas.microsoft.com/office/drawing/2014/main" id="{0A80AEC3-FA58-B041-B80C-F27287186F43}"/>
              </a:ext>
            </a:extLst>
          </p:cNvPr>
          <p:cNvSpPr/>
          <p:nvPr userDrawn="1"/>
        </p:nvSpPr>
        <p:spPr>
          <a:xfrm rot="10800000">
            <a:off x="0" y="3947160"/>
            <a:ext cx="3166533" cy="2910840"/>
          </a:xfrm>
          <a:custGeom>
            <a:avLst/>
            <a:gdLst>
              <a:gd name="connsiteX0" fmla="*/ 7445899 w 7445898"/>
              <a:gd name="connsiteY0" fmla="*/ 0 h 6858311"/>
              <a:gd name="connsiteX1" fmla="*/ 814055 w 7445898"/>
              <a:gd name="connsiteY1" fmla="*/ 0 h 6858311"/>
              <a:gd name="connsiteX2" fmla="*/ 691476 w 7445898"/>
              <a:gd name="connsiteY2" fmla="*/ 70046 h 6858311"/>
              <a:gd name="connsiteX3" fmla="*/ 69433 w 7445898"/>
              <a:gd name="connsiteY3" fmla="*/ 678643 h 6858311"/>
              <a:gd name="connsiteX4" fmla="*/ 14093 w 7445898"/>
              <a:gd name="connsiteY4" fmla="*/ 1220462 h 6858311"/>
              <a:gd name="connsiteX5" fmla="*/ 1196590 w 7445898"/>
              <a:gd name="connsiteY5" fmla="*/ 2436198 h 6858311"/>
              <a:gd name="connsiteX6" fmla="*/ 1916738 w 7445898"/>
              <a:gd name="connsiteY6" fmla="*/ 2482043 h 6858311"/>
              <a:gd name="connsiteX7" fmla="*/ 3150397 w 7445898"/>
              <a:gd name="connsiteY7" fmla="*/ 3091829 h 6858311"/>
              <a:gd name="connsiteX8" fmla="*/ 4012367 w 7445898"/>
              <a:gd name="connsiteY8" fmla="*/ 4723248 h 6858311"/>
              <a:gd name="connsiteX9" fmla="*/ 5068468 w 7445898"/>
              <a:gd name="connsiteY9" fmla="*/ 6225771 h 6858311"/>
              <a:gd name="connsiteX10" fmla="*/ 6762342 w 7445898"/>
              <a:gd name="connsiteY10" fmla="*/ 6855353 h 6858311"/>
              <a:gd name="connsiteX11" fmla="*/ 7445899 w 7445898"/>
              <a:gd name="connsiteY11" fmla="*/ 6675706 h 68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45898" h="6858311">
                <a:moveTo>
                  <a:pt x="7445899" y="0"/>
                </a:moveTo>
                <a:lnTo>
                  <a:pt x="814055" y="0"/>
                </a:lnTo>
                <a:cubicBezTo>
                  <a:pt x="772956" y="22780"/>
                  <a:pt x="732096" y="46129"/>
                  <a:pt x="691476" y="70046"/>
                </a:cubicBezTo>
                <a:cubicBezTo>
                  <a:pt x="437089" y="220054"/>
                  <a:pt x="183450" y="406335"/>
                  <a:pt x="69433" y="678643"/>
                </a:cubicBezTo>
                <a:cubicBezTo>
                  <a:pt x="2750" y="851036"/>
                  <a:pt x="-16363" y="1038163"/>
                  <a:pt x="14093" y="1220462"/>
                </a:cubicBezTo>
                <a:cubicBezTo>
                  <a:pt x="99251" y="1818761"/>
                  <a:pt x="600495" y="2334263"/>
                  <a:pt x="1196590" y="2436198"/>
                </a:cubicBezTo>
                <a:cubicBezTo>
                  <a:pt x="1433845" y="2476815"/>
                  <a:pt x="1677297" y="2457475"/>
                  <a:pt x="1916738" y="2482043"/>
                </a:cubicBezTo>
                <a:cubicBezTo>
                  <a:pt x="2387473" y="2532139"/>
                  <a:pt x="2824896" y="2748353"/>
                  <a:pt x="3150397" y="3091829"/>
                </a:cubicBezTo>
                <a:cubicBezTo>
                  <a:pt x="3574268" y="3542460"/>
                  <a:pt x="3759732" y="4158656"/>
                  <a:pt x="4012367" y="4723248"/>
                </a:cubicBezTo>
                <a:cubicBezTo>
                  <a:pt x="4264419" y="5286494"/>
                  <a:pt x="4600948" y="5822741"/>
                  <a:pt x="5068468" y="6225771"/>
                </a:cubicBezTo>
                <a:cubicBezTo>
                  <a:pt x="5535988" y="6628800"/>
                  <a:pt x="6145756" y="6889261"/>
                  <a:pt x="6762342" y="6855353"/>
                </a:cubicBezTo>
                <a:cubicBezTo>
                  <a:pt x="7023697" y="6841023"/>
                  <a:pt x="7248596" y="6776961"/>
                  <a:pt x="7445899" y="6675706"/>
                </a:cubicBezTo>
                <a:close/>
              </a:path>
            </a:pathLst>
          </a:custGeom>
          <a:gradFill flip="none" rotWithShape="1">
            <a:gsLst>
              <a:gs pos="0">
                <a:srgbClr val="9EC9DF">
                  <a:alpha val="0"/>
                </a:srgbClr>
              </a:gs>
              <a:gs pos="100000">
                <a:srgbClr val="1F6898"/>
              </a:gs>
            </a:gsLst>
            <a:lin ang="5400000" scaled="1"/>
            <a:tileRect/>
          </a:gradFill>
          <a:ln w="7476" cap="flat">
            <a:noFill/>
            <a:prstDash val="solid"/>
            <a:miter/>
          </a:ln>
        </p:spPr>
        <p:txBody>
          <a:bodyPr anchor="ctr"/>
          <a:lstStyle/>
          <a:p>
            <a:pPr eaLnBrk="1" fontAlgn="auto" hangingPunct="1">
              <a:spcBef>
                <a:spcPts val="0"/>
              </a:spcBef>
              <a:spcAft>
                <a:spcPts val="0"/>
              </a:spcAft>
              <a:defRPr/>
            </a:pPr>
            <a:endParaRPr lang="en-US" sz="1404">
              <a:latin typeface="Avenir Next" panose="020B0503020202020204" pitchFamily="34" charset="0"/>
            </a:endParaRPr>
          </a:p>
        </p:txBody>
      </p:sp>
      <p:sp>
        <p:nvSpPr>
          <p:cNvPr id="7" name="Rectangle 6">
            <a:extLst>
              <a:ext uri="{FF2B5EF4-FFF2-40B4-BE49-F238E27FC236}">
                <a16:creationId xmlns:a16="http://schemas.microsoft.com/office/drawing/2014/main" id="{631717B2-FF85-A548-A43C-EBACFFCF3CF1}"/>
              </a:ext>
            </a:extLst>
          </p:cNvPr>
          <p:cNvSpPr/>
          <p:nvPr userDrawn="1"/>
        </p:nvSpPr>
        <p:spPr>
          <a:xfrm>
            <a:off x="0" y="0"/>
            <a:ext cx="12192000" cy="6858000"/>
          </a:xfrm>
          <a:prstGeom prst="rect">
            <a:avLst/>
          </a:prstGeom>
          <a:gradFill>
            <a:gsLst>
              <a:gs pos="79000">
                <a:srgbClr val="0F9CD8">
                  <a:alpha val="40000"/>
                </a:srgbClr>
              </a:gs>
              <a:gs pos="43000">
                <a:srgbClr val="1F6898">
                  <a:alpha val="6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4">
              <a:latin typeface="Avenir Next" panose="020B0503020202020204" pitchFamily="34" charset="0"/>
            </a:endParaRPr>
          </a:p>
        </p:txBody>
      </p:sp>
      <p:sp>
        <p:nvSpPr>
          <p:cNvPr id="11" name="Google Shape;124;p20"/>
          <p:cNvSpPr txBox="1">
            <a:spLocks noGrp="1"/>
          </p:cNvSpPr>
          <p:nvPr>
            <p:ph type="title"/>
          </p:nvPr>
        </p:nvSpPr>
        <p:spPr>
          <a:xfrm>
            <a:off x="3362433" y="1932400"/>
            <a:ext cx="5467200" cy="1976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4800" b="1" i="0">
                <a:solidFill>
                  <a:schemeClr val="bg1"/>
                </a:solidFill>
                <a:latin typeface="+mj-lt"/>
              </a:defRPr>
            </a:lvl1pPr>
            <a:lvl2pPr lvl="1" algn="r" rtl="0">
              <a:spcBef>
                <a:spcPts val="0"/>
              </a:spcBef>
              <a:spcAft>
                <a:spcPts val="0"/>
              </a:spcAft>
              <a:buSzPts val="4200"/>
              <a:buNone/>
              <a:defRPr sz="5600"/>
            </a:lvl2pPr>
            <a:lvl3pPr lvl="2" algn="r" rtl="0">
              <a:spcBef>
                <a:spcPts val="0"/>
              </a:spcBef>
              <a:spcAft>
                <a:spcPts val="0"/>
              </a:spcAft>
              <a:buSzPts val="4200"/>
              <a:buNone/>
              <a:defRPr sz="5600"/>
            </a:lvl3pPr>
            <a:lvl4pPr lvl="3" algn="r" rtl="0">
              <a:spcBef>
                <a:spcPts val="0"/>
              </a:spcBef>
              <a:spcAft>
                <a:spcPts val="0"/>
              </a:spcAft>
              <a:buSzPts val="4200"/>
              <a:buNone/>
              <a:defRPr sz="5600"/>
            </a:lvl4pPr>
            <a:lvl5pPr lvl="4" algn="r" rtl="0">
              <a:spcBef>
                <a:spcPts val="0"/>
              </a:spcBef>
              <a:spcAft>
                <a:spcPts val="0"/>
              </a:spcAft>
              <a:buSzPts val="4200"/>
              <a:buNone/>
              <a:defRPr sz="5600"/>
            </a:lvl5pPr>
            <a:lvl6pPr lvl="5" algn="r" rtl="0">
              <a:spcBef>
                <a:spcPts val="0"/>
              </a:spcBef>
              <a:spcAft>
                <a:spcPts val="0"/>
              </a:spcAft>
              <a:buSzPts val="4200"/>
              <a:buNone/>
              <a:defRPr sz="5600"/>
            </a:lvl6pPr>
            <a:lvl7pPr lvl="6" algn="r" rtl="0">
              <a:spcBef>
                <a:spcPts val="0"/>
              </a:spcBef>
              <a:spcAft>
                <a:spcPts val="0"/>
              </a:spcAft>
              <a:buSzPts val="4200"/>
              <a:buNone/>
              <a:defRPr sz="5600"/>
            </a:lvl7pPr>
            <a:lvl8pPr lvl="7" algn="r" rtl="0">
              <a:spcBef>
                <a:spcPts val="0"/>
              </a:spcBef>
              <a:spcAft>
                <a:spcPts val="0"/>
              </a:spcAft>
              <a:buSzPts val="4200"/>
              <a:buNone/>
              <a:defRPr sz="5600"/>
            </a:lvl8pPr>
            <a:lvl9pPr lvl="8" algn="r" rtl="0">
              <a:spcBef>
                <a:spcPts val="0"/>
              </a:spcBef>
              <a:spcAft>
                <a:spcPts val="0"/>
              </a:spcAft>
              <a:buSzPts val="4200"/>
              <a:buNone/>
              <a:defRPr sz="5600"/>
            </a:lvl9pPr>
          </a:lstStyle>
          <a:p>
            <a:endParaRPr dirty="0"/>
          </a:p>
        </p:txBody>
      </p:sp>
      <p:sp>
        <p:nvSpPr>
          <p:cNvPr id="12" name="Google Shape;125;p20"/>
          <p:cNvSpPr txBox="1">
            <a:spLocks noGrp="1"/>
          </p:cNvSpPr>
          <p:nvPr>
            <p:ph type="subTitle" idx="1"/>
          </p:nvPr>
        </p:nvSpPr>
        <p:spPr>
          <a:xfrm>
            <a:off x="3362500" y="3908802"/>
            <a:ext cx="5467133" cy="101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867" b="0" i="0">
                <a:solidFill>
                  <a:schemeClr val="lt1"/>
                </a:solidFill>
                <a:latin typeface="+mn-lt"/>
              </a:defRPr>
            </a:lvl1pPr>
            <a:lvl2pPr lvl="1" rtl="0">
              <a:lnSpc>
                <a:spcPct val="100000"/>
              </a:lnSpc>
              <a:spcBef>
                <a:spcPts val="0"/>
              </a:spcBef>
              <a:spcAft>
                <a:spcPts val="0"/>
              </a:spcAft>
              <a:buSzPts val="2100"/>
              <a:buNone/>
              <a:defRPr sz="2800"/>
            </a:lvl2pPr>
            <a:lvl3pPr lvl="2" rtl="0">
              <a:lnSpc>
                <a:spcPct val="100000"/>
              </a:lnSpc>
              <a:spcBef>
                <a:spcPts val="0"/>
              </a:spcBef>
              <a:spcAft>
                <a:spcPts val="0"/>
              </a:spcAft>
              <a:buSzPts val="2100"/>
              <a:buNone/>
              <a:defRPr sz="2800"/>
            </a:lvl3pPr>
            <a:lvl4pPr lvl="3" rtl="0">
              <a:lnSpc>
                <a:spcPct val="100000"/>
              </a:lnSpc>
              <a:spcBef>
                <a:spcPts val="0"/>
              </a:spcBef>
              <a:spcAft>
                <a:spcPts val="0"/>
              </a:spcAft>
              <a:buSzPts val="2100"/>
              <a:buNone/>
              <a:defRPr sz="2800"/>
            </a:lvl4pPr>
            <a:lvl5pPr lvl="4" rtl="0">
              <a:lnSpc>
                <a:spcPct val="100000"/>
              </a:lnSpc>
              <a:spcBef>
                <a:spcPts val="0"/>
              </a:spcBef>
              <a:spcAft>
                <a:spcPts val="0"/>
              </a:spcAft>
              <a:buSzPts val="2100"/>
              <a:buNone/>
              <a:defRPr sz="2800"/>
            </a:lvl5pPr>
            <a:lvl6pPr lvl="5" rtl="0">
              <a:lnSpc>
                <a:spcPct val="100000"/>
              </a:lnSpc>
              <a:spcBef>
                <a:spcPts val="0"/>
              </a:spcBef>
              <a:spcAft>
                <a:spcPts val="0"/>
              </a:spcAft>
              <a:buSzPts val="2100"/>
              <a:buNone/>
              <a:defRPr sz="2800"/>
            </a:lvl6pPr>
            <a:lvl7pPr lvl="6" rtl="0">
              <a:lnSpc>
                <a:spcPct val="100000"/>
              </a:lnSpc>
              <a:spcBef>
                <a:spcPts val="0"/>
              </a:spcBef>
              <a:spcAft>
                <a:spcPts val="0"/>
              </a:spcAft>
              <a:buSzPts val="2100"/>
              <a:buNone/>
              <a:defRPr sz="2800"/>
            </a:lvl7pPr>
            <a:lvl8pPr lvl="7" rtl="0">
              <a:lnSpc>
                <a:spcPct val="100000"/>
              </a:lnSpc>
              <a:spcBef>
                <a:spcPts val="0"/>
              </a:spcBef>
              <a:spcAft>
                <a:spcPts val="0"/>
              </a:spcAft>
              <a:buSzPts val="2100"/>
              <a:buNone/>
              <a:defRPr sz="2800"/>
            </a:lvl8pPr>
            <a:lvl9pPr lvl="8" rtl="0">
              <a:lnSpc>
                <a:spcPct val="100000"/>
              </a:lnSpc>
              <a:spcBef>
                <a:spcPts val="0"/>
              </a:spcBef>
              <a:spcAft>
                <a:spcPts val="0"/>
              </a:spcAft>
              <a:buSzPts val="2100"/>
              <a:buNone/>
              <a:defRPr sz="2800"/>
            </a:lvl9pPr>
          </a:lstStyle>
          <a:p>
            <a:endParaRPr dirty="0"/>
          </a:p>
        </p:txBody>
      </p:sp>
      <p:sp>
        <p:nvSpPr>
          <p:cNvPr id="13" name="Text Placeholder 11"/>
          <p:cNvSpPr>
            <a:spLocks noGrp="1"/>
          </p:cNvSpPr>
          <p:nvPr>
            <p:ph type="body" sz="quarter" idx="10"/>
          </p:nvPr>
        </p:nvSpPr>
        <p:spPr>
          <a:xfrm>
            <a:off x="3354060" y="1483505"/>
            <a:ext cx="5480713" cy="833438"/>
          </a:xfrm>
          <a:prstGeom prst="rect">
            <a:avLst/>
          </a:prstGeom>
        </p:spPr>
        <p:txBody>
          <a:bodyPr anchor="b"/>
          <a:lstStyle>
            <a:lvl1pPr marL="0" indent="0" algn="ctr">
              <a:spcBef>
                <a:spcPts val="0"/>
              </a:spcBef>
              <a:buNone/>
              <a:defRPr sz="1440" b="1" i="0" cap="all" spc="180" baseline="0">
                <a:solidFill>
                  <a:srgbClr val="D2E7F6"/>
                </a:solidFill>
                <a:latin typeface="+mj-lt"/>
              </a:defRPr>
            </a:lvl1pPr>
          </a:lstStyle>
          <a:p>
            <a:pPr lvl="0"/>
            <a:r>
              <a:rPr lang="en-GB" dirty="0"/>
              <a:t>Click to edit Master text</a:t>
            </a:r>
            <a:endParaRPr lang="en-US" dirty="0"/>
          </a:p>
        </p:txBody>
      </p:sp>
      <p:grpSp>
        <p:nvGrpSpPr>
          <p:cNvPr id="101" name="Graphic 100">
            <a:extLst>
              <a:ext uri="{FF2B5EF4-FFF2-40B4-BE49-F238E27FC236}">
                <a16:creationId xmlns:a16="http://schemas.microsoft.com/office/drawing/2014/main" id="{80D4AD83-BA92-634C-A912-F7B443982DD6}"/>
              </a:ext>
            </a:extLst>
          </p:cNvPr>
          <p:cNvGrpSpPr/>
          <p:nvPr userDrawn="1"/>
        </p:nvGrpSpPr>
        <p:grpSpPr>
          <a:xfrm>
            <a:off x="10148267" y="340999"/>
            <a:ext cx="1483475" cy="886834"/>
            <a:chOff x="7611200" y="284166"/>
            <a:chExt cx="1112606" cy="739028"/>
          </a:xfrm>
        </p:grpSpPr>
        <p:sp>
          <p:nvSpPr>
            <p:cNvPr id="102" name="Freeform 101">
              <a:extLst>
                <a:ext uri="{FF2B5EF4-FFF2-40B4-BE49-F238E27FC236}">
                  <a16:creationId xmlns:a16="http://schemas.microsoft.com/office/drawing/2014/main" id="{272766B3-164F-394F-8167-9F66A22C0D4F}"/>
                </a:ext>
              </a:extLst>
            </p:cNvPr>
            <p:cNvSpPr/>
            <p:nvPr/>
          </p:nvSpPr>
          <p:spPr>
            <a:xfrm>
              <a:off x="8065090" y="981314"/>
              <a:ext cx="184529" cy="41880"/>
            </a:xfrm>
            <a:custGeom>
              <a:avLst/>
              <a:gdLst>
                <a:gd name="connsiteX0" fmla="*/ 0 w 184529"/>
                <a:gd name="connsiteY0" fmla="*/ 0 h 41880"/>
                <a:gd name="connsiteX1" fmla="*/ 184529 w 184529"/>
                <a:gd name="connsiteY1" fmla="*/ 0 h 41880"/>
                <a:gd name="connsiteX2" fmla="*/ 184529 w 184529"/>
                <a:gd name="connsiteY2" fmla="*/ 41880 h 41880"/>
                <a:gd name="connsiteX3" fmla="*/ 0 w 184529"/>
                <a:gd name="connsiteY3" fmla="*/ 41880 h 41880"/>
              </a:gdLst>
              <a:ahLst/>
              <a:cxnLst>
                <a:cxn ang="0">
                  <a:pos x="connsiteX0" y="connsiteY0"/>
                </a:cxn>
                <a:cxn ang="0">
                  <a:pos x="connsiteX1" y="connsiteY1"/>
                </a:cxn>
                <a:cxn ang="0">
                  <a:pos x="connsiteX2" y="connsiteY2"/>
                </a:cxn>
                <a:cxn ang="0">
                  <a:pos x="connsiteX3" y="connsiteY3"/>
                </a:cxn>
              </a:cxnLst>
              <a:rect l="l" t="t" r="r" b="b"/>
              <a:pathLst>
                <a:path w="184529" h="41880">
                  <a:moveTo>
                    <a:pt x="0" y="0"/>
                  </a:moveTo>
                  <a:lnTo>
                    <a:pt x="184529" y="0"/>
                  </a:lnTo>
                  <a:lnTo>
                    <a:pt x="184529" y="41880"/>
                  </a:lnTo>
                  <a:lnTo>
                    <a:pt x="0" y="41880"/>
                  </a:lnTo>
                  <a:close/>
                </a:path>
              </a:pathLst>
            </a:custGeom>
            <a:solidFill>
              <a:srgbClr val="1D1D1B"/>
            </a:solidFill>
            <a:ln w="12664" cap="flat">
              <a:noFill/>
              <a:prstDash val="solid"/>
              <a:miter/>
            </a:ln>
          </p:spPr>
          <p:txBody>
            <a:bodyPr rtlCol="0" anchor="ctr"/>
            <a:lstStyle/>
            <a:p>
              <a:endParaRPr lang="en-US"/>
            </a:p>
          </p:txBody>
        </p:sp>
        <p:sp>
          <p:nvSpPr>
            <p:cNvPr id="103" name="Freeform 102">
              <a:extLst>
                <a:ext uri="{FF2B5EF4-FFF2-40B4-BE49-F238E27FC236}">
                  <a16:creationId xmlns:a16="http://schemas.microsoft.com/office/drawing/2014/main" id="{F16512F6-6DD0-0941-905D-A601868DD025}"/>
                </a:ext>
              </a:extLst>
            </p:cNvPr>
            <p:cNvSpPr/>
            <p:nvPr/>
          </p:nvSpPr>
          <p:spPr>
            <a:xfrm>
              <a:off x="8065090" y="284175"/>
              <a:ext cx="184529" cy="41880"/>
            </a:xfrm>
            <a:custGeom>
              <a:avLst/>
              <a:gdLst>
                <a:gd name="connsiteX0" fmla="*/ 0 w 184529"/>
                <a:gd name="connsiteY0" fmla="*/ 0 h 41880"/>
                <a:gd name="connsiteX1" fmla="*/ 184529 w 184529"/>
                <a:gd name="connsiteY1" fmla="*/ 0 h 41880"/>
                <a:gd name="connsiteX2" fmla="*/ 184529 w 184529"/>
                <a:gd name="connsiteY2" fmla="*/ 41880 h 41880"/>
                <a:gd name="connsiteX3" fmla="*/ 0 w 184529"/>
                <a:gd name="connsiteY3" fmla="*/ 41880 h 41880"/>
              </a:gdLst>
              <a:ahLst/>
              <a:cxnLst>
                <a:cxn ang="0">
                  <a:pos x="connsiteX0" y="connsiteY0"/>
                </a:cxn>
                <a:cxn ang="0">
                  <a:pos x="connsiteX1" y="connsiteY1"/>
                </a:cxn>
                <a:cxn ang="0">
                  <a:pos x="connsiteX2" y="connsiteY2"/>
                </a:cxn>
                <a:cxn ang="0">
                  <a:pos x="connsiteX3" y="connsiteY3"/>
                </a:cxn>
              </a:cxnLst>
              <a:rect l="l" t="t" r="r" b="b"/>
              <a:pathLst>
                <a:path w="184529" h="41880">
                  <a:moveTo>
                    <a:pt x="0" y="0"/>
                  </a:moveTo>
                  <a:lnTo>
                    <a:pt x="184529" y="0"/>
                  </a:lnTo>
                  <a:lnTo>
                    <a:pt x="184529" y="41880"/>
                  </a:lnTo>
                  <a:lnTo>
                    <a:pt x="0" y="41880"/>
                  </a:lnTo>
                  <a:close/>
                </a:path>
              </a:pathLst>
            </a:custGeom>
            <a:solidFill>
              <a:srgbClr val="1D1D1B"/>
            </a:solidFill>
            <a:ln w="12664" cap="flat">
              <a:noFill/>
              <a:prstDash val="solid"/>
              <a:miter/>
            </a:ln>
          </p:spPr>
          <p:txBody>
            <a:bodyPr rtlCol="0" anchor="ctr"/>
            <a:lstStyle/>
            <a:p>
              <a:endParaRPr lang="en-US"/>
            </a:p>
          </p:txBody>
        </p:sp>
        <p:sp>
          <p:nvSpPr>
            <p:cNvPr id="104" name="Freeform 103">
              <a:extLst>
                <a:ext uri="{FF2B5EF4-FFF2-40B4-BE49-F238E27FC236}">
                  <a16:creationId xmlns:a16="http://schemas.microsoft.com/office/drawing/2014/main" id="{7ED2A605-65F4-0A4E-A621-2FA7200977B6}"/>
                </a:ext>
              </a:extLst>
            </p:cNvPr>
            <p:cNvSpPr/>
            <p:nvPr/>
          </p:nvSpPr>
          <p:spPr>
            <a:xfrm>
              <a:off x="7611200" y="284166"/>
              <a:ext cx="928953" cy="738998"/>
            </a:xfrm>
            <a:custGeom>
              <a:avLst/>
              <a:gdLst>
                <a:gd name="connsiteX0" fmla="*/ 835856 w 928953"/>
                <a:gd name="connsiteY0" fmla="*/ 129348 h 738998"/>
                <a:gd name="connsiteX1" fmla="*/ 928952 w 928953"/>
                <a:gd name="connsiteY1" fmla="*/ 373724 h 738998"/>
                <a:gd name="connsiteX2" fmla="*/ 687905 w 928953"/>
                <a:gd name="connsiteY2" fmla="*/ 707088 h 738998"/>
                <a:gd name="connsiteX3" fmla="*/ 422261 w 928953"/>
                <a:gd name="connsiteY3" fmla="*/ 738739 h 738998"/>
                <a:gd name="connsiteX4" fmla="*/ 59346 w 928953"/>
                <a:gd name="connsiteY4" fmla="*/ 566442 h 738998"/>
                <a:gd name="connsiteX5" fmla="*/ 36221 w 928953"/>
                <a:gd name="connsiteY5" fmla="*/ 210589 h 738998"/>
                <a:gd name="connsiteX6" fmla="*/ 317565 w 928953"/>
                <a:gd name="connsiteY6" fmla="*/ 11729 h 738998"/>
                <a:gd name="connsiteX7" fmla="*/ 681889 w 928953"/>
                <a:gd name="connsiteY7" fmla="*/ 31485 h 738998"/>
                <a:gd name="connsiteX8" fmla="*/ 835856 w 928953"/>
                <a:gd name="connsiteY8" fmla="*/ 129348 h 73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953" h="738998">
                  <a:moveTo>
                    <a:pt x="835856" y="129348"/>
                  </a:moveTo>
                  <a:cubicBezTo>
                    <a:pt x="896114" y="196814"/>
                    <a:pt x="929236" y="283759"/>
                    <a:pt x="928952" y="373724"/>
                  </a:cubicBezTo>
                  <a:cubicBezTo>
                    <a:pt x="925917" y="523314"/>
                    <a:pt x="830184" y="655711"/>
                    <a:pt x="687905" y="707088"/>
                  </a:cubicBezTo>
                  <a:cubicBezTo>
                    <a:pt x="605509" y="733926"/>
                    <a:pt x="513834" y="740469"/>
                    <a:pt x="422261" y="738739"/>
                  </a:cubicBezTo>
                  <a:cubicBezTo>
                    <a:pt x="276874" y="734728"/>
                    <a:pt x="140410" y="684838"/>
                    <a:pt x="59346" y="566442"/>
                  </a:cubicBezTo>
                  <a:cubicBezTo>
                    <a:pt x="-7731" y="467563"/>
                    <a:pt x="-21426" y="316651"/>
                    <a:pt x="36221" y="210589"/>
                  </a:cubicBezTo>
                  <a:cubicBezTo>
                    <a:pt x="85377" y="102522"/>
                    <a:pt x="197486" y="29968"/>
                    <a:pt x="317565" y="11729"/>
                  </a:cubicBezTo>
                  <a:cubicBezTo>
                    <a:pt x="438958" y="-8966"/>
                    <a:pt x="563521" y="-2211"/>
                    <a:pt x="681889" y="31485"/>
                  </a:cubicBezTo>
                  <a:cubicBezTo>
                    <a:pt x="740531" y="51203"/>
                    <a:pt x="793392" y="84802"/>
                    <a:pt x="835856" y="129348"/>
                  </a:cubicBezTo>
                  <a:close/>
                </a:path>
              </a:pathLst>
            </a:custGeom>
            <a:solidFill>
              <a:srgbClr val="1D1D1B"/>
            </a:solidFill>
            <a:ln w="12664" cap="flat">
              <a:noFill/>
              <a:prstDash val="solid"/>
              <a:miter/>
            </a:ln>
          </p:spPr>
          <p:txBody>
            <a:bodyPr rtlCol="0" anchor="ctr"/>
            <a:lstStyle/>
            <a:p>
              <a:endParaRPr lang="en-US"/>
            </a:p>
          </p:txBody>
        </p:sp>
        <p:sp>
          <p:nvSpPr>
            <p:cNvPr id="105" name="Freeform 104">
              <a:extLst>
                <a:ext uri="{FF2B5EF4-FFF2-40B4-BE49-F238E27FC236}">
                  <a16:creationId xmlns:a16="http://schemas.microsoft.com/office/drawing/2014/main" id="{DCCABBE8-7C50-8940-A44E-D93C45127ECB}"/>
                </a:ext>
              </a:extLst>
            </p:cNvPr>
            <p:cNvSpPr/>
            <p:nvPr/>
          </p:nvSpPr>
          <p:spPr>
            <a:xfrm>
              <a:off x="7648818" y="292586"/>
              <a:ext cx="513653" cy="722735"/>
            </a:xfrm>
            <a:custGeom>
              <a:avLst/>
              <a:gdLst>
                <a:gd name="connsiteX0" fmla="*/ 501893 w 513653"/>
                <a:gd name="connsiteY0" fmla="*/ 722736 h 722735"/>
                <a:gd name="connsiteX1" fmla="*/ 419052 w 513653"/>
                <a:gd name="connsiteY1" fmla="*/ 722736 h 722735"/>
                <a:gd name="connsiteX2" fmla="*/ 0 w 513653"/>
                <a:gd name="connsiteY2" fmla="*/ 361368 h 722735"/>
                <a:gd name="connsiteX3" fmla="*/ 419052 w 513653"/>
                <a:gd name="connsiteY3" fmla="*/ 0 h 722735"/>
                <a:gd name="connsiteX4" fmla="*/ 491524 w 513653"/>
                <a:gd name="connsiteY4" fmla="*/ 0 h 722735"/>
                <a:gd name="connsiteX5" fmla="*/ 497075 w 513653"/>
                <a:gd name="connsiteY5" fmla="*/ 6964 h 722735"/>
                <a:gd name="connsiteX6" fmla="*/ 491524 w 513653"/>
                <a:gd name="connsiteY6" fmla="*/ 12448 h 722735"/>
                <a:gd name="connsiteX7" fmla="*/ 82841 w 513653"/>
                <a:gd name="connsiteY7" fmla="*/ 361368 h 722735"/>
                <a:gd name="connsiteX8" fmla="*/ 491524 w 513653"/>
                <a:gd name="connsiteY8" fmla="*/ 710301 h 722735"/>
                <a:gd name="connsiteX9" fmla="*/ 502502 w 513653"/>
                <a:gd name="connsiteY9" fmla="*/ 710150 h 722735"/>
                <a:gd name="connsiteX10" fmla="*/ 507985 w 513653"/>
                <a:gd name="connsiteY10" fmla="*/ 710226 h 722735"/>
                <a:gd name="connsiteX11" fmla="*/ 513617 w 513653"/>
                <a:gd name="connsiteY11" fmla="*/ 717127 h 722735"/>
                <a:gd name="connsiteX12" fmla="*/ 508214 w 513653"/>
                <a:gd name="connsiteY12" fmla="*/ 722661 h 722735"/>
                <a:gd name="connsiteX13" fmla="*/ 501893 w 513653"/>
                <a:gd name="connsiteY13" fmla="*/ 722736 h 722735"/>
                <a:gd name="connsiteX14" fmla="*/ 372219 w 513653"/>
                <a:gd name="connsiteY14" fmla="*/ 14754 h 722735"/>
                <a:gd name="connsiteX15" fmla="*/ 12603 w 513653"/>
                <a:gd name="connsiteY15" fmla="*/ 361368 h 722735"/>
                <a:gd name="connsiteX16" fmla="*/ 372219 w 513653"/>
                <a:gd name="connsiteY16" fmla="*/ 707994 h 722735"/>
                <a:gd name="connsiteX17" fmla="*/ 70187 w 513653"/>
                <a:gd name="connsiteY17" fmla="*/ 361368 h 722735"/>
                <a:gd name="connsiteX18" fmla="*/ 372219 w 513653"/>
                <a:gd name="connsiteY18" fmla="*/ 14754 h 72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3653" h="722735">
                  <a:moveTo>
                    <a:pt x="501893" y="722736"/>
                  </a:moveTo>
                  <a:lnTo>
                    <a:pt x="419052" y="722736"/>
                  </a:lnTo>
                  <a:cubicBezTo>
                    <a:pt x="187981" y="722736"/>
                    <a:pt x="0" y="560679"/>
                    <a:pt x="0" y="361368"/>
                  </a:cubicBezTo>
                  <a:cubicBezTo>
                    <a:pt x="0" y="162056"/>
                    <a:pt x="187981" y="0"/>
                    <a:pt x="419052" y="0"/>
                  </a:cubicBezTo>
                  <a:lnTo>
                    <a:pt x="491524" y="0"/>
                  </a:lnTo>
                  <a:cubicBezTo>
                    <a:pt x="495004" y="409"/>
                    <a:pt x="497490" y="3527"/>
                    <a:pt x="497075" y="6964"/>
                  </a:cubicBezTo>
                  <a:cubicBezTo>
                    <a:pt x="496730" y="9839"/>
                    <a:pt x="494434" y="12106"/>
                    <a:pt x="491524" y="12448"/>
                  </a:cubicBezTo>
                  <a:cubicBezTo>
                    <a:pt x="266151" y="12448"/>
                    <a:pt x="82841" y="168976"/>
                    <a:pt x="82841" y="361368"/>
                  </a:cubicBezTo>
                  <a:cubicBezTo>
                    <a:pt x="82841" y="553760"/>
                    <a:pt x="266190" y="710301"/>
                    <a:pt x="491524" y="710301"/>
                  </a:cubicBezTo>
                  <a:cubicBezTo>
                    <a:pt x="495192" y="710301"/>
                    <a:pt x="498872" y="710301"/>
                    <a:pt x="502502" y="710150"/>
                  </a:cubicBezTo>
                  <a:cubicBezTo>
                    <a:pt x="504622" y="710213"/>
                    <a:pt x="506462" y="710326"/>
                    <a:pt x="507985" y="710226"/>
                  </a:cubicBezTo>
                  <a:cubicBezTo>
                    <a:pt x="511470" y="710595"/>
                    <a:pt x="513991" y="713685"/>
                    <a:pt x="513617" y="717127"/>
                  </a:cubicBezTo>
                  <a:cubicBezTo>
                    <a:pt x="513306" y="719974"/>
                    <a:pt x="511082" y="722252"/>
                    <a:pt x="508214" y="722661"/>
                  </a:cubicBezTo>
                  <a:cubicBezTo>
                    <a:pt x="506107" y="722736"/>
                    <a:pt x="504025" y="722736"/>
                    <a:pt x="501893" y="722736"/>
                  </a:cubicBezTo>
                  <a:close/>
                  <a:moveTo>
                    <a:pt x="372219" y="14754"/>
                  </a:moveTo>
                  <a:cubicBezTo>
                    <a:pt x="170086" y="34760"/>
                    <a:pt x="12603" y="182577"/>
                    <a:pt x="12603" y="361368"/>
                  </a:cubicBezTo>
                  <a:cubicBezTo>
                    <a:pt x="12603" y="540159"/>
                    <a:pt x="170098" y="687988"/>
                    <a:pt x="372219" y="707994"/>
                  </a:cubicBezTo>
                  <a:cubicBezTo>
                    <a:pt x="197818" y="663757"/>
                    <a:pt x="70187" y="525104"/>
                    <a:pt x="70187" y="361368"/>
                  </a:cubicBezTo>
                  <a:cubicBezTo>
                    <a:pt x="70187" y="197632"/>
                    <a:pt x="197818" y="58991"/>
                    <a:pt x="372219" y="14754"/>
                  </a:cubicBezTo>
                  <a:close/>
                </a:path>
              </a:pathLst>
            </a:custGeom>
            <a:solidFill>
              <a:srgbClr val="FFFFFF"/>
            </a:solidFill>
            <a:ln w="12664" cap="flat">
              <a:noFill/>
              <a:prstDash val="solid"/>
              <a:miter/>
            </a:ln>
          </p:spPr>
          <p:txBody>
            <a:bodyPr rtlCol="0" anchor="ctr"/>
            <a:lstStyle/>
            <a:p>
              <a:endParaRPr lang="en-US"/>
            </a:p>
          </p:txBody>
        </p:sp>
        <p:sp>
          <p:nvSpPr>
            <p:cNvPr id="106" name="Freeform 105">
              <a:extLst>
                <a:ext uri="{FF2B5EF4-FFF2-40B4-BE49-F238E27FC236}">
                  <a16:creationId xmlns:a16="http://schemas.microsoft.com/office/drawing/2014/main" id="{3202044C-8424-0D47-82E6-04CEFE575F11}"/>
                </a:ext>
              </a:extLst>
            </p:cNvPr>
            <p:cNvSpPr/>
            <p:nvPr/>
          </p:nvSpPr>
          <p:spPr>
            <a:xfrm>
              <a:off x="7725312" y="298816"/>
              <a:ext cx="426223" cy="710288"/>
            </a:xfrm>
            <a:custGeom>
              <a:avLst/>
              <a:gdLst>
                <a:gd name="connsiteX0" fmla="*/ 38 w 426223"/>
                <a:gd name="connsiteY0" fmla="*/ 355138 h 710288"/>
                <a:gd name="connsiteX1" fmla="*/ 415067 w 426223"/>
                <a:gd name="connsiteY1" fmla="*/ 710288 h 710288"/>
                <a:gd name="connsiteX2" fmla="*/ 426223 w 426223"/>
                <a:gd name="connsiteY2" fmla="*/ 710138 h 710288"/>
                <a:gd name="connsiteX3" fmla="*/ 22427 w 426223"/>
                <a:gd name="connsiteY3" fmla="*/ 355138 h 710288"/>
                <a:gd name="connsiteX4" fmla="*/ 426185 w 426223"/>
                <a:gd name="connsiteY4" fmla="*/ 125 h 710288"/>
                <a:gd name="connsiteX5" fmla="*/ 415029 w 426223"/>
                <a:gd name="connsiteY5" fmla="*/ 0 h 710288"/>
                <a:gd name="connsiteX6" fmla="*/ 0 w 426223"/>
                <a:gd name="connsiteY6" fmla="*/ 355138 h 71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223" h="710288">
                  <a:moveTo>
                    <a:pt x="38" y="355138"/>
                  </a:moveTo>
                  <a:cubicBezTo>
                    <a:pt x="38" y="551178"/>
                    <a:pt x="185951" y="710288"/>
                    <a:pt x="415067" y="710288"/>
                  </a:cubicBezTo>
                  <a:cubicBezTo>
                    <a:pt x="418798" y="710288"/>
                    <a:pt x="422530" y="710288"/>
                    <a:pt x="426223" y="710138"/>
                  </a:cubicBezTo>
                  <a:cubicBezTo>
                    <a:pt x="202323" y="705124"/>
                    <a:pt x="22427" y="547956"/>
                    <a:pt x="22427" y="355138"/>
                  </a:cubicBezTo>
                  <a:cubicBezTo>
                    <a:pt x="22427" y="162320"/>
                    <a:pt x="202285" y="5202"/>
                    <a:pt x="426185" y="125"/>
                  </a:cubicBezTo>
                  <a:cubicBezTo>
                    <a:pt x="422492" y="50"/>
                    <a:pt x="418760" y="0"/>
                    <a:pt x="415029" y="0"/>
                  </a:cubicBezTo>
                  <a:cubicBezTo>
                    <a:pt x="185951" y="0"/>
                    <a:pt x="0" y="159111"/>
                    <a:pt x="0" y="355138"/>
                  </a:cubicBezTo>
                  <a:close/>
                </a:path>
              </a:pathLst>
            </a:custGeom>
            <a:solidFill>
              <a:srgbClr val="FFFFFF"/>
            </a:solidFill>
            <a:ln w="12664" cap="flat">
              <a:noFill/>
              <a:prstDash val="solid"/>
              <a:miter/>
            </a:ln>
          </p:spPr>
          <p:txBody>
            <a:bodyPr rtlCol="0" anchor="ctr"/>
            <a:lstStyle/>
            <a:p>
              <a:endParaRPr lang="en-US"/>
            </a:p>
          </p:txBody>
        </p:sp>
        <p:sp>
          <p:nvSpPr>
            <p:cNvPr id="107" name="Freeform 106">
              <a:extLst>
                <a:ext uri="{FF2B5EF4-FFF2-40B4-BE49-F238E27FC236}">
                  <a16:creationId xmlns:a16="http://schemas.microsoft.com/office/drawing/2014/main" id="{4B47CCC6-E497-EE44-9B0F-98282714D406}"/>
                </a:ext>
              </a:extLst>
            </p:cNvPr>
            <p:cNvSpPr/>
            <p:nvPr/>
          </p:nvSpPr>
          <p:spPr>
            <a:xfrm>
              <a:off x="7722216" y="295708"/>
              <a:ext cx="429383" cy="716505"/>
            </a:xfrm>
            <a:custGeom>
              <a:avLst/>
              <a:gdLst>
                <a:gd name="connsiteX0" fmla="*/ 418164 w 429383"/>
                <a:gd name="connsiteY0" fmla="*/ 716506 h 716505"/>
                <a:gd name="connsiteX1" fmla="*/ 0 w 429383"/>
                <a:gd name="connsiteY1" fmla="*/ 360503 h 716505"/>
                <a:gd name="connsiteX2" fmla="*/ 0 w 429383"/>
                <a:gd name="connsiteY2" fmla="*/ 360503 h 716505"/>
                <a:gd name="connsiteX3" fmla="*/ 0 w 429383"/>
                <a:gd name="connsiteY3" fmla="*/ 358247 h 716505"/>
                <a:gd name="connsiteX4" fmla="*/ 418126 w 429383"/>
                <a:gd name="connsiteY4" fmla="*/ 0 h 716505"/>
                <a:gd name="connsiteX5" fmla="*/ 429345 w 429383"/>
                <a:gd name="connsiteY5" fmla="*/ 125 h 716505"/>
                <a:gd name="connsiteX6" fmla="*/ 429345 w 429383"/>
                <a:gd name="connsiteY6" fmla="*/ 6393 h 716505"/>
                <a:gd name="connsiteX7" fmla="*/ 145527 w 429383"/>
                <a:gd name="connsiteY7" fmla="*/ 112667 h 716505"/>
                <a:gd name="connsiteX8" fmla="*/ 28659 w 429383"/>
                <a:gd name="connsiteY8" fmla="*/ 358247 h 716505"/>
                <a:gd name="connsiteX9" fmla="*/ 145539 w 429383"/>
                <a:gd name="connsiteY9" fmla="*/ 603851 h 716505"/>
                <a:gd name="connsiteX10" fmla="*/ 429383 w 429383"/>
                <a:gd name="connsiteY10" fmla="*/ 710150 h 716505"/>
                <a:gd name="connsiteX11" fmla="*/ 429383 w 429383"/>
                <a:gd name="connsiteY11" fmla="*/ 716343 h 716505"/>
                <a:gd name="connsiteX12" fmla="*/ 418164 w 429383"/>
                <a:gd name="connsiteY12" fmla="*/ 716506 h 716505"/>
                <a:gd name="connsiteX13" fmla="*/ 6244 w 429383"/>
                <a:gd name="connsiteY13" fmla="*/ 356354 h 716505"/>
                <a:gd name="connsiteX14" fmla="*/ 6244 w 429383"/>
                <a:gd name="connsiteY14" fmla="*/ 358259 h 716505"/>
                <a:gd name="connsiteX15" fmla="*/ 294252 w 429383"/>
                <a:gd name="connsiteY15" fmla="*/ 694042 h 716505"/>
                <a:gd name="connsiteX16" fmla="*/ 141338 w 429383"/>
                <a:gd name="connsiteY16" fmla="*/ 608502 h 716505"/>
                <a:gd name="connsiteX17" fmla="*/ 22376 w 429383"/>
                <a:gd name="connsiteY17" fmla="*/ 358247 h 716505"/>
                <a:gd name="connsiteX18" fmla="*/ 141351 w 429383"/>
                <a:gd name="connsiteY18" fmla="*/ 108017 h 716505"/>
                <a:gd name="connsiteX19" fmla="*/ 294391 w 429383"/>
                <a:gd name="connsiteY19" fmla="*/ 22438 h 716505"/>
                <a:gd name="connsiteX20" fmla="*/ 6244 w 429383"/>
                <a:gd name="connsiteY20" fmla="*/ 356354 h 71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9383" h="716505">
                  <a:moveTo>
                    <a:pt x="418164" y="716506"/>
                  </a:moveTo>
                  <a:cubicBezTo>
                    <a:pt x="188438" y="716506"/>
                    <a:pt x="1409" y="557006"/>
                    <a:pt x="0" y="360503"/>
                  </a:cubicBezTo>
                  <a:lnTo>
                    <a:pt x="0" y="360503"/>
                  </a:lnTo>
                  <a:lnTo>
                    <a:pt x="0" y="358247"/>
                  </a:lnTo>
                  <a:cubicBezTo>
                    <a:pt x="-38" y="160715"/>
                    <a:pt x="187550" y="0"/>
                    <a:pt x="418126" y="0"/>
                  </a:cubicBezTo>
                  <a:cubicBezTo>
                    <a:pt x="421933" y="0"/>
                    <a:pt x="425627" y="0"/>
                    <a:pt x="429345" y="125"/>
                  </a:cubicBezTo>
                  <a:lnTo>
                    <a:pt x="429345" y="6393"/>
                  </a:lnTo>
                  <a:cubicBezTo>
                    <a:pt x="324993" y="7564"/>
                    <a:pt x="224437" y="45217"/>
                    <a:pt x="145527" y="112667"/>
                  </a:cubicBezTo>
                  <a:cubicBezTo>
                    <a:pt x="72436" y="173976"/>
                    <a:pt x="29812" y="263544"/>
                    <a:pt x="28659" y="358247"/>
                  </a:cubicBezTo>
                  <a:cubicBezTo>
                    <a:pt x="29815" y="452958"/>
                    <a:pt x="72442" y="542534"/>
                    <a:pt x="145539" y="603851"/>
                  </a:cubicBezTo>
                  <a:cubicBezTo>
                    <a:pt x="224451" y="671320"/>
                    <a:pt x="325018" y="708982"/>
                    <a:pt x="429383" y="710150"/>
                  </a:cubicBezTo>
                  <a:lnTo>
                    <a:pt x="429383" y="716343"/>
                  </a:lnTo>
                  <a:cubicBezTo>
                    <a:pt x="425715" y="716506"/>
                    <a:pt x="421933" y="716506"/>
                    <a:pt x="418164" y="716506"/>
                  </a:cubicBezTo>
                  <a:close/>
                  <a:moveTo>
                    <a:pt x="6244" y="356354"/>
                  </a:moveTo>
                  <a:lnTo>
                    <a:pt x="6244" y="358259"/>
                  </a:lnTo>
                  <a:cubicBezTo>
                    <a:pt x="6244" y="515515"/>
                    <a:pt x="127466" y="649003"/>
                    <a:pt x="294252" y="694042"/>
                  </a:cubicBezTo>
                  <a:cubicBezTo>
                    <a:pt x="237836" y="676287"/>
                    <a:pt x="185767" y="647159"/>
                    <a:pt x="141338" y="608502"/>
                  </a:cubicBezTo>
                  <a:cubicBezTo>
                    <a:pt x="66896" y="546008"/>
                    <a:pt x="23508" y="454733"/>
                    <a:pt x="22376" y="358247"/>
                  </a:cubicBezTo>
                  <a:cubicBezTo>
                    <a:pt x="23520" y="261766"/>
                    <a:pt x="66912" y="170503"/>
                    <a:pt x="141351" y="108017"/>
                  </a:cubicBezTo>
                  <a:cubicBezTo>
                    <a:pt x="185811" y="69329"/>
                    <a:pt x="237927" y="40186"/>
                    <a:pt x="294391" y="22438"/>
                  </a:cubicBezTo>
                  <a:cubicBezTo>
                    <a:pt x="128215" y="67264"/>
                    <a:pt x="7209" y="199901"/>
                    <a:pt x="6244" y="356354"/>
                  </a:cubicBezTo>
                  <a:close/>
                </a:path>
              </a:pathLst>
            </a:custGeom>
            <a:solidFill>
              <a:srgbClr val="FFFFFF"/>
            </a:solidFill>
            <a:ln w="12664" cap="flat">
              <a:noFill/>
              <a:prstDash val="solid"/>
              <a:miter/>
            </a:ln>
          </p:spPr>
          <p:txBody>
            <a:bodyPr rtlCol="0" anchor="ctr"/>
            <a:lstStyle/>
            <a:p>
              <a:endParaRPr lang="en-US"/>
            </a:p>
          </p:txBody>
        </p:sp>
        <p:sp>
          <p:nvSpPr>
            <p:cNvPr id="108" name="Freeform 107">
              <a:extLst>
                <a:ext uri="{FF2B5EF4-FFF2-40B4-BE49-F238E27FC236}">
                  <a16:creationId xmlns:a16="http://schemas.microsoft.com/office/drawing/2014/main" id="{77A528B8-6E6F-5A43-B0DF-7EE90149A7C8}"/>
                </a:ext>
              </a:extLst>
            </p:cNvPr>
            <p:cNvSpPr/>
            <p:nvPr/>
          </p:nvSpPr>
          <p:spPr>
            <a:xfrm>
              <a:off x="7734489" y="466915"/>
              <a:ext cx="600154" cy="22200"/>
            </a:xfrm>
            <a:custGeom>
              <a:avLst/>
              <a:gdLst>
                <a:gd name="connsiteX0" fmla="*/ 600154 w 600154"/>
                <a:gd name="connsiteY0" fmla="*/ 11094 h 22200"/>
                <a:gd name="connsiteX1" fmla="*/ 300065 w 600154"/>
                <a:gd name="connsiteY1" fmla="*/ 22200 h 22200"/>
                <a:gd name="connsiteX2" fmla="*/ 0 w 600154"/>
                <a:gd name="connsiteY2" fmla="*/ 11094 h 22200"/>
                <a:gd name="connsiteX3" fmla="*/ 300065 w 600154"/>
                <a:gd name="connsiteY3" fmla="*/ 0 h 22200"/>
                <a:gd name="connsiteX4" fmla="*/ 600154 w 600154"/>
                <a:gd name="connsiteY4" fmla="*/ 11094 h 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54" h="22200">
                  <a:moveTo>
                    <a:pt x="600154" y="11094"/>
                  </a:moveTo>
                  <a:cubicBezTo>
                    <a:pt x="600154" y="17198"/>
                    <a:pt x="465708" y="22200"/>
                    <a:pt x="300065" y="22200"/>
                  </a:cubicBezTo>
                  <a:cubicBezTo>
                    <a:pt x="134421" y="22200"/>
                    <a:pt x="0" y="17186"/>
                    <a:pt x="0" y="11094"/>
                  </a:cubicBezTo>
                  <a:cubicBezTo>
                    <a:pt x="0" y="5002"/>
                    <a:pt x="134434" y="0"/>
                    <a:pt x="300065" y="0"/>
                  </a:cubicBezTo>
                  <a:cubicBezTo>
                    <a:pt x="465695" y="0"/>
                    <a:pt x="600154" y="4964"/>
                    <a:pt x="600154" y="11094"/>
                  </a:cubicBezTo>
                  <a:close/>
                </a:path>
              </a:pathLst>
            </a:custGeom>
            <a:solidFill>
              <a:srgbClr val="FFFFFF"/>
            </a:solidFill>
            <a:ln w="12664" cap="flat">
              <a:noFill/>
              <a:prstDash val="solid"/>
              <a:miter/>
            </a:ln>
          </p:spPr>
          <p:txBody>
            <a:bodyPr rtlCol="0" anchor="ctr"/>
            <a:lstStyle/>
            <a:p>
              <a:endParaRPr lang="en-US"/>
            </a:p>
          </p:txBody>
        </p:sp>
        <p:sp>
          <p:nvSpPr>
            <p:cNvPr id="109" name="Freeform 108">
              <a:extLst>
                <a:ext uri="{FF2B5EF4-FFF2-40B4-BE49-F238E27FC236}">
                  <a16:creationId xmlns:a16="http://schemas.microsoft.com/office/drawing/2014/main" id="{6828B17A-9995-E645-93C5-2CD482B92C2C}"/>
                </a:ext>
              </a:extLst>
            </p:cNvPr>
            <p:cNvSpPr/>
            <p:nvPr/>
          </p:nvSpPr>
          <p:spPr>
            <a:xfrm>
              <a:off x="7731341" y="463844"/>
              <a:ext cx="606437" cy="28405"/>
            </a:xfrm>
            <a:custGeom>
              <a:avLst/>
              <a:gdLst>
                <a:gd name="connsiteX0" fmla="*/ 303212 w 606437"/>
                <a:gd name="connsiteY0" fmla="*/ 28405 h 28405"/>
                <a:gd name="connsiteX1" fmla="*/ 90938 w 606437"/>
                <a:gd name="connsiteY1" fmla="*/ 25146 h 28405"/>
                <a:gd name="connsiteX2" fmla="*/ 0 w 606437"/>
                <a:gd name="connsiteY2" fmla="*/ 14203 h 28405"/>
                <a:gd name="connsiteX3" fmla="*/ 90951 w 606437"/>
                <a:gd name="connsiteY3" fmla="*/ 3272 h 28405"/>
                <a:gd name="connsiteX4" fmla="*/ 303212 w 606437"/>
                <a:gd name="connsiteY4" fmla="*/ 0 h 28405"/>
                <a:gd name="connsiteX5" fmla="*/ 515486 w 606437"/>
                <a:gd name="connsiteY5" fmla="*/ 3259 h 28405"/>
                <a:gd name="connsiteX6" fmla="*/ 606437 w 606437"/>
                <a:gd name="connsiteY6" fmla="*/ 14203 h 28405"/>
                <a:gd name="connsiteX7" fmla="*/ 515486 w 606437"/>
                <a:gd name="connsiteY7" fmla="*/ 25146 h 28405"/>
                <a:gd name="connsiteX8" fmla="*/ 303212 w 606437"/>
                <a:gd name="connsiteY8" fmla="*/ 28405 h 28405"/>
                <a:gd name="connsiteX9" fmla="*/ 14799 w 606437"/>
                <a:gd name="connsiteY9" fmla="*/ 14165 h 28405"/>
                <a:gd name="connsiteX10" fmla="*/ 303212 w 606437"/>
                <a:gd name="connsiteY10" fmla="*/ 22162 h 28405"/>
                <a:gd name="connsiteX11" fmla="*/ 591803 w 606437"/>
                <a:gd name="connsiteY11" fmla="*/ 14152 h 28405"/>
                <a:gd name="connsiteX12" fmla="*/ 303212 w 606437"/>
                <a:gd name="connsiteY12" fmla="*/ 6167 h 28405"/>
                <a:gd name="connsiteX13" fmla="*/ 14799 w 606437"/>
                <a:gd name="connsiteY13" fmla="*/ 14165 h 2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437" h="28405">
                  <a:moveTo>
                    <a:pt x="303212" y="28405"/>
                  </a:moveTo>
                  <a:cubicBezTo>
                    <a:pt x="223176" y="28405"/>
                    <a:pt x="147786" y="27252"/>
                    <a:pt x="90938" y="25146"/>
                  </a:cubicBezTo>
                  <a:cubicBezTo>
                    <a:pt x="0" y="21761"/>
                    <a:pt x="0" y="18088"/>
                    <a:pt x="0" y="14203"/>
                  </a:cubicBezTo>
                  <a:cubicBezTo>
                    <a:pt x="0" y="10317"/>
                    <a:pt x="0" y="6681"/>
                    <a:pt x="90951" y="3272"/>
                  </a:cubicBezTo>
                  <a:cubicBezTo>
                    <a:pt x="147786" y="1166"/>
                    <a:pt x="223164" y="0"/>
                    <a:pt x="303212" y="0"/>
                  </a:cubicBezTo>
                  <a:cubicBezTo>
                    <a:pt x="383261" y="0"/>
                    <a:pt x="458753" y="1166"/>
                    <a:pt x="515486" y="3259"/>
                  </a:cubicBezTo>
                  <a:cubicBezTo>
                    <a:pt x="606437" y="6619"/>
                    <a:pt x="606437" y="10304"/>
                    <a:pt x="606437" y="14203"/>
                  </a:cubicBezTo>
                  <a:cubicBezTo>
                    <a:pt x="606437" y="18101"/>
                    <a:pt x="606437" y="21724"/>
                    <a:pt x="515486" y="25146"/>
                  </a:cubicBezTo>
                  <a:cubicBezTo>
                    <a:pt x="458677" y="27214"/>
                    <a:pt x="383286" y="28405"/>
                    <a:pt x="303212" y="28405"/>
                  </a:cubicBezTo>
                  <a:close/>
                  <a:moveTo>
                    <a:pt x="14799" y="14165"/>
                  </a:moveTo>
                  <a:cubicBezTo>
                    <a:pt x="47455" y="18314"/>
                    <a:pt x="158028" y="22162"/>
                    <a:pt x="303212" y="22162"/>
                  </a:cubicBezTo>
                  <a:cubicBezTo>
                    <a:pt x="448650" y="22162"/>
                    <a:pt x="559337" y="18302"/>
                    <a:pt x="591803" y="14152"/>
                  </a:cubicBezTo>
                  <a:cubicBezTo>
                    <a:pt x="560073" y="10016"/>
                    <a:pt x="452978" y="6167"/>
                    <a:pt x="303212" y="6167"/>
                  </a:cubicBezTo>
                  <a:cubicBezTo>
                    <a:pt x="158016" y="6167"/>
                    <a:pt x="47455" y="10016"/>
                    <a:pt x="14799" y="14165"/>
                  </a:cubicBezTo>
                  <a:close/>
                </a:path>
              </a:pathLst>
            </a:custGeom>
            <a:solidFill>
              <a:srgbClr val="FFFFFF"/>
            </a:solidFill>
            <a:ln w="12664" cap="flat">
              <a:noFill/>
              <a:prstDash val="solid"/>
              <a:miter/>
            </a:ln>
          </p:spPr>
          <p:txBody>
            <a:bodyPr rtlCol="0" anchor="ctr"/>
            <a:lstStyle/>
            <a:p>
              <a:endParaRPr lang="en-US"/>
            </a:p>
          </p:txBody>
        </p:sp>
        <p:sp>
          <p:nvSpPr>
            <p:cNvPr id="110" name="Freeform 109">
              <a:extLst>
                <a:ext uri="{FF2B5EF4-FFF2-40B4-BE49-F238E27FC236}">
                  <a16:creationId xmlns:a16="http://schemas.microsoft.com/office/drawing/2014/main" id="{7B1D9373-2A89-224A-861A-976DED4476D3}"/>
                </a:ext>
              </a:extLst>
            </p:cNvPr>
            <p:cNvSpPr/>
            <p:nvPr/>
          </p:nvSpPr>
          <p:spPr>
            <a:xfrm>
              <a:off x="7744744" y="835014"/>
              <a:ext cx="600116" cy="22200"/>
            </a:xfrm>
            <a:custGeom>
              <a:avLst/>
              <a:gdLst>
                <a:gd name="connsiteX0" fmla="*/ 600116 w 600116"/>
                <a:gd name="connsiteY0" fmla="*/ 11081 h 22200"/>
                <a:gd name="connsiteX1" fmla="*/ 300065 w 600116"/>
                <a:gd name="connsiteY1" fmla="*/ 22200 h 22200"/>
                <a:gd name="connsiteX2" fmla="*/ 0 w 600116"/>
                <a:gd name="connsiteY2" fmla="*/ 11081 h 22200"/>
                <a:gd name="connsiteX3" fmla="*/ 300065 w 600116"/>
                <a:gd name="connsiteY3" fmla="*/ 0 h 22200"/>
                <a:gd name="connsiteX4" fmla="*/ 600116 w 600116"/>
                <a:gd name="connsiteY4" fmla="*/ 11081 h 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16" h="22200">
                  <a:moveTo>
                    <a:pt x="600116" y="11081"/>
                  </a:moveTo>
                  <a:cubicBezTo>
                    <a:pt x="600116" y="17236"/>
                    <a:pt x="465708" y="22200"/>
                    <a:pt x="300065" y="22200"/>
                  </a:cubicBezTo>
                  <a:cubicBezTo>
                    <a:pt x="134421" y="22200"/>
                    <a:pt x="0" y="17186"/>
                    <a:pt x="0" y="11081"/>
                  </a:cubicBezTo>
                  <a:cubicBezTo>
                    <a:pt x="0" y="4977"/>
                    <a:pt x="134434" y="0"/>
                    <a:pt x="300065" y="0"/>
                  </a:cubicBezTo>
                  <a:cubicBezTo>
                    <a:pt x="465695" y="0"/>
                    <a:pt x="600116" y="5014"/>
                    <a:pt x="600116" y="11081"/>
                  </a:cubicBezTo>
                  <a:close/>
                </a:path>
              </a:pathLst>
            </a:custGeom>
            <a:solidFill>
              <a:srgbClr val="FFFFFF"/>
            </a:solidFill>
            <a:ln w="12664" cap="flat">
              <a:noFill/>
              <a:prstDash val="solid"/>
              <a:miter/>
            </a:ln>
          </p:spPr>
          <p:txBody>
            <a:bodyPr rtlCol="0" anchor="ctr"/>
            <a:lstStyle/>
            <a:p>
              <a:endParaRPr lang="en-US"/>
            </a:p>
          </p:txBody>
        </p:sp>
        <p:sp>
          <p:nvSpPr>
            <p:cNvPr id="111" name="Freeform 110">
              <a:extLst>
                <a:ext uri="{FF2B5EF4-FFF2-40B4-BE49-F238E27FC236}">
                  <a16:creationId xmlns:a16="http://schemas.microsoft.com/office/drawing/2014/main" id="{CAAE3516-6ED9-0042-AD72-15F569C72C0B}"/>
                </a:ext>
              </a:extLst>
            </p:cNvPr>
            <p:cNvSpPr/>
            <p:nvPr/>
          </p:nvSpPr>
          <p:spPr>
            <a:xfrm>
              <a:off x="7741596" y="831918"/>
              <a:ext cx="606398" cy="28392"/>
            </a:xfrm>
            <a:custGeom>
              <a:avLst/>
              <a:gdLst>
                <a:gd name="connsiteX0" fmla="*/ 303212 w 606398"/>
                <a:gd name="connsiteY0" fmla="*/ 28393 h 28392"/>
                <a:gd name="connsiteX1" fmla="*/ 90938 w 606398"/>
                <a:gd name="connsiteY1" fmla="*/ 25121 h 28392"/>
                <a:gd name="connsiteX2" fmla="*/ 0 w 606398"/>
                <a:gd name="connsiteY2" fmla="*/ 14177 h 28392"/>
                <a:gd name="connsiteX3" fmla="*/ 90951 w 606398"/>
                <a:gd name="connsiteY3" fmla="*/ 3247 h 28392"/>
                <a:gd name="connsiteX4" fmla="*/ 303212 w 606398"/>
                <a:gd name="connsiteY4" fmla="*/ 0 h 28392"/>
                <a:gd name="connsiteX5" fmla="*/ 515473 w 606398"/>
                <a:gd name="connsiteY5" fmla="*/ 3259 h 28392"/>
                <a:gd name="connsiteX6" fmla="*/ 606399 w 606398"/>
                <a:gd name="connsiteY6" fmla="*/ 14177 h 28392"/>
                <a:gd name="connsiteX7" fmla="*/ 515473 w 606398"/>
                <a:gd name="connsiteY7" fmla="*/ 25146 h 28392"/>
                <a:gd name="connsiteX8" fmla="*/ 303212 w 606398"/>
                <a:gd name="connsiteY8" fmla="*/ 28393 h 28392"/>
                <a:gd name="connsiteX9" fmla="*/ 14672 w 606398"/>
                <a:gd name="connsiteY9" fmla="*/ 14165 h 28392"/>
                <a:gd name="connsiteX10" fmla="*/ 303212 w 606398"/>
                <a:gd name="connsiteY10" fmla="*/ 22200 h 28392"/>
                <a:gd name="connsiteX11" fmla="*/ 591740 w 606398"/>
                <a:gd name="connsiteY11" fmla="*/ 14203 h 28392"/>
                <a:gd name="connsiteX12" fmla="*/ 303212 w 606398"/>
                <a:gd name="connsiteY12" fmla="*/ 6192 h 28392"/>
                <a:gd name="connsiteX13" fmla="*/ 14672 w 606398"/>
                <a:gd name="connsiteY13" fmla="*/ 14165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398" h="28392">
                  <a:moveTo>
                    <a:pt x="303212" y="28393"/>
                  </a:moveTo>
                  <a:cubicBezTo>
                    <a:pt x="223138" y="28393"/>
                    <a:pt x="147760" y="27239"/>
                    <a:pt x="90938" y="25121"/>
                  </a:cubicBezTo>
                  <a:cubicBezTo>
                    <a:pt x="0" y="21749"/>
                    <a:pt x="0" y="18063"/>
                    <a:pt x="0" y="14177"/>
                  </a:cubicBezTo>
                  <a:cubicBezTo>
                    <a:pt x="0" y="10292"/>
                    <a:pt x="0" y="6656"/>
                    <a:pt x="90951" y="3247"/>
                  </a:cubicBezTo>
                  <a:cubicBezTo>
                    <a:pt x="147697" y="1153"/>
                    <a:pt x="223087" y="0"/>
                    <a:pt x="303212" y="0"/>
                  </a:cubicBezTo>
                  <a:cubicBezTo>
                    <a:pt x="383337" y="0"/>
                    <a:pt x="458600" y="1153"/>
                    <a:pt x="515473" y="3259"/>
                  </a:cubicBezTo>
                  <a:cubicBezTo>
                    <a:pt x="606399" y="6619"/>
                    <a:pt x="606399" y="10292"/>
                    <a:pt x="606399" y="14177"/>
                  </a:cubicBezTo>
                  <a:cubicBezTo>
                    <a:pt x="606399" y="18063"/>
                    <a:pt x="606399" y="21774"/>
                    <a:pt x="515473" y="25146"/>
                  </a:cubicBezTo>
                  <a:cubicBezTo>
                    <a:pt x="458804" y="27239"/>
                    <a:pt x="383426" y="28393"/>
                    <a:pt x="303212" y="28393"/>
                  </a:cubicBezTo>
                  <a:close/>
                  <a:moveTo>
                    <a:pt x="14672" y="14165"/>
                  </a:moveTo>
                  <a:cubicBezTo>
                    <a:pt x="47164" y="18327"/>
                    <a:pt x="157825" y="22200"/>
                    <a:pt x="303212" y="22200"/>
                  </a:cubicBezTo>
                  <a:cubicBezTo>
                    <a:pt x="452978" y="22200"/>
                    <a:pt x="559984" y="18339"/>
                    <a:pt x="591740" y="14203"/>
                  </a:cubicBezTo>
                  <a:cubicBezTo>
                    <a:pt x="559274" y="10053"/>
                    <a:pt x="448599" y="6192"/>
                    <a:pt x="303212" y="6192"/>
                  </a:cubicBezTo>
                  <a:cubicBezTo>
                    <a:pt x="153497" y="6192"/>
                    <a:pt x="46453" y="10066"/>
                    <a:pt x="14672" y="14165"/>
                  </a:cubicBezTo>
                  <a:close/>
                </a:path>
              </a:pathLst>
            </a:custGeom>
            <a:solidFill>
              <a:srgbClr val="FFFFFF"/>
            </a:solidFill>
            <a:ln w="12664" cap="flat">
              <a:noFill/>
              <a:prstDash val="solid"/>
              <a:miter/>
            </a:ln>
          </p:spPr>
          <p:txBody>
            <a:bodyPr rtlCol="0" anchor="ctr"/>
            <a:lstStyle/>
            <a:p>
              <a:endParaRPr lang="en-US"/>
            </a:p>
          </p:txBody>
        </p:sp>
        <p:sp>
          <p:nvSpPr>
            <p:cNvPr id="112" name="Freeform 111">
              <a:extLst>
                <a:ext uri="{FF2B5EF4-FFF2-40B4-BE49-F238E27FC236}">
                  <a16:creationId xmlns:a16="http://schemas.microsoft.com/office/drawing/2014/main" id="{AEB72FB4-A112-A744-88C3-7882B4DD4C57}"/>
                </a:ext>
              </a:extLst>
            </p:cNvPr>
            <p:cNvSpPr/>
            <p:nvPr/>
          </p:nvSpPr>
          <p:spPr>
            <a:xfrm>
              <a:off x="7680662" y="649366"/>
              <a:ext cx="600141" cy="22187"/>
            </a:xfrm>
            <a:custGeom>
              <a:avLst/>
              <a:gdLst>
                <a:gd name="connsiteX0" fmla="*/ 600142 w 600141"/>
                <a:gd name="connsiteY0" fmla="*/ 11081 h 22187"/>
                <a:gd name="connsiteX1" fmla="*/ 300065 w 600141"/>
                <a:gd name="connsiteY1" fmla="*/ 22187 h 22187"/>
                <a:gd name="connsiteX2" fmla="*/ 0 w 600141"/>
                <a:gd name="connsiteY2" fmla="*/ 11081 h 22187"/>
                <a:gd name="connsiteX3" fmla="*/ 300065 w 600141"/>
                <a:gd name="connsiteY3" fmla="*/ 0 h 22187"/>
                <a:gd name="connsiteX4" fmla="*/ 600142 w 600141"/>
                <a:gd name="connsiteY4" fmla="*/ 11081 h 22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41" h="22187">
                  <a:moveTo>
                    <a:pt x="600142" y="11081"/>
                  </a:moveTo>
                  <a:cubicBezTo>
                    <a:pt x="600142" y="17211"/>
                    <a:pt x="465708" y="22187"/>
                    <a:pt x="300065" y="22187"/>
                  </a:cubicBezTo>
                  <a:cubicBezTo>
                    <a:pt x="134421" y="22187"/>
                    <a:pt x="0" y="17173"/>
                    <a:pt x="0" y="11081"/>
                  </a:cubicBezTo>
                  <a:cubicBezTo>
                    <a:pt x="0" y="4989"/>
                    <a:pt x="134434" y="0"/>
                    <a:pt x="300065" y="0"/>
                  </a:cubicBezTo>
                  <a:cubicBezTo>
                    <a:pt x="465695" y="0"/>
                    <a:pt x="600142" y="5014"/>
                    <a:pt x="600142" y="11081"/>
                  </a:cubicBezTo>
                  <a:close/>
                </a:path>
              </a:pathLst>
            </a:custGeom>
            <a:solidFill>
              <a:srgbClr val="FFFFFF"/>
            </a:solidFill>
            <a:ln w="12664" cap="flat">
              <a:noFill/>
              <a:prstDash val="solid"/>
              <a:miter/>
            </a:ln>
          </p:spPr>
          <p:txBody>
            <a:bodyPr rtlCol="0" anchor="ctr"/>
            <a:lstStyle/>
            <a:p>
              <a:endParaRPr lang="en-US"/>
            </a:p>
          </p:txBody>
        </p:sp>
        <p:sp>
          <p:nvSpPr>
            <p:cNvPr id="113" name="Freeform 112">
              <a:extLst>
                <a:ext uri="{FF2B5EF4-FFF2-40B4-BE49-F238E27FC236}">
                  <a16:creationId xmlns:a16="http://schemas.microsoft.com/office/drawing/2014/main" id="{FCA2BBE1-06D8-F74D-AAF6-F0D1B62864E3}"/>
                </a:ext>
              </a:extLst>
            </p:cNvPr>
            <p:cNvSpPr/>
            <p:nvPr/>
          </p:nvSpPr>
          <p:spPr>
            <a:xfrm>
              <a:off x="7677514" y="646257"/>
              <a:ext cx="606424" cy="28392"/>
            </a:xfrm>
            <a:custGeom>
              <a:avLst/>
              <a:gdLst>
                <a:gd name="connsiteX0" fmla="*/ 303212 w 606424"/>
                <a:gd name="connsiteY0" fmla="*/ 28392 h 28392"/>
                <a:gd name="connsiteX1" fmla="*/ 90938 w 606424"/>
                <a:gd name="connsiteY1" fmla="*/ 25121 h 28392"/>
                <a:gd name="connsiteX2" fmla="*/ 0 w 606424"/>
                <a:gd name="connsiteY2" fmla="*/ 14190 h 28392"/>
                <a:gd name="connsiteX3" fmla="*/ 90951 w 606424"/>
                <a:gd name="connsiteY3" fmla="*/ 3259 h 28392"/>
                <a:gd name="connsiteX4" fmla="*/ 303212 w 606424"/>
                <a:gd name="connsiteY4" fmla="*/ 0 h 28392"/>
                <a:gd name="connsiteX5" fmla="*/ 515486 w 606424"/>
                <a:gd name="connsiteY5" fmla="*/ 3272 h 28392"/>
                <a:gd name="connsiteX6" fmla="*/ 606424 w 606424"/>
                <a:gd name="connsiteY6" fmla="*/ 14190 h 28392"/>
                <a:gd name="connsiteX7" fmla="*/ 515486 w 606424"/>
                <a:gd name="connsiteY7" fmla="*/ 25133 h 28392"/>
                <a:gd name="connsiteX8" fmla="*/ 303212 w 606424"/>
                <a:gd name="connsiteY8" fmla="*/ 28392 h 28392"/>
                <a:gd name="connsiteX9" fmla="*/ 14812 w 606424"/>
                <a:gd name="connsiteY9" fmla="*/ 14190 h 28392"/>
                <a:gd name="connsiteX10" fmla="*/ 303212 w 606424"/>
                <a:gd name="connsiteY10" fmla="*/ 22188 h 28392"/>
                <a:gd name="connsiteX11" fmla="*/ 591740 w 606424"/>
                <a:gd name="connsiteY11" fmla="*/ 14215 h 28392"/>
                <a:gd name="connsiteX12" fmla="*/ 303212 w 606424"/>
                <a:gd name="connsiteY12" fmla="*/ 6205 h 28392"/>
                <a:gd name="connsiteX13" fmla="*/ 14812 w 606424"/>
                <a:gd name="connsiteY13" fmla="*/ 14190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424" h="28392">
                  <a:moveTo>
                    <a:pt x="303212" y="28392"/>
                  </a:moveTo>
                  <a:cubicBezTo>
                    <a:pt x="223176" y="28392"/>
                    <a:pt x="147786" y="27227"/>
                    <a:pt x="90938" y="25121"/>
                  </a:cubicBezTo>
                  <a:cubicBezTo>
                    <a:pt x="0" y="21749"/>
                    <a:pt x="0" y="18076"/>
                    <a:pt x="0" y="14190"/>
                  </a:cubicBezTo>
                  <a:cubicBezTo>
                    <a:pt x="0" y="10304"/>
                    <a:pt x="0" y="6669"/>
                    <a:pt x="90951" y="3259"/>
                  </a:cubicBezTo>
                  <a:cubicBezTo>
                    <a:pt x="147748" y="1153"/>
                    <a:pt x="223138" y="0"/>
                    <a:pt x="303212" y="0"/>
                  </a:cubicBezTo>
                  <a:cubicBezTo>
                    <a:pt x="383286" y="0"/>
                    <a:pt x="458575" y="1166"/>
                    <a:pt x="515486" y="3272"/>
                  </a:cubicBezTo>
                  <a:cubicBezTo>
                    <a:pt x="606424" y="6644"/>
                    <a:pt x="606424" y="10304"/>
                    <a:pt x="606424" y="14190"/>
                  </a:cubicBezTo>
                  <a:cubicBezTo>
                    <a:pt x="606424" y="18076"/>
                    <a:pt x="606424" y="21774"/>
                    <a:pt x="515486" y="25133"/>
                  </a:cubicBezTo>
                  <a:cubicBezTo>
                    <a:pt x="458740" y="27239"/>
                    <a:pt x="383362" y="28392"/>
                    <a:pt x="303212" y="28392"/>
                  </a:cubicBezTo>
                  <a:close/>
                  <a:moveTo>
                    <a:pt x="14812" y="14190"/>
                  </a:moveTo>
                  <a:cubicBezTo>
                    <a:pt x="47481" y="18339"/>
                    <a:pt x="158041" y="22188"/>
                    <a:pt x="303212" y="22188"/>
                  </a:cubicBezTo>
                  <a:cubicBezTo>
                    <a:pt x="452914" y="22188"/>
                    <a:pt x="559933" y="18339"/>
                    <a:pt x="591740" y="14215"/>
                  </a:cubicBezTo>
                  <a:cubicBezTo>
                    <a:pt x="559210" y="10053"/>
                    <a:pt x="448561" y="6205"/>
                    <a:pt x="303212" y="6205"/>
                  </a:cubicBezTo>
                  <a:cubicBezTo>
                    <a:pt x="157863" y="6205"/>
                    <a:pt x="47481" y="10041"/>
                    <a:pt x="14812" y="14190"/>
                  </a:cubicBezTo>
                  <a:close/>
                </a:path>
              </a:pathLst>
            </a:custGeom>
            <a:solidFill>
              <a:srgbClr val="FFFFFF"/>
            </a:solidFill>
            <a:ln w="12664" cap="flat">
              <a:noFill/>
              <a:prstDash val="solid"/>
              <a:miter/>
            </a:ln>
          </p:spPr>
          <p:txBody>
            <a:bodyPr rtlCol="0" anchor="ctr"/>
            <a:lstStyle/>
            <a:p>
              <a:endParaRPr lang="en-US"/>
            </a:p>
          </p:txBody>
        </p:sp>
        <p:sp>
          <p:nvSpPr>
            <p:cNvPr id="114" name="Freeform 113">
              <a:extLst>
                <a:ext uri="{FF2B5EF4-FFF2-40B4-BE49-F238E27FC236}">
                  <a16:creationId xmlns:a16="http://schemas.microsoft.com/office/drawing/2014/main" id="{941AAAFA-A490-444B-9CB6-945812D64BE2}"/>
                </a:ext>
              </a:extLst>
            </p:cNvPr>
            <p:cNvSpPr/>
            <p:nvPr/>
          </p:nvSpPr>
          <p:spPr>
            <a:xfrm>
              <a:off x="7794847" y="284166"/>
              <a:ext cx="928959" cy="738994"/>
            </a:xfrm>
            <a:custGeom>
              <a:avLst/>
              <a:gdLst>
                <a:gd name="connsiteX0" fmla="*/ 835862 w 928959"/>
                <a:gd name="connsiteY0" fmla="*/ 129348 h 738994"/>
                <a:gd name="connsiteX1" fmla="*/ 928958 w 928959"/>
                <a:gd name="connsiteY1" fmla="*/ 373724 h 738994"/>
                <a:gd name="connsiteX2" fmla="*/ 687886 w 928959"/>
                <a:gd name="connsiteY2" fmla="*/ 707075 h 738994"/>
                <a:gd name="connsiteX3" fmla="*/ 422255 w 928959"/>
                <a:gd name="connsiteY3" fmla="*/ 738739 h 738994"/>
                <a:gd name="connsiteX4" fmla="*/ 59340 w 928959"/>
                <a:gd name="connsiteY4" fmla="*/ 566442 h 738994"/>
                <a:gd name="connsiteX5" fmla="*/ 36227 w 928959"/>
                <a:gd name="connsiteY5" fmla="*/ 210589 h 738994"/>
                <a:gd name="connsiteX6" fmla="*/ 317571 w 928959"/>
                <a:gd name="connsiteY6" fmla="*/ 11729 h 738994"/>
                <a:gd name="connsiteX7" fmla="*/ 681946 w 928959"/>
                <a:gd name="connsiteY7" fmla="*/ 31485 h 738994"/>
                <a:gd name="connsiteX8" fmla="*/ 835862 w 928959"/>
                <a:gd name="connsiteY8" fmla="*/ 129348 h 73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959" h="738994">
                  <a:moveTo>
                    <a:pt x="835862" y="129348"/>
                  </a:moveTo>
                  <a:cubicBezTo>
                    <a:pt x="896115" y="196817"/>
                    <a:pt x="929237" y="283760"/>
                    <a:pt x="928958" y="373724"/>
                  </a:cubicBezTo>
                  <a:cubicBezTo>
                    <a:pt x="925921" y="523318"/>
                    <a:pt x="830175" y="655713"/>
                    <a:pt x="687886" y="707075"/>
                  </a:cubicBezTo>
                  <a:cubicBezTo>
                    <a:pt x="605502" y="733913"/>
                    <a:pt x="513828" y="740457"/>
                    <a:pt x="422255" y="738739"/>
                  </a:cubicBezTo>
                  <a:cubicBezTo>
                    <a:pt x="276855" y="734716"/>
                    <a:pt x="140403" y="684838"/>
                    <a:pt x="59340" y="566442"/>
                  </a:cubicBezTo>
                  <a:cubicBezTo>
                    <a:pt x="-7725" y="467563"/>
                    <a:pt x="-21432" y="316650"/>
                    <a:pt x="36227" y="210589"/>
                  </a:cubicBezTo>
                  <a:cubicBezTo>
                    <a:pt x="85422" y="102522"/>
                    <a:pt x="197479" y="29968"/>
                    <a:pt x="317571" y="11729"/>
                  </a:cubicBezTo>
                  <a:cubicBezTo>
                    <a:pt x="438981" y="-8966"/>
                    <a:pt x="563560" y="-2211"/>
                    <a:pt x="681946" y="31485"/>
                  </a:cubicBezTo>
                  <a:cubicBezTo>
                    <a:pt x="740568" y="51213"/>
                    <a:pt x="793411" y="84811"/>
                    <a:pt x="835862" y="129348"/>
                  </a:cubicBezTo>
                  <a:close/>
                </a:path>
              </a:pathLst>
            </a:custGeom>
            <a:solidFill>
              <a:srgbClr val="CA0538"/>
            </a:solidFill>
            <a:ln w="12664" cap="flat">
              <a:noFill/>
              <a:prstDash val="solid"/>
              <a:miter/>
            </a:ln>
          </p:spPr>
          <p:txBody>
            <a:bodyPr rtlCol="0" anchor="ctr"/>
            <a:lstStyle/>
            <a:p>
              <a:endParaRPr lang="en-US"/>
            </a:p>
          </p:txBody>
        </p:sp>
        <p:sp>
          <p:nvSpPr>
            <p:cNvPr id="115" name="Freeform 114">
              <a:extLst>
                <a:ext uri="{FF2B5EF4-FFF2-40B4-BE49-F238E27FC236}">
                  <a16:creationId xmlns:a16="http://schemas.microsoft.com/office/drawing/2014/main" id="{CCF36B16-B794-B64D-B0F7-165A28477429}"/>
                </a:ext>
              </a:extLst>
            </p:cNvPr>
            <p:cNvSpPr/>
            <p:nvPr/>
          </p:nvSpPr>
          <p:spPr>
            <a:xfrm>
              <a:off x="7833276" y="310649"/>
              <a:ext cx="674105" cy="476179"/>
            </a:xfrm>
            <a:custGeom>
              <a:avLst/>
              <a:gdLst>
                <a:gd name="connsiteX0" fmla="*/ 674105 w 674105"/>
                <a:gd name="connsiteY0" fmla="*/ 47259 h 476179"/>
                <a:gd name="connsiteX1" fmla="*/ 53199 w 674105"/>
                <a:gd name="connsiteY1" fmla="*/ 164301 h 476179"/>
                <a:gd name="connsiteX2" fmla="*/ 23043 w 674105"/>
                <a:gd name="connsiteY2" fmla="*/ 476180 h 476179"/>
                <a:gd name="connsiteX3" fmla="*/ 674105 w 674105"/>
                <a:gd name="connsiteY3" fmla="*/ 47259 h 476179"/>
              </a:gdLst>
              <a:ahLst/>
              <a:cxnLst>
                <a:cxn ang="0">
                  <a:pos x="connsiteX0" y="connsiteY0"/>
                </a:cxn>
                <a:cxn ang="0">
                  <a:pos x="connsiteX1" y="connsiteY1"/>
                </a:cxn>
                <a:cxn ang="0">
                  <a:pos x="connsiteX2" y="connsiteY2"/>
                </a:cxn>
                <a:cxn ang="0">
                  <a:pos x="connsiteX3" y="connsiteY3"/>
                </a:cxn>
              </a:cxnLst>
              <a:rect l="l" t="t" r="r" b="b"/>
              <a:pathLst>
                <a:path w="674105" h="476179">
                  <a:moveTo>
                    <a:pt x="674105" y="47259"/>
                  </a:moveTo>
                  <a:cubicBezTo>
                    <a:pt x="674105" y="47259"/>
                    <a:pt x="245737" y="-115976"/>
                    <a:pt x="53199" y="164301"/>
                  </a:cubicBezTo>
                  <a:cubicBezTo>
                    <a:pt x="-45202" y="307555"/>
                    <a:pt x="23043" y="476180"/>
                    <a:pt x="23043" y="476180"/>
                  </a:cubicBezTo>
                  <a:cubicBezTo>
                    <a:pt x="23043" y="476180"/>
                    <a:pt x="9323" y="-76226"/>
                    <a:pt x="674105" y="47259"/>
                  </a:cubicBezTo>
                  <a:close/>
                </a:path>
              </a:pathLst>
            </a:custGeom>
            <a:solidFill>
              <a:srgbClr val="FFFFFF"/>
            </a:solidFill>
            <a:ln w="12664" cap="flat">
              <a:noFill/>
              <a:prstDash val="solid"/>
              <a:miter/>
            </a:ln>
          </p:spPr>
          <p:txBody>
            <a:bodyPr rtlCol="0" anchor="ctr"/>
            <a:lstStyle/>
            <a:p>
              <a:endParaRPr lang="en-US"/>
            </a:p>
          </p:txBody>
        </p:sp>
        <p:sp>
          <p:nvSpPr>
            <p:cNvPr id="116" name="Freeform 115">
              <a:extLst>
                <a:ext uri="{FF2B5EF4-FFF2-40B4-BE49-F238E27FC236}">
                  <a16:creationId xmlns:a16="http://schemas.microsoft.com/office/drawing/2014/main" id="{98C11CE3-155B-1D4E-B0D5-7D957FD2A8EA}"/>
                </a:ext>
              </a:extLst>
            </p:cNvPr>
            <p:cNvSpPr/>
            <p:nvPr/>
          </p:nvSpPr>
          <p:spPr>
            <a:xfrm>
              <a:off x="7952138" y="416172"/>
              <a:ext cx="622117" cy="420341"/>
            </a:xfrm>
            <a:custGeom>
              <a:avLst/>
              <a:gdLst>
                <a:gd name="connsiteX0" fmla="*/ 244162 w 622117"/>
                <a:gd name="connsiteY0" fmla="*/ 5265 h 420341"/>
                <a:gd name="connsiteX1" fmla="*/ 190234 w 622117"/>
                <a:gd name="connsiteY1" fmla="*/ 115337 h 420341"/>
                <a:gd name="connsiteX2" fmla="*/ 166119 w 622117"/>
                <a:gd name="connsiteY2" fmla="*/ 372750 h 420341"/>
                <a:gd name="connsiteX3" fmla="*/ 174546 w 622117"/>
                <a:gd name="connsiteY3" fmla="*/ 380271 h 420341"/>
                <a:gd name="connsiteX4" fmla="*/ 219273 w 622117"/>
                <a:gd name="connsiteY4" fmla="*/ 341336 h 420341"/>
                <a:gd name="connsiteX5" fmla="*/ 302545 w 622117"/>
                <a:gd name="connsiteY5" fmla="*/ 23617 h 420341"/>
                <a:gd name="connsiteX6" fmla="*/ 333806 w 622117"/>
                <a:gd name="connsiteY6" fmla="*/ 464 h 420341"/>
                <a:gd name="connsiteX7" fmla="*/ 335633 w 622117"/>
                <a:gd name="connsiteY7" fmla="*/ 7032 h 420341"/>
                <a:gd name="connsiteX8" fmla="*/ 302964 w 622117"/>
                <a:gd name="connsiteY8" fmla="*/ 48950 h 420341"/>
                <a:gd name="connsiteX9" fmla="*/ 293445 w 622117"/>
                <a:gd name="connsiteY9" fmla="*/ 78772 h 420341"/>
                <a:gd name="connsiteX10" fmla="*/ 257717 w 622117"/>
                <a:gd name="connsiteY10" fmla="*/ 371697 h 420341"/>
                <a:gd name="connsiteX11" fmla="*/ 269927 w 622117"/>
                <a:gd name="connsiteY11" fmla="*/ 380221 h 420341"/>
                <a:gd name="connsiteX12" fmla="*/ 308980 w 622117"/>
                <a:gd name="connsiteY12" fmla="*/ 342176 h 420341"/>
                <a:gd name="connsiteX13" fmla="*/ 378228 w 622117"/>
                <a:gd name="connsiteY13" fmla="*/ 200628 h 420341"/>
                <a:gd name="connsiteX14" fmla="*/ 448161 w 622117"/>
                <a:gd name="connsiteY14" fmla="*/ 198221 h 420341"/>
                <a:gd name="connsiteX15" fmla="*/ 429681 w 622117"/>
                <a:gd name="connsiteY15" fmla="*/ 360127 h 420341"/>
                <a:gd name="connsiteX16" fmla="*/ 437030 w 622117"/>
                <a:gd name="connsiteY16" fmla="*/ 382690 h 420341"/>
                <a:gd name="connsiteX17" fmla="*/ 444645 w 622117"/>
                <a:gd name="connsiteY17" fmla="*/ 380885 h 420341"/>
                <a:gd name="connsiteX18" fmla="*/ 491339 w 622117"/>
                <a:gd name="connsiteY18" fmla="*/ 333527 h 420341"/>
                <a:gd name="connsiteX19" fmla="*/ 528362 w 622117"/>
                <a:gd name="connsiteY19" fmla="*/ 108054 h 420341"/>
                <a:gd name="connsiteX20" fmla="*/ 593332 w 622117"/>
                <a:gd name="connsiteY20" fmla="*/ 24331 h 420341"/>
                <a:gd name="connsiteX21" fmla="*/ 580031 w 622117"/>
                <a:gd name="connsiteY21" fmla="*/ 39536 h 420341"/>
                <a:gd name="connsiteX22" fmla="*/ 525455 w 622117"/>
                <a:gd name="connsiteY22" fmla="*/ 215770 h 420341"/>
                <a:gd name="connsiteX23" fmla="*/ 546295 w 622117"/>
                <a:gd name="connsiteY23" fmla="*/ 207522 h 420341"/>
                <a:gd name="connsiteX24" fmla="*/ 590083 w 622117"/>
                <a:gd name="connsiteY24" fmla="*/ 171383 h 420341"/>
                <a:gd name="connsiteX25" fmla="*/ 609717 w 622117"/>
                <a:gd name="connsiteY25" fmla="*/ 190299 h 420341"/>
                <a:gd name="connsiteX26" fmla="*/ 587481 w 622117"/>
                <a:gd name="connsiteY26" fmla="*/ 352167 h 420341"/>
                <a:gd name="connsiteX27" fmla="*/ 515873 w 622117"/>
                <a:gd name="connsiteY27" fmla="*/ 418817 h 420341"/>
                <a:gd name="connsiteX28" fmla="*/ 500642 w 622117"/>
                <a:gd name="connsiteY28" fmla="*/ 417313 h 420341"/>
                <a:gd name="connsiteX29" fmla="*/ 492024 w 622117"/>
                <a:gd name="connsiteY29" fmla="*/ 355990 h 420341"/>
                <a:gd name="connsiteX30" fmla="*/ 489207 w 622117"/>
                <a:gd name="connsiteY30" fmla="*/ 354085 h 420341"/>
                <a:gd name="connsiteX31" fmla="*/ 416862 w 622117"/>
                <a:gd name="connsiteY31" fmla="*/ 419958 h 420341"/>
                <a:gd name="connsiteX32" fmla="*/ 408397 w 622117"/>
                <a:gd name="connsiteY32" fmla="*/ 418015 h 420341"/>
                <a:gd name="connsiteX33" fmla="*/ 398345 w 622117"/>
                <a:gd name="connsiteY33" fmla="*/ 380409 h 420341"/>
                <a:gd name="connsiteX34" fmla="*/ 344175 w 622117"/>
                <a:gd name="connsiteY34" fmla="*/ 420221 h 420341"/>
                <a:gd name="connsiteX35" fmla="*/ 325493 w 622117"/>
                <a:gd name="connsiteY35" fmla="*/ 399989 h 420341"/>
                <a:gd name="connsiteX36" fmla="*/ 310719 w 622117"/>
                <a:gd name="connsiteY36" fmla="*/ 359011 h 420341"/>
                <a:gd name="connsiteX37" fmla="*/ 242182 w 622117"/>
                <a:gd name="connsiteY37" fmla="*/ 419306 h 420341"/>
                <a:gd name="connsiteX38" fmla="*/ 228221 w 622117"/>
                <a:gd name="connsiteY38" fmla="*/ 408852 h 420341"/>
                <a:gd name="connsiteX39" fmla="*/ 220047 w 622117"/>
                <a:gd name="connsiteY39" fmla="*/ 358222 h 420341"/>
                <a:gd name="connsiteX40" fmla="*/ 216240 w 622117"/>
                <a:gd name="connsiteY40" fmla="*/ 359124 h 420341"/>
                <a:gd name="connsiteX41" fmla="*/ 149607 w 622117"/>
                <a:gd name="connsiteY41" fmla="*/ 419406 h 420341"/>
                <a:gd name="connsiteX42" fmla="*/ 136470 w 622117"/>
                <a:gd name="connsiteY42" fmla="*/ 410857 h 420341"/>
                <a:gd name="connsiteX43" fmla="*/ 127586 w 622117"/>
                <a:gd name="connsiteY43" fmla="*/ 346138 h 420341"/>
                <a:gd name="connsiteX44" fmla="*/ 123778 w 622117"/>
                <a:gd name="connsiteY44" fmla="*/ 346138 h 420341"/>
                <a:gd name="connsiteX45" fmla="*/ 29616 w 622117"/>
                <a:gd name="connsiteY45" fmla="*/ 420234 h 420341"/>
                <a:gd name="connsiteX46" fmla="*/ 19298 w 622117"/>
                <a:gd name="connsiteY46" fmla="*/ 412637 h 420341"/>
                <a:gd name="connsiteX47" fmla="*/ 41090 w 622117"/>
                <a:gd name="connsiteY47" fmla="*/ 197368 h 420341"/>
                <a:gd name="connsiteX48" fmla="*/ 83177 w 622117"/>
                <a:gd name="connsiteY48" fmla="*/ 178766 h 420341"/>
                <a:gd name="connsiteX49" fmla="*/ 102367 w 622117"/>
                <a:gd name="connsiteY49" fmla="*/ 208224 h 420341"/>
                <a:gd name="connsiteX50" fmla="*/ 102100 w 622117"/>
                <a:gd name="connsiteY50" fmla="*/ 239136 h 420341"/>
                <a:gd name="connsiteX51" fmla="*/ 36368 w 622117"/>
                <a:gd name="connsiteY51" fmla="*/ 299443 h 420341"/>
                <a:gd name="connsiteX52" fmla="*/ 46167 w 622117"/>
                <a:gd name="connsiteY52" fmla="*/ 383831 h 420341"/>
                <a:gd name="connsiteX53" fmla="*/ 58592 w 622117"/>
                <a:gd name="connsiteY53" fmla="*/ 385649 h 420341"/>
                <a:gd name="connsiteX54" fmla="*/ 60331 w 622117"/>
                <a:gd name="connsiteY54" fmla="*/ 383969 h 420341"/>
                <a:gd name="connsiteX55" fmla="*/ 127954 w 622117"/>
                <a:gd name="connsiteY55" fmla="*/ 320866 h 420341"/>
                <a:gd name="connsiteX56" fmla="*/ 202291 w 622117"/>
                <a:gd name="connsiteY56" fmla="*/ 37681 h 420341"/>
                <a:gd name="connsiteX57" fmla="*/ 243007 w 622117"/>
                <a:gd name="connsiteY57" fmla="*/ 0 h 420341"/>
                <a:gd name="connsiteX58" fmla="*/ 244974 w 622117"/>
                <a:gd name="connsiteY58" fmla="*/ 4024 h 420341"/>
                <a:gd name="connsiteX59" fmla="*/ 244162 w 622117"/>
                <a:gd name="connsiteY59" fmla="*/ 5265 h 420341"/>
                <a:gd name="connsiteX60" fmla="*/ 77224 w 622117"/>
                <a:gd name="connsiteY60" fmla="*/ 185510 h 420341"/>
                <a:gd name="connsiteX61" fmla="*/ 63936 w 622117"/>
                <a:gd name="connsiteY61" fmla="*/ 193821 h 420341"/>
                <a:gd name="connsiteX62" fmla="*/ 39516 w 622117"/>
                <a:gd name="connsiteY62" fmla="*/ 281656 h 420341"/>
                <a:gd name="connsiteX63" fmla="*/ 80448 w 622117"/>
                <a:gd name="connsiteY63" fmla="*/ 246419 h 420341"/>
                <a:gd name="connsiteX64" fmla="*/ 86553 w 622117"/>
                <a:gd name="connsiteY64" fmla="*/ 197770 h 420341"/>
                <a:gd name="connsiteX65" fmla="*/ 77224 w 622117"/>
                <a:gd name="connsiteY65" fmla="*/ 185510 h 420341"/>
                <a:gd name="connsiteX66" fmla="*/ 415111 w 622117"/>
                <a:gd name="connsiteY66" fmla="*/ 203536 h 420341"/>
                <a:gd name="connsiteX67" fmla="*/ 378215 w 622117"/>
                <a:gd name="connsiteY67" fmla="*/ 212574 h 420341"/>
                <a:gd name="connsiteX68" fmla="*/ 346891 w 622117"/>
                <a:gd name="connsiteY68" fmla="*/ 331271 h 420341"/>
                <a:gd name="connsiteX69" fmla="*/ 360611 w 622117"/>
                <a:gd name="connsiteY69" fmla="*/ 381976 h 420341"/>
                <a:gd name="connsiteX70" fmla="*/ 395730 w 622117"/>
                <a:gd name="connsiteY70" fmla="*/ 361681 h 420341"/>
                <a:gd name="connsiteX71" fmla="*/ 416037 w 622117"/>
                <a:gd name="connsiteY71" fmla="*/ 208224 h 420341"/>
                <a:gd name="connsiteX72" fmla="*/ 566146 w 622117"/>
                <a:gd name="connsiteY72" fmla="*/ 207698 h 420341"/>
                <a:gd name="connsiteX73" fmla="*/ 530887 w 622117"/>
                <a:gd name="connsiteY73" fmla="*/ 242997 h 420341"/>
                <a:gd name="connsiteX74" fmla="*/ 529618 w 622117"/>
                <a:gd name="connsiteY74" fmla="*/ 378792 h 420341"/>
                <a:gd name="connsiteX75" fmla="*/ 533324 w 622117"/>
                <a:gd name="connsiteY75" fmla="*/ 388219 h 420341"/>
                <a:gd name="connsiteX76" fmla="*/ 558899 w 622117"/>
                <a:gd name="connsiteY76" fmla="*/ 370995 h 420341"/>
                <a:gd name="connsiteX77" fmla="*/ 581871 w 622117"/>
                <a:gd name="connsiteY77" fmla="*/ 223730 h 420341"/>
                <a:gd name="connsiteX78" fmla="*/ 566158 w 622117"/>
                <a:gd name="connsiteY78" fmla="*/ 207710 h 4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22117" h="420341">
                  <a:moveTo>
                    <a:pt x="244162" y="5265"/>
                  </a:moveTo>
                  <a:cubicBezTo>
                    <a:pt x="206086" y="28342"/>
                    <a:pt x="203801" y="76089"/>
                    <a:pt x="190234" y="115337"/>
                  </a:cubicBezTo>
                  <a:cubicBezTo>
                    <a:pt x="169685" y="194774"/>
                    <a:pt x="154696" y="286444"/>
                    <a:pt x="166119" y="372750"/>
                  </a:cubicBezTo>
                  <a:cubicBezTo>
                    <a:pt x="167666" y="376363"/>
                    <a:pt x="170752" y="379115"/>
                    <a:pt x="174546" y="380271"/>
                  </a:cubicBezTo>
                  <a:cubicBezTo>
                    <a:pt x="191170" y="369352"/>
                    <a:pt x="206217" y="356253"/>
                    <a:pt x="219273" y="341336"/>
                  </a:cubicBezTo>
                  <a:cubicBezTo>
                    <a:pt x="227904" y="228092"/>
                    <a:pt x="248807" y="118709"/>
                    <a:pt x="302545" y="23617"/>
                  </a:cubicBezTo>
                  <a:cubicBezTo>
                    <a:pt x="309823" y="12451"/>
                    <a:pt x="320916" y="4236"/>
                    <a:pt x="333806" y="464"/>
                  </a:cubicBezTo>
                  <a:cubicBezTo>
                    <a:pt x="336636" y="464"/>
                    <a:pt x="337613" y="5165"/>
                    <a:pt x="335633" y="7032"/>
                  </a:cubicBezTo>
                  <a:cubicBezTo>
                    <a:pt x="316443" y="13977"/>
                    <a:pt x="309780" y="30298"/>
                    <a:pt x="302964" y="48950"/>
                  </a:cubicBezTo>
                  <a:cubicBezTo>
                    <a:pt x="299197" y="58697"/>
                    <a:pt x="296018" y="68655"/>
                    <a:pt x="293445" y="78772"/>
                  </a:cubicBezTo>
                  <a:cubicBezTo>
                    <a:pt x="267185" y="170380"/>
                    <a:pt x="246358" y="270399"/>
                    <a:pt x="257717" y="371697"/>
                  </a:cubicBezTo>
                  <a:cubicBezTo>
                    <a:pt x="259570" y="376398"/>
                    <a:pt x="264241" y="382064"/>
                    <a:pt x="269927" y="380221"/>
                  </a:cubicBezTo>
                  <a:cubicBezTo>
                    <a:pt x="285184" y="369996"/>
                    <a:pt x="298419" y="357102"/>
                    <a:pt x="308980" y="342176"/>
                  </a:cubicBezTo>
                  <a:cubicBezTo>
                    <a:pt x="303214" y="285875"/>
                    <a:pt x="329984" y="231155"/>
                    <a:pt x="378228" y="200628"/>
                  </a:cubicBezTo>
                  <a:cubicBezTo>
                    <a:pt x="399780" y="188729"/>
                    <a:pt x="425822" y="187833"/>
                    <a:pt x="448161" y="198221"/>
                  </a:cubicBezTo>
                  <a:cubicBezTo>
                    <a:pt x="436742" y="251477"/>
                    <a:pt x="430553" y="305697"/>
                    <a:pt x="429681" y="360127"/>
                  </a:cubicBezTo>
                  <a:cubicBezTo>
                    <a:pt x="430316" y="366633"/>
                    <a:pt x="429529" y="377915"/>
                    <a:pt x="437030" y="382690"/>
                  </a:cubicBezTo>
                  <a:lnTo>
                    <a:pt x="444645" y="380885"/>
                  </a:lnTo>
                  <a:lnTo>
                    <a:pt x="491339" y="333527"/>
                  </a:lnTo>
                  <a:cubicBezTo>
                    <a:pt x="498793" y="257666"/>
                    <a:pt x="511159" y="182354"/>
                    <a:pt x="528362" y="108054"/>
                  </a:cubicBezTo>
                  <a:cubicBezTo>
                    <a:pt x="539048" y="74435"/>
                    <a:pt x="563899" y="27954"/>
                    <a:pt x="593332" y="24331"/>
                  </a:cubicBezTo>
                  <a:cubicBezTo>
                    <a:pt x="604171" y="33808"/>
                    <a:pt x="592228" y="28092"/>
                    <a:pt x="580031" y="39536"/>
                  </a:cubicBezTo>
                  <a:cubicBezTo>
                    <a:pt x="544722" y="77957"/>
                    <a:pt x="531725" y="152116"/>
                    <a:pt x="525455" y="215770"/>
                  </a:cubicBezTo>
                  <a:cubicBezTo>
                    <a:pt x="532702" y="217738"/>
                    <a:pt x="534073" y="216911"/>
                    <a:pt x="546295" y="207522"/>
                  </a:cubicBezTo>
                  <a:lnTo>
                    <a:pt x="590083" y="171383"/>
                  </a:lnTo>
                  <a:cubicBezTo>
                    <a:pt x="600465" y="170530"/>
                    <a:pt x="606011" y="182765"/>
                    <a:pt x="609717" y="190299"/>
                  </a:cubicBezTo>
                  <a:cubicBezTo>
                    <a:pt x="632199" y="244293"/>
                    <a:pt x="623715" y="306041"/>
                    <a:pt x="587481" y="352167"/>
                  </a:cubicBezTo>
                  <a:cubicBezTo>
                    <a:pt x="569051" y="379470"/>
                    <a:pt x="544562" y="402266"/>
                    <a:pt x="515873" y="418817"/>
                  </a:cubicBezTo>
                  <a:cubicBezTo>
                    <a:pt x="504450" y="422578"/>
                    <a:pt x="501378" y="418002"/>
                    <a:pt x="500642" y="417313"/>
                  </a:cubicBezTo>
                  <a:cubicBezTo>
                    <a:pt x="492227" y="406833"/>
                    <a:pt x="493712" y="378454"/>
                    <a:pt x="492024" y="355990"/>
                  </a:cubicBezTo>
                  <a:lnTo>
                    <a:pt x="489207" y="354085"/>
                  </a:lnTo>
                  <a:lnTo>
                    <a:pt x="416862" y="419958"/>
                  </a:lnTo>
                  <a:cubicBezTo>
                    <a:pt x="414984" y="419958"/>
                    <a:pt x="410059" y="421211"/>
                    <a:pt x="408397" y="418015"/>
                  </a:cubicBezTo>
                  <a:cubicBezTo>
                    <a:pt x="402772" y="406183"/>
                    <a:pt x="399365" y="393442"/>
                    <a:pt x="398345" y="380409"/>
                  </a:cubicBezTo>
                  <a:cubicBezTo>
                    <a:pt x="379307" y="391490"/>
                    <a:pt x="363150" y="409140"/>
                    <a:pt x="344175" y="420221"/>
                  </a:cubicBezTo>
                  <a:cubicBezTo>
                    <a:pt x="333768" y="421061"/>
                    <a:pt x="329084" y="408438"/>
                    <a:pt x="325493" y="399989"/>
                  </a:cubicBezTo>
                  <a:cubicBezTo>
                    <a:pt x="317357" y="379419"/>
                    <a:pt x="316608" y="374655"/>
                    <a:pt x="310719" y="359011"/>
                  </a:cubicBezTo>
                  <a:lnTo>
                    <a:pt x="242182" y="419306"/>
                  </a:lnTo>
                  <a:cubicBezTo>
                    <a:pt x="234567" y="423067"/>
                    <a:pt x="230176" y="414844"/>
                    <a:pt x="228221" y="408852"/>
                  </a:cubicBezTo>
                  <a:cubicBezTo>
                    <a:pt x="224377" y="392170"/>
                    <a:pt x="221646" y="375257"/>
                    <a:pt x="220047" y="358222"/>
                  </a:cubicBezTo>
                  <a:lnTo>
                    <a:pt x="216240" y="359124"/>
                  </a:lnTo>
                  <a:lnTo>
                    <a:pt x="149607" y="419406"/>
                  </a:lnTo>
                  <a:cubicBezTo>
                    <a:pt x="142550" y="421512"/>
                    <a:pt x="139986" y="418755"/>
                    <a:pt x="136470" y="410857"/>
                  </a:cubicBezTo>
                  <a:cubicBezTo>
                    <a:pt x="130416" y="397269"/>
                    <a:pt x="130696" y="366883"/>
                    <a:pt x="127586" y="346138"/>
                  </a:cubicBezTo>
                  <a:lnTo>
                    <a:pt x="123778" y="346138"/>
                  </a:lnTo>
                  <a:cubicBezTo>
                    <a:pt x="92404" y="370193"/>
                    <a:pt x="64722" y="401807"/>
                    <a:pt x="29616" y="420234"/>
                  </a:cubicBezTo>
                  <a:cubicBezTo>
                    <a:pt x="24895" y="421111"/>
                    <a:pt x="21151" y="416473"/>
                    <a:pt x="19298" y="412637"/>
                  </a:cubicBezTo>
                  <a:cubicBezTo>
                    <a:pt x="-11265" y="346777"/>
                    <a:pt x="-6619" y="252185"/>
                    <a:pt x="41090" y="197368"/>
                  </a:cubicBezTo>
                  <a:cubicBezTo>
                    <a:pt x="46839" y="191301"/>
                    <a:pt x="63859" y="170593"/>
                    <a:pt x="83177" y="178766"/>
                  </a:cubicBezTo>
                  <a:cubicBezTo>
                    <a:pt x="94066" y="182527"/>
                    <a:pt x="99169" y="191163"/>
                    <a:pt x="102367" y="208224"/>
                  </a:cubicBezTo>
                  <a:cubicBezTo>
                    <a:pt x="105644" y="218289"/>
                    <a:pt x="105550" y="229128"/>
                    <a:pt x="102100" y="239136"/>
                  </a:cubicBezTo>
                  <a:lnTo>
                    <a:pt x="36368" y="299443"/>
                  </a:lnTo>
                  <a:cubicBezTo>
                    <a:pt x="31891" y="327931"/>
                    <a:pt x="35276" y="357085"/>
                    <a:pt x="46167" y="383831"/>
                  </a:cubicBezTo>
                  <a:cubicBezTo>
                    <a:pt x="49091" y="387721"/>
                    <a:pt x="54653" y="388534"/>
                    <a:pt x="58592" y="385649"/>
                  </a:cubicBezTo>
                  <a:cubicBezTo>
                    <a:pt x="59251" y="385174"/>
                    <a:pt x="59836" y="384608"/>
                    <a:pt x="60331" y="383969"/>
                  </a:cubicBezTo>
                  <a:lnTo>
                    <a:pt x="127954" y="320866"/>
                  </a:lnTo>
                  <a:cubicBezTo>
                    <a:pt x="138298" y="220734"/>
                    <a:pt x="157146" y="123460"/>
                    <a:pt x="202291" y="37681"/>
                  </a:cubicBezTo>
                  <a:cubicBezTo>
                    <a:pt x="207634" y="27791"/>
                    <a:pt x="225365" y="752"/>
                    <a:pt x="243007" y="0"/>
                  </a:cubicBezTo>
                  <a:cubicBezTo>
                    <a:pt x="244671" y="580"/>
                    <a:pt x="245549" y="2377"/>
                    <a:pt x="244974" y="4024"/>
                  </a:cubicBezTo>
                  <a:cubicBezTo>
                    <a:pt x="244800" y="4491"/>
                    <a:pt x="244523" y="4916"/>
                    <a:pt x="244162" y="5265"/>
                  </a:cubicBezTo>
                  <a:close/>
                  <a:moveTo>
                    <a:pt x="77224" y="185510"/>
                  </a:moveTo>
                  <a:cubicBezTo>
                    <a:pt x="72275" y="187374"/>
                    <a:pt x="67757" y="190199"/>
                    <a:pt x="63936" y="193821"/>
                  </a:cubicBezTo>
                  <a:cubicBezTo>
                    <a:pt x="49883" y="221174"/>
                    <a:pt x="41576" y="251051"/>
                    <a:pt x="39516" y="281656"/>
                  </a:cubicBezTo>
                  <a:cubicBezTo>
                    <a:pt x="54645" y="269747"/>
                    <a:pt x="68060" y="257563"/>
                    <a:pt x="80448" y="246419"/>
                  </a:cubicBezTo>
                  <a:lnTo>
                    <a:pt x="86553" y="197770"/>
                  </a:lnTo>
                  <a:cubicBezTo>
                    <a:pt x="89459" y="190311"/>
                    <a:pt x="84776" y="185585"/>
                    <a:pt x="77224" y="185510"/>
                  </a:cubicBezTo>
                  <a:close/>
                  <a:moveTo>
                    <a:pt x="415111" y="203536"/>
                  </a:moveTo>
                  <a:cubicBezTo>
                    <a:pt x="401949" y="195927"/>
                    <a:pt x="388711" y="202746"/>
                    <a:pt x="378215" y="212574"/>
                  </a:cubicBezTo>
                  <a:cubicBezTo>
                    <a:pt x="347754" y="241405"/>
                    <a:pt x="343502" y="289039"/>
                    <a:pt x="346891" y="331271"/>
                  </a:cubicBezTo>
                  <a:cubicBezTo>
                    <a:pt x="346891" y="335307"/>
                    <a:pt x="349125" y="369503"/>
                    <a:pt x="360611" y="381976"/>
                  </a:cubicBezTo>
                  <a:cubicBezTo>
                    <a:pt x="374915" y="383229"/>
                    <a:pt x="386211" y="370030"/>
                    <a:pt x="395730" y="361681"/>
                  </a:cubicBezTo>
                  <a:cubicBezTo>
                    <a:pt x="400921" y="310211"/>
                    <a:pt x="407039" y="258741"/>
                    <a:pt x="416037" y="208224"/>
                  </a:cubicBezTo>
                  <a:close/>
                  <a:moveTo>
                    <a:pt x="566146" y="207698"/>
                  </a:moveTo>
                  <a:cubicBezTo>
                    <a:pt x="549725" y="213795"/>
                    <a:pt x="536837" y="226697"/>
                    <a:pt x="530887" y="242997"/>
                  </a:cubicBezTo>
                  <a:cubicBezTo>
                    <a:pt x="520125" y="285993"/>
                    <a:pt x="527207" y="334768"/>
                    <a:pt x="529618" y="378792"/>
                  </a:cubicBezTo>
                  <a:lnTo>
                    <a:pt x="533324" y="388219"/>
                  </a:lnTo>
                  <a:cubicBezTo>
                    <a:pt x="542615" y="387893"/>
                    <a:pt x="553784" y="376937"/>
                    <a:pt x="558899" y="370995"/>
                  </a:cubicBezTo>
                  <a:cubicBezTo>
                    <a:pt x="596556" y="329628"/>
                    <a:pt x="589969" y="272518"/>
                    <a:pt x="581871" y="223730"/>
                  </a:cubicBezTo>
                  <a:cubicBezTo>
                    <a:pt x="581224" y="219970"/>
                    <a:pt x="579333" y="203749"/>
                    <a:pt x="566158" y="207710"/>
                  </a:cubicBezTo>
                  <a:close/>
                </a:path>
              </a:pathLst>
            </a:custGeom>
            <a:solidFill>
              <a:srgbClr val="1D1D1B"/>
            </a:solidFill>
            <a:ln w="12664" cap="flat">
              <a:noFill/>
              <a:prstDash val="solid"/>
              <a:miter/>
            </a:ln>
          </p:spPr>
          <p:txBody>
            <a:bodyPr rtlCol="0" anchor="ctr"/>
            <a:lstStyle/>
            <a:p>
              <a:endParaRPr lang="en-US"/>
            </a:p>
          </p:txBody>
        </p:sp>
        <p:sp>
          <p:nvSpPr>
            <p:cNvPr id="117" name="Freeform 116">
              <a:extLst>
                <a:ext uri="{FF2B5EF4-FFF2-40B4-BE49-F238E27FC236}">
                  <a16:creationId xmlns:a16="http://schemas.microsoft.com/office/drawing/2014/main" id="{0C90BF94-A2AE-6646-B864-8CDFB1064064}"/>
                </a:ext>
              </a:extLst>
            </p:cNvPr>
            <p:cNvSpPr/>
            <p:nvPr/>
          </p:nvSpPr>
          <p:spPr>
            <a:xfrm>
              <a:off x="7944028" y="412486"/>
              <a:ext cx="622096" cy="420416"/>
            </a:xfrm>
            <a:custGeom>
              <a:avLst/>
              <a:gdLst>
                <a:gd name="connsiteX0" fmla="*/ 244048 w 622096"/>
                <a:gd name="connsiteY0" fmla="*/ 5277 h 420416"/>
                <a:gd name="connsiteX1" fmla="*/ 190170 w 622096"/>
                <a:gd name="connsiteY1" fmla="*/ 115337 h 420416"/>
                <a:gd name="connsiteX2" fmla="*/ 166055 w 622096"/>
                <a:gd name="connsiteY2" fmla="*/ 372775 h 420416"/>
                <a:gd name="connsiteX3" fmla="*/ 174496 w 622096"/>
                <a:gd name="connsiteY3" fmla="*/ 380296 h 420416"/>
                <a:gd name="connsiteX4" fmla="*/ 219273 w 622096"/>
                <a:gd name="connsiteY4" fmla="*/ 341437 h 420416"/>
                <a:gd name="connsiteX5" fmla="*/ 302545 w 622096"/>
                <a:gd name="connsiteY5" fmla="*/ 23667 h 420416"/>
                <a:gd name="connsiteX6" fmla="*/ 333806 w 622096"/>
                <a:gd name="connsiteY6" fmla="*/ 514 h 420416"/>
                <a:gd name="connsiteX7" fmla="*/ 335633 w 622096"/>
                <a:gd name="connsiteY7" fmla="*/ 7095 h 420416"/>
                <a:gd name="connsiteX8" fmla="*/ 302964 w 622096"/>
                <a:gd name="connsiteY8" fmla="*/ 49013 h 420416"/>
                <a:gd name="connsiteX9" fmla="*/ 293445 w 622096"/>
                <a:gd name="connsiteY9" fmla="*/ 78835 h 420416"/>
                <a:gd name="connsiteX10" fmla="*/ 257717 w 622096"/>
                <a:gd name="connsiteY10" fmla="*/ 371772 h 420416"/>
                <a:gd name="connsiteX11" fmla="*/ 269927 w 622096"/>
                <a:gd name="connsiteY11" fmla="*/ 380296 h 420416"/>
                <a:gd name="connsiteX12" fmla="*/ 308980 w 622096"/>
                <a:gd name="connsiteY12" fmla="*/ 342239 h 420416"/>
                <a:gd name="connsiteX13" fmla="*/ 378228 w 622096"/>
                <a:gd name="connsiteY13" fmla="*/ 200690 h 420416"/>
                <a:gd name="connsiteX14" fmla="*/ 448161 w 622096"/>
                <a:gd name="connsiteY14" fmla="*/ 198284 h 420416"/>
                <a:gd name="connsiteX15" fmla="*/ 429681 w 622096"/>
                <a:gd name="connsiteY15" fmla="*/ 360202 h 420416"/>
                <a:gd name="connsiteX16" fmla="*/ 437030 w 622096"/>
                <a:gd name="connsiteY16" fmla="*/ 382766 h 420416"/>
                <a:gd name="connsiteX17" fmla="*/ 444645 w 622096"/>
                <a:gd name="connsiteY17" fmla="*/ 380961 h 420416"/>
                <a:gd name="connsiteX18" fmla="*/ 491339 w 622096"/>
                <a:gd name="connsiteY18" fmla="*/ 333590 h 420416"/>
                <a:gd name="connsiteX19" fmla="*/ 528362 w 622096"/>
                <a:gd name="connsiteY19" fmla="*/ 108092 h 420416"/>
                <a:gd name="connsiteX20" fmla="*/ 593332 w 622096"/>
                <a:gd name="connsiteY20" fmla="*/ 24369 h 420416"/>
                <a:gd name="connsiteX21" fmla="*/ 580031 w 622096"/>
                <a:gd name="connsiteY21" fmla="*/ 39574 h 420416"/>
                <a:gd name="connsiteX22" fmla="*/ 525455 w 622096"/>
                <a:gd name="connsiteY22" fmla="*/ 215808 h 420416"/>
                <a:gd name="connsiteX23" fmla="*/ 546295 w 622096"/>
                <a:gd name="connsiteY23" fmla="*/ 207560 h 420416"/>
                <a:gd name="connsiteX24" fmla="*/ 590083 w 622096"/>
                <a:gd name="connsiteY24" fmla="*/ 171420 h 420416"/>
                <a:gd name="connsiteX25" fmla="*/ 609717 w 622096"/>
                <a:gd name="connsiteY25" fmla="*/ 190324 h 420416"/>
                <a:gd name="connsiteX26" fmla="*/ 587443 w 622096"/>
                <a:gd name="connsiteY26" fmla="*/ 352167 h 420416"/>
                <a:gd name="connsiteX27" fmla="*/ 515835 w 622096"/>
                <a:gd name="connsiteY27" fmla="*/ 418842 h 420416"/>
                <a:gd name="connsiteX28" fmla="*/ 500604 w 622096"/>
                <a:gd name="connsiteY28" fmla="*/ 417338 h 420416"/>
                <a:gd name="connsiteX29" fmla="*/ 491986 w 622096"/>
                <a:gd name="connsiteY29" fmla="*/ 356003 h 420416"/>
                <a:gd name="connsiteX30" fmla="*/ 489169 w 622096"/>
                <a:gd name="connsiteY30" fmla="*/ 354097 h 420416"/>
                <a:gd name="connsiteX31" fmla="*/ 416824 w 622096"/>
                <a:gd name="connsiteY31" fmla="*/ 419983 h 420416"/>
                <a:gd name="connsiteX32" fmla="*/ 408359 w 622096"/>
                <a:gd name="connsiteY32" fmla="*/ 418040 h 420416"/>
                <a:gd name="connsiteX33" fmla="*/ 398307 w 622096"/>
                <a:gd name="connsiteY33" fmla="*/ 380434 h 420416"/>
                <a:gd name="connsiteX34" fmla="*/ 344137 w 622096"/>
                <a:gd name="connsiteY34" fmla="*/ 420246 h 420416"/>
                <a:gd name="connsiteX35" fmla="*/ 325454 w 622096"/>
                <a:gd name="connsiteY35" fmla="*/ 400014 h 420416"/>
                <a:gd name="connsiteX36" fmla="*/ 310681 w 622096"/>
                <a:gd name="connsiteY36" fmla="*/ 359036 h 420416"/>
                <a:gd name="connsiteX37" fmla="*/ 242144 w 622096"/>
                <a:gd name="connsiteY37" fmla="*/ 419331 h 420416"/>
                <a:gd name="connsiteX38" fmla="*/ 228183 w 622096"/>
                <a:gd name="connsiteY38" fmla="*/ 408864 h 420416"/>
                <a:gd name="connsiteX39" fmla="*/ 220009 w 622096"/>
                <a:gd name="connsiteY39" fmla="*/ 358222 h 420416"/>
                <a:gd name="connsiteX40" fmla="*/ 216202 w 622096"/>
                <a:gd name="connsiteY40" fmla="*/ 359149 h 420416"/>
                <a:gd name="connsiteX41" fmla="*/ 149607 w 622096"/>
                <a:gd name="connsiteY41" fmla="*/ 419469 h 420416"/>
                <a:gd name="connsiteX42" fmla="*/ 136470 w 622096"/>
                <a:gd name="connsiteY42" fmla="*/ 410920 h 420416"/>
                <a:gd name="connsiteX43" fmla="*/ 127586 w 622096"/>
                <a:gd name="connsiteY43" fmla="*/ 346188 h 420416"/>
                <a:gd name="connsiteX44" fmla="*/ 123778 w 622096"/>
                <a:gd name="connsiteY44" fmla="*/ 346188 h 420416"/>
                <a:gd name="connsiteX45" fmla="*/ 29616 w 622096"/>
                <a:gd name="connsiteY45" fmla="*/ 420309 h 420416"/>
                <a:gd name="connsiteX46" fmla="*/ 19298 w 622096"/>
                <a:gd name="connsiteY46" fmla="*/ 412713 h 420416"/>
                <a:gd name="connsiteX47" fmla="*/ 41090 w 622096"/>
                <a:gd name="connsiteY47" fmla="*/ 197431 h 420416"/>
                <a:gd name="connsiteX48" fmla="*/ 83177 w 622096"/>
                <a:gd name="connsiteY48" fmla="*/ 178829 h 420416"/>
                <a:gd name="connsiteX49" fmla="*/ 102380 w 622096"/>
                <a:gd name="connsiteY49" fmla="*/ 208287 h 420416"/>
                <a:gd name="connsiteX50" fmla="*/ 102100 w 622096"/>
                <a:gd name="connsiteY50" fmla="*/ 239199 h 420416"/>
                <a:gd name="connsiteX51" fmla="*/ 36368 w 622096"/>
                <a:gd name="connsiteY51" fmla="*/ 299506 h 420416"/>
                <a:gd name="connsiteX52" fmla="*/ 46002 w 622096"/>
                <a:gd name="connsiteY52" fmla="*/ 383906 h 420416"/>
                <a:gd name="connsiteX53" fmla="*/ 58427 w 622096"/>
                <a:gd name="connsiteY53" fmla="*/ 385724 h 420416"/>
                <a:gd name="connsiteX54" fmla="*/ 60166 w 622096"/>
                <a:gd name="connsiteY54" fmla="*/ 384044 h 420416"/>
                <a:gd name="connsiteX55" fmla="*/ 127891 w 622096"/>
                <a:gd name="connsiteY55" fmla="*/ 320866 h 420416"/>
                <a:gd name="connsiteX56" fmla="*/ 202240 w 622096"/>
                <a:gd name="connsiteY56" fmla="*/ 37681 h 420416"/>
                <a:gd name="connsiteX57" fmla="*/ 242956 w 622096"/>
                <a:gd name="connsiteY57" fmla="*/ 0 h 420416"/>
                <a:gd name="connsiteX58" fmla="*/ 244860 w 622096"/>
                <a:gd name="connsiteY58" fmla="*/ 4049 h 420416"/>
                <a:gd name="connsiteX59" fmla="*/ 244048 w 622096"/>
                <a:gd name="connsiteY59" fmla="*/ 5277 h 420416"/>
                <a:gd name="connsiteX60" fmla="*/ 77123 w 622096"/>
                <a:gd name="connsiteY60" fmla="*/ 185523 h 420416"/>
                <a:gd name="connsiteX61" fmla="*/ 63834 w 622096"/>
                <a:gd name="connsiteY61" fmla="*/ 193833 h 420416"/>
                <a:gd name="connsiteX62" fmla="*/ 39415 w 622096"/>
                <a:gd name="connsiteY62" fmla="*/ 281681 h 420416"/>
                <a:gd name="connsiteX63" fmla="*/ 80346 w 622096"/>
                <a:gd name="connsiteY63" fmla="*/ 246444 h 420416"/>
                <a:gd name="connsiteX64" fmla="*/ 86451 w 622096"/>
                <a:gd name="connsiteY64" fmla="*/ 197795 h 420416"/>
                <a:gd name="connsiteX65" fmla="*/ 77123 w 622096"/>
                <a:gd name="connsiteY65" fmla="*/ 185523 h 420416"/>
                <a:gd name="connsiteX66" fmla="*/ 415022 w 622096"/>
                <a:gd name="connsiteY66" fmla="*/ 203548 h 420416"/>
                <a:gd name="connsiteX67" fmla="*/ 378126 w 622096"/>
                <a:gd name="connsiteY67" fmla="*/ 212574 h 420416"/>
                <a:gd name="connsiteX68" fmla="*/ 346815 w 622096"/>
                <a:gd name="connsiteY68" fmla="*/ 331283 h 420416"/>
                <a:gd name="connsiteX69" fmla="*/ 360522 w 622096"/>
                <a:gd name="connsiteY69" fmla="*/ 382001 h 420416"/>
                <a:gd name="connsiteX70" fmla="*/ 395641 w 622096"/>
                <a:gd name="connsiteY70" fmla="*/ 361706 h 420416"/>
                <a:gd name="connsiteX71" fmla="*/ 415948 w 622096"/>
                <a:gd name="connsiteY71" fmla="*/ 208237 h 420416"/>
                <a:gd name="connsiteX72" fmla="*/ 566057 w 622096"/>
                <a:gd name="connsiteY72" fmla="*/ 207710 h 420416"/>
                <a:gd name="connsiteX73" fmla="*/ 530798 w 622096"/>
                <a:gd name="connsiteY73" fmla="*/ 243009 h 420416"/>
                <a:gd name="connsiteX74" fmla="*/ 529529 w 622096"/>
                <a:gd name="connsiteY74" fmla="*/ 378817 h 420416"/>
                <a:gd name="connsiteX75" fmla="*/ 533235 w 622096"/>
                <a:gd name="connsiteY75" fmla="*/ 388244 h 420416"/>
                <a:gd name="connsiteX76" fmla="*/ 558810 w 622096"/>
                <a:gd name="connsiteY76" fmla="*/ 371020 h 420416"/>
                <a:gd name="connsiteX77" fmla="*/ 581795 w 622096"/>
                <a:gd name="connsiteY77" fmla="*/ 223743 h 420416"/>
                <a:gd name="connsiteX78" fmla="*/ 566095 w 622096"/>
                <a:gd name="connsiteY78" fmla="*/ 207710 h 420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22096" h="420416">
                  <a:moveTo>
                    <a:pt x="244048" y="5277"/>
                  </a:moveTo>
                  <a:cubicBezTo>
                    <a:pt x="206061" y="28355"/>
                    <a:pt x="203738" y="76114"/>
                    <a:pt x="190170" y="115337"/>
                  </a:cubicBezTo>
                  <a:cubicBezTo>
                    <a:pt x="169609" y="194786"/>
                    <a:pt x="154633" y="286457"/>
                    <a:pt x="166055" y="372775"/>
                  </a:cubicBezTo>
                  <a:cubicBezTo>
                    <a:pt x="167605" y="376390"/>
                    <a:pt x="170696" y="379144"/>
                    <a:pt x="174496" y="380296"/>
                  </a:cubicBezTo>
                  <a:cubicBezTo>
                    <a:pt x="191129" y="369398"/>
                    <a:pt x="206191" y="356326"/>
                    <a:pt x="219273" y="341437"/>
                  </a:cubicBezTo>
                  <a:cubicBezTo>
                    <a:pt x="227853" y="228143"/>
                    <a:pt x="248757" y="118760"/>
                    <a:pt x="302545" y="23667"/>
                  </a:cubicBezTo>
                  <a:cubicBezTo>
                    <a:pt x="309829" y="12508"/>
                    <a:pt x="320920" y="4295"/>
                    <a:pt x="333806" y="514"/>
                  </a:cubicBezTo>
                  <a:cubicBezTo>
                    <a:pt x="336636" y="514"/>
                    <a:pt x="337613" y="5227"/>
                    <a:pt x="335633" y="7095"/>
                  </a:cubicBezTo>
                  <a:cubicBezTo>
                    <a:pt x="316443" y="14027"/>
                    <a:pt x="309780" y="30361"/>
                    <a:pt x="302964" y="49013"/>
                  </a:cubicBezTo>
                  <a:cubicBezTo>
                    <a:pt x="299197" y="58759"/>
                    <a:pt x="296018" y="68717"/>
                    <a:pt x="293445" y="78835"/>
                  </a:cubicBezTo>
                  <a:cubicBezTo>
                    <a:pt x="267185" y="170443"/>
                    <a:pt x="246358" y="270462"/>
                    <a:pt x="257717" y="371772"/>
                  </a:cubicBezTo>
                  <a:cubicBezTo>
                    <a:pt x="259570" y="376473"/>
                    <a:pt x="264241" y="382139"/>
                    <a:pt x="269927" y="380296"/>
                  </a:cubicBezTo>
                  <a:cubicBezTo>
                    <a:pt x="285184" y="370066"/>
                    <a:pt x="298419" y="357169"/>
                    <a:pt x="308980" y="342239"/>
                  </a:cubicBezTo>
                  <a:cubicBezTo>
                    <a:pt x="303214" y="285938"/>
                    <a:pt x="329984" y="231218"/>
                    <a:pt x="378228" y="200690"/>
                  </a:cubicBezTo>
                  <a:cubicBezTo>
                    <a:pt x="399780" y="188792"/>
                    <a:pt x="425822" y="187895"/>
                    <a:pt x="448161" y="198284"/>
                  </a:cubicBezTo>
                  <a:cubicBezTo>
                    <a:pt x="436742" y="251544"/>
                    <a:pt x="430553" y="305768"/>
                    <a:pt x="429681" y="360202"/>
                  </a:cubicBezTo>
                  <a:cubicBezTo>
                    <a:pt x="430316" y="366708"/>
                    <a:pt x="429529" y="377990"/>
                    <a:pt x="437030" y="382766"/>
                  </a:cubicBezTo>
                  <a:lnTo>
                    <a:pt x="444645" y="380961"/>
                  </a:lnTo>
                  <a:lnTo>
                    <a:pt x="491339" y="333590"/>
                  </a:lnTo>
                  <a:cubicBezTo>
                    <a:pt x="498791" y="257720"/>
                    <a:pt x="511158" y="182400"/>
                    <a:pt x="528362" y="108092"/>
                  </a:cubicBezTo>
                  <a:cubicBezTo>
                    <a:pt x="539048" y="74472"/>
                    <a:pt x="563963" y="27979"/>
                    <a:pt x="593332" y="24369"/>
                  </a:cubicBezTo>
                  <a:cubicBezTo>
                    <a:pt x="604171" y="33845"/>
                    <a:pt x="592228" y="28129"/>
                    <a:pt x="580031" y="39574"/>
                  </a:cubicBezTo>
                  <a:cubicBezTo>
                    <a:pt x="544722" y="77982"/>
                    <a:pt x="531725" y="152154"/>
                    <a:pt x="525455" y="215808"/>
                  </a:cubicBezTo>
                  <a:cubicBezTo>
                    <a:pt x="532702" y="217763"/>
                    <a:pt x="534073" y="216949"/>
                    <a:pt x="546295" y="207560"/>
                  </a:cubicBezTo>
                  <a:lnTo>
                    <a:pt x="590083" y="171420"/>
                  </a:lnTo>
                  <a:cubicBezTo>
                    <a:pt x="600465" y="170568"/>
                    <a:pt x="606011" y="182802"/>
                    <a:pt x="609717" y="190324"/>
                  </a:cubicBezTo>
                  <a:cubicBezTo>
                    <a:pt x="632177" y="244318"/>
                    <a:pt x="623681" y="306053"/>
                    <a:pt x="587443" y="352167"/>
                  </a:cubicBezTo>
                  <a:cubicBezTo>
                    <a:pt x="569021" y="379484"/>
                    <a:pt x="544530" y="402288"/>
                    <a:pt x="515835" y="418842"/>
                  </a:cubicBezTo>
                  <a:cubicBezTo>
                    <a:pt x="504412" y="422603"/>
                    <a:pt x="501340" y="418027"/>
                    <a:pt x="500604" y="417338"/>
                  </a:cubicBezTo>
                  <a:cubicBezTo>
                    <a:pt x="492189" y="406846"/>
                    <a:pt x="493674" y="378479"/>
                    <a:pt x="491986" y="356003"/>
                  </a:cubicBezTo>
                  <a:lnTo>
                    <a:pt x="489169" y="354097"/>
                  </a:lnTo>
                  <a:lnTo>
                    <a:pt x="416824" y="419983"/>
                  </a:lnTo>
                  <a:cubicBezTo>
                    <a:pt x="414946" y="419983"/>
                    <a:pt x="410021" y="421237"/>
                    <a:pt x="408359" y="418040"/>
                  </a:cubicBezTo>
                  <a:cubicBezTo>
                    <a:pt x="402734" y="406208"/>
                    <a:pt x="399327" y="393467"/>
                    <a:pt x="398307" y="380434"/>
                  </a:cubicBezTo>
                  <a:cubicBezTo>
                    <a:pt x="379269" y="391515"/>
                    <a:pt x="363112" y="409165"/>
                    <a:pt x="344137" y="420246"/>
                  </a:cubicBezTo>
                  <a:cubicBezTo>
                    <a:pt x="333730" y="421086"/>
                    <a:pt x="329046" y="408463"/>
                    <a:pt x="325454" y="400014"/>
                  </a:cubicBezTo>
                  <a:cubicBezTo>
                    <a:pt x="317319" y="379444"/>
                    <a:pt x="316570" y="374668"/>
                    <a:pt x="310681" y="359036"/>
                  </a:cubicBezTo>
                  <a:lnTo>
                    <a:pt x="242144" y="419331"/>
                  </a:lnTo>
                  <a:cubicBezTo>
                    <a:pt x="234529" y="423017"/>
                    <a:pt x="230137" y="414869"/>
                    <a:pt x="228183" y="408864"/>
                  </a:cubicBezTo>
                  <a:cubicBezTo>
                    <a:pt x="224332" y="392180"/>
                    <a:pt x="221602" y="375262"/>
                    <a:pt x="220009" y="358222"/>
                  </a:cubicBezTo>
                  <a:lnTo>
                    <a:pt x="216202" y="359149"/>
                  </a:lnTo>
                  <a:lnTo>
                    <a:pt x="149607" y="419469"/>
                  </a:lnTo>
                  <a:cubicBezTo>
                    <a:pt x="142550" y="421575"/>
                    <a:pt x="139986" y="418817"/>
                    <a:pt x="136470" y="410920"/>
                  </a:cubicBezTo>
                  <a:cubicBezTo>
                    <a:pt x="130416" y="397332"/>
                    <a:pt x="130696" y="366946"/>
                    <a:pt x="127586" y="346188"/>
                  </a:cubicBezTo>
                  <a:lnTo>
                    <a:pt x="123778" y="346188"/>
                  </a:lnTo>
                  <a:cubicBezTo>
                    <a:pt x="92404" y="370268"/>
                    <a:pt x="64722" y="401882"/>
                    <a:pt x="29616" y="420309"/>
                  </a:cubicBezTo>
                  <a:cubicBezTo>
                    <a:pt x="24895" y="421186"/>
                    <a:pt x="21151" y="416548"/>
                    <a:pt x="19298" y="412713"/>
                  </a:cubicBezTo>
                  <a:cubicBezTo>
                    <a:pt x="-11265" y="346839"/>
                    <a:pt x="-6619" y="252261"/>
                    <a:pt x="41090" y="197431"/>
                  </a:cubicBezTo>
                  <a:cubicBezTo>
                    <a:pt x="46839" y="191364"/>
                    <a:pt x="63859" y="170656"/>
                    <a:pt x="83177" y="178829"/>
                  </a:cubicBezTo>
                  <a:cubicBezTo>
                    <a:pt x="94066" y="182589"/>
                    <a:pt x="99181" y="191226"/>
                    <a:pt x="102380" y="208287"/>
                  </a:cubicBezTo>
                  <a:cubicBezTo>
                    <a:pt x="105640" y="218355"/>
                    <a:pt x="105542" y="229191"/>
                    <a:pt x="102100" y="239199"/>
                  </a:cubicBezTo>
                  <a:lnTo>
                    <a:pt x="36368" y="299506"/>
                  </a:lnTo>
                  <a:cubicBezTo>
                    <a:pt x="31849" y="327984"/>
                    <a:pt x="35177" y="357137"/>
                    <a:pt x="46002" y="383906"/>
                  </a:cubicBezTo>
                  <a:cubicBezTo>
                    <a:pt x="48926" y="387796"/>
                    <a:pt x="54488" y="388610"/>
                    <a:pt x="58427" y="385724"/>
                  </a:cubicBezTo>
                  <a:cubicBezTo>
                    <a:pt x="59086" y="385249"/>
                    <a:pt x="59671" y="384684"/>
                    <a:pt x="60166" y="384044"/>
                  </a:cubicBezTo>
                  <a:lnTo>
                    <a:pt x="127891" y="320866"/>
                  </a:lnTo>
                  <a:cubicBezTo>
                    <a:pt x="138235" y="220734"/>
                    <a:pt x="157082" y="123460"/>
                    <a:pt x="202240" y="37681"/>
                  </a:cubicBezTo>
                  <a:cubicBezTo>
                    <a:pt x="207584" y="27791"/>
                    <a:pt x="225314" y="752"/>
                    <a:pt x="242956" y="0"/>
                  </a:cubicBezTo>
                  <a:cubicBezTo>
                    <a:pt x="244613" y="600"/>
                    <a:pt x="245466" y="2412"/>
                    <a:pt x="244860" y="4049"/>
                  </a:cubicBezTo>
                  <a:cubicBezTo>
                    <a:pt x="244685" y="4513"/>
                    <a:pt x="244408" y="4933"/>
                    <a:pt x="244048" y="5277"/>
                  </a:cubicBezTo>
                  <a:close/>
                  <a:moveTo>
                    <a:pt x="77123" y="185523"/>
                  </a:moveTo>
                  <a:cubicBezTo>
                    <a:pt x="72174" y="187387"/>
                    <a:pt x="67656" y="190212"/>
                    <a:pt x="63834" y="193833"/>
                  </a:cubicBezTo>
                  <a:cubicBezTo>
                    <a:pt x="49780" y="221191"/>
                    <a:pt x="41473" y="251072"/>
                    <a:pt x="39415" y="281681"/>
                  </a:cubicBezTo>
                  <a:cubicBezTo>
                    <a:pt x="54543" y="269772"/>
                    <a:pt x="67959" y="257588"/>
                    <a:pt x="80346" y="246444"/>
                  </a:cubicBezTo>
                  <a:lnTo>
                    <a:pt x="86451" y="197795"/>
                  </a:lnTo>
                  <a:cubicBezTo>
                    <a:pt x="89383" y="190324"/>
                    <a:pt x="84738" y="185598"/>
                    <a:pt x="77123" y="185523"/>
                  </a:cubicBezTo>
                  <a:close/>
                  <a:moveTo>
                    <a:pt x="415022" y="203548"/>
                  </a:moveTo>
                  <a:cubicBezTo>
                    <a:pt x="401860" y="195939"/>
                    <a:pt x="388623" y="202759"/>
                    <a:pt x="378126" y="212574"/>
                  </a:cubicBezTo>
                  <a:cubicBezTo>
                    <a:pt x="347665" y="241405"/>
                    <a:pt x="343414" y="289039"/>
                    <a:pt x="346815" y="331283"/>
                  </a:cubicBezTo>
                  <a:cubicBezTo>
                    <a:pt x="346815" y="335320"/>
                    <a:pt x="349036" y="369528"/>
                    <a:pt x="360522" y="382001"/>
                  </a:cubicBezTo>
                  <a:cubicBezTo>
                    <a:pt x="374826" y="383255"/>
                    <a:pt x="386122" y="370055"/>
                    <a:pt x="395641" y="361706"/>
                  </a:cubicBezTo>
                  <a:cubicBezTo>
                    <a:pt x="400832" y="310224"/>
                    <a:pt x="406950" y="258754"/>
                    <a:pt x="415948" y="208237"/>
                  </a:cubicBezTo>
                  <a:close/>
                  <a:moveTo>
                    <a:pt x="566057" y="207710"/>
                  </a:moveTo>
                  <a:cubicBezTo>
                    <a:pt x="549631" y="213798"/>
                    <a:pt x="536740" y="226705"/>
                    <a:pt x="530798" y="243009"/>
                  </a:cubicBezTo>
                  <a:cubicBezTo>
                    <a:pt x="520036" y="286006"/>
                    <a:pt x="527118" y="334781"/>
                    <a:pt x="529529" y="378817"/>
                  </a:cubicBezTo>
                  <a:lnTo>
                    <a:pt x="533235" y="388244"/>
                  </a:lnTo>
                  <a:cubicBezTo>
                    <a:pt x="542526" y="387918"/>
                    <a:pt x="553695" y="376962"/>
                    <a:pt x="558810" y="371020"/>
                  </a:cubicBezTo>
                  <a:cubicBezTo>
                    <a:pt x="596467" y="329654"/>
                    <a:pt x="589880" y="272530"/>
                    <a:pt x="581795" y="223743"/>
                  </a:cubicBezTo>
                  <a:cubicBezTo>
                    <a:pt x="581160" y="219982"/>
                    <a:pt x="579257" y="203761"/>
                    <a:pt x="566095" y="207710"/>
                  </a:cubicBezTo>
                  <a:close/>
                </a:path>
              </a:pathLst>
            </a:custGeom>
            <a:solidFill>
              <a:srgbClr val="FFFFFF"/>
            </a:solidFill>
            <a:ln w="12664" cap="flat">
              <a:noFill/>
              <a:prstDash val="solid"/>
              <a:miter/>
            </a:ln>
          </p:spPr>
          <p:txBody>
            <a:bodyPr rtlCol="0" anchor="ctr"/>
            <a:lstStyle/>
            <a:p>
              <a:endParaRPr lang="en-US"/>
            </a:p>
          </p:txBody>
        </p:sp>
      </p:grpSp>
    </p:spTree>
    <p:extLst>
      <p:ext uri="{BB962C8B-B14F-4D97-AF65-F5344CB8AC3E}">
        <p14:creationId xmlns:p14="http://schemas.microsoft.com/office/powerpoint/2010/main" val="174118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dirty="0"/>
              <a:t>Insert Your Title Here</a:t>
            </a:r>
          </a:p>
        </p:txBody>
      </p:sp>
    </p:spTree>
    <p:extLst>
      <p:ext uri="{BB962C8B-B14F-4D97-AF65-F5344CB8AC3E}">
        <p14:creationId xmlns:p14="http://schemas.microsoft.com/office/powerpoint/2010/main" val="180808257"/>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7AF500B-C25C-E649-89E5-D9891EC78C2F}"/>
              </a:ext>
            </a:extLst>
          </p:cNvPr>
          <p:cNvSpPr/>
          <p:nvPr userDrawn="1"/>
        </p:nvSpPr>
        <p:spPr>
          <a:xfrm flipH="1">
            <a:off x="0" y="1"/>
            <a:ext cx="7137400" cy="6431280"/>
          </a:xfrm>
          <a:custGeom>
            <a:avLst/>
            <a:gdLst>
              <a:gd name="connsiteX0" fmla="*/ 0 w 4940290"/>
              <a:gd name="connsiteY0" fmla="*/ 0 h 5367403"/>
              <a:gd name="connsiteX1" fmla="*/ 4940290 w 4940290"/>
              <a:gd name="connsiteY1" fmla="*/ 0 h 5367403"/>
              <a:gd name="connsiteX2" fmla="*/ 4940290 w 4940290"/>
              <a:gd name="connsiteY2" fmla="*/ 5367403 h 5367403"/>
              <a:gd name="connsiteX3" fmla="*/ 0 w 4940290"/>
              <a:gd name="connsiteY3" fmla="*/ 5367403 h 5367403"/>
              <a:gd name="connsiteX4" fmla="*/ 0 w 4940290"/>
              <a:gd name="connsiteY4" fmla="*/ 0 h 5367403"/>
              <a:gd name="connsiteX0" fmla="*/ 1139868 w 6080158"/>
              <a:gd name="connsiteY0" fmla="*/ 0 h 5367403"/>
              <a:gd name="connsiteX1" fmla="*/ 6080158 w 6080158"/>
              <a:gd name="connsiteY1" fmla="*/ 0 h 5367403"/>
              <a:gd name="connsiteX2" fmla="*/ 6080158 w 6080158"/>
              <a:gd name="connsiteY2" fmla="*/ 5367403 h 5367403"/>
              <a:gd name="connsiteX3" fmla="*/ 0 w 6080158"/>
              <a:gd name="connsiteY3" fmla="*/ 5367403 h 5367403"/>
              <a:gd name="connsiteX4" fmla="*/ 1139868 w 6080158"/>
              <a:gd name="connsiteY4" fmla="*/ 0 h 5367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0158" h="5367403">
                <a:moveTo>
                  <a:pt x="1139868" y="0"/>
                </a:moveTo>
                <a:lnTo>
                  <a:pt x="6080158" y="0"/>
                </a:lnTo>
                <a:lnTo>
                  <a:pt x="6080158" y="5367403"/>
                </a:lnTo>
                <a:lnTo>
                  <a:pt x="0" y="5367403"/>
                </a:lnTo>
                <a:lnTo>
                  <a:pt x="1139868" y="0"/>
                </a:lnTo>
                <a:close/>
              </a:path>
            </a:pathLst>
          </a:custGeom>
          <a:solidFill>
            <a:srgbClr val="EFF5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9E684D94-625A-4EEA-AB58-6D4875FA6D15}"/>
              </a:ext>
            </a:extLst>
          </p:cNvPr>
          <p:cNvGraphicFramePr>
            <a:graphicFrameLocks noChangeAspect="1"/>
          </p:cNvGraphicFramePr>
          <p:nvPr userDrawn="1">
            <p:custDataLst>
              <p:tags r:id="rId1"/>
            </p:custDataLst>
            <p:extLst>
              <p:ext uri="{D42A27DB-BD31-4B8C-83A1-F6EECF244321}">
                <p14:modId xmlns:p14="http://schemas.microsoft.com/office/powerpoint/2010/main" val="433688128"/>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9E684D94-625A-4EEA-AB58-6D4875FA6D15}"/>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sp>
        <p:nvSpPr>
          <p:cNvPr id="4" name="Google Shape;30;p4">
            <a:extLst>
              <a:ext uri="{FF2B5EF4-FFF2-40B4-BE49-F238E27FC236}">
                <a16:creationId xmlns:a16="http://schemas.microsoft.com/office/drawing/2014/main" id="{B00CD058-E979-3847-951D-E572702AE66A}"/>
              </a:ext>
            </a:extLst>
          </p:cNvPr>
          <p:cNvSpPr txBox="1">
            <a:spLocks noGrp="1"/>
          </p:cNvSpPr>
          <p:nvPr>
            <p:ph type="title"/>
          </p:nvPr>
        </p:nvSpPr>
        <p:spPr>
          <a:xfrm>
            <a:off x="813782" y="603507"/>
            <a:ext cx="9192065" cy="493775"/>
          </a:xfrm>
          <a:prstGeom prst="rect">
            <a:avLst/>
          </a:prstGeom>
        </p:spPr>
        <p:txBody>
          <a:bodyPr spcFirstLastPara="1" wrap="square" lIns="91425" tIns="91425" rIns="91425" bIns="91425" anchor="ctr" anchorCtr="0">
            <a:noAutofit/>
          </a:bodyPr>
          <a:lstStyle>
            <a:lvl1pPr lvl="0" rtl="0">
              <a:lnSpc>
                <a:spcPct val="115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cxnSp>
        <p:nvCxnSpPr>
          <p:cNvPr id="6" name="Google Shape;44;p6">
            <a:extLst>
              <a:ext uri="{FF2B5EF4-FFF2-40B4-BE49-F238E27FC236}">
                <a16:creationId xmlns:a16="http://schemas.microsoft.com/office/drawing/2014/main" id="{4BEBE899-0004-DF46-8C37-A41BEA43E901}"/>
              </a:ext>
            </a:extLst>
          </p:cNvPr>
          <p:cNvCxnSpPr>
            <a:cxnSpLocks noChangeShapeType="1"/>
          </p:cNvCxnSpPr>
          <p:nvPr userDrawn="1"/>
        </p:nvCxnSpPr>
        <p:spPr bwMode="auto">
          <a:xfrm>
            <a:off x="903818" y="1162050"/>
            <a:ext cx="901700" cy="0"/>
          </a:xfrm>
          <a:prstGeom prst="straightConnector1">
            <a:avLst/>
          </a:prstGeom>
          <a:noFill/>
          <a:ln w="76200">
            <a:solidFill>
              <a:schemeClr val="accent2"/>
            </a:solidFill>
            <a:round/>
            <a:headEnd/>
            <a:tailEnd/>
          </a:ln>
          <a:extLst>
            <a:ext uri="{909E8E84-426E-40DD-AFC4-6F175D3DCCD1}">
              <a14:hiddenFill xmlns:a14="http://schemas.microsoft.com/office/drawing/2010/main">
                <a:noFill/>
              </a14:hiddenFill>
            </a:ext>
          </a:extLst>
        </p:spPr>
      </p:cxnSp>
      <p:sp>
        <p:nvSpPr>
          <p:cNvPr id="7" name="Text Placeholder 3">
            <a:extLst>
              <a:ext uri="{FF2B5EF4-FFF2-40B4-BE49-F238E27FC236}">
                <a16:creationId xmlns:a16="http://schemas.microsoft.com/office/drawing/2014/main" id="{0D7BF20D-DBE6-304B-87D3-FD3B2BC8DD15}"/>
              </a:ext>
            </a:extLst>
          </p:cNvPr>
          <p:cNvSpPr>
            <a:spLocks noGrp="1"/>
          </p:cNvSpPr>
          <p:nvPr>
            <p:ph type="body" sz="quarter" idx="10"/>
          </p:nvPr>
        </p:nvSpPr>
        <p:spPr>
          <a:xfrm>
            <a:off x="813782" y="1323335"/>
            <a:ext cx="9276149"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8" name="Text Placeholder 2">
            <a:extLst>
              <a:ext uri="{FF2B5EF4-FFF2-40B4-BE49-F238E27FC236}">
                <a16:creationId xmlns:a16="http://schemas.microsoft.com/office/drawing/2014/main" id="{017F1C5A-6CEE-D449-81C3-2EC1B970585D}"/>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58862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BD87-B614-4B38-AC7D-BEDD9A0B0EE1}"/>
              </a:ext>
            </a:extLst>
          </p:cNvPr>
          <p:cNvSpPr>
            <a:spLocks noGrp="1"/>
          </p:cNvSpPr>
          <p:nvPr>
            <p:ph type="title"/>
          </p:nvPr>
        </p:nvSpPr>
        <p:spPr>
          <a:xfrm>
            <a:off x="838200" y="365760"/>
            <a:ext cx="10515600" cy="1325880"/>
          </a:xfrm>
          <a:prstGeom prst="rect">
            <a:avLst/>
          </a:prstGeom>
        </p:spPr>
        <p:txBody>
          <a:bodyPr/>
          <a:lstStyle/>
          <a:p>
            <a:r>
              <a:rPr lang="en-US"/>
              <a:t>Click to edit Master title style</a:t>
            </a:r>
            <a:endParaRPr lang="en-DK"/>
          </a:p>
        </p:txBody>
      </p:sp>
    </p:spTree>
    <p:extLst>
      <p:ext uri="{BB962C8B-B14F-4D97-AF65-F5344CB8AC3E}">
        <p14:creationId xmlns:p14="http://schemas.microsoft.com/office/powerpoint/2010/main" val="39863362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14911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CFB2FD-74D7-4387-ABAE-943FC889496E}"/>
              </a:ext>
            </a:extLst>
          </p:cNvPr>
          <p:cNvGraphicFramePr>
            <a:graphicFrameLocks noChangeAspect="1"/>
          </p:cNvGraphicFramePr>
          <p:nvPr userDrawn="1">
            <p:custDataLst>
              <p:tags r:id="rId1"/>
            </p:custDataLst>
            <p:extLst>
              <p:ext uri="{D42A27DB-BD31-4B8C-83A1-F6EECF244321}">
                <p14:modId xmlns:p14="http://schemas.microsoft.com/office/powerpoint/2010/main" val="27583779"/>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FCFB2FD-74D7-4387-ABAE-943FC889496E}"/>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sp>
        <p:nvSpPr>
          <p:cNvPr id="6" name="Google Shape;199;p25">
            <a:extLst>
              <a:ext uri="{FF2B5EF4-FFF2-40B4-BE49-F238E27FC236}">
                <a16:creationId xmlns:a16="http://schemas.microsoft.com/office/drawing/2014/main" id="{089380D5-A088-1B4F-853C-9F26999D9DA5}"/>
              </a:ext>
            </a:extLst>
          </p:cNvPr>
          <p:cNvSpPr/>
          <p:nvPr userDrawn="1"/>
        </p:nvSpPr>
        <p:spPr>
          <a:xfrm flipH="1">
            <a:off x="1" y="0"/>
            <a:ext cx="6288617" cy="6858000"/>
          </a:xfrm>
          <a:prstGeom prst="rect">
            <a:avLst/>
          </a:prstGeom>
          <a:gradFill flip="none" rotWithShape="1">
            <a:gsLst>
              <a:gs pos="56000">
                <a:srgbClr val="5C97BA"/>
              </a:gs>
              <a:gs pos="0">
                <a:srgbClr val="9EC9DF"/>
              </a:gs>
              <a:gs pos="100000">
                <a:srgbClr val="1F6898"/>
              </a:gs>
            </a:gsLst>
            <a:lin ang="6600000" scaled="0"/>
            <a:tileRect/>
          </a:gradFill>
          <a:ln>
            <a:noFill/>
          </a:ln>
        </p:spPr>
        <p:txBody>
          <a:bodyPr spcFirstLastPara="1" lIns="91426" tIns="91426" rIns="91426" bIns="91426" anchor="ctr"/>
          <a:lstStyle/>
          <a:p>
            <a:pPr eaLnBrk="1" fontAlgn="auto" hangingPunct="1">
              <a:spcBef>
                <a:spcPts val="0"/>
              </a:spcBef>
              <a:spcAft>
                <a:spcPts val="0"/>
              </a:spcAft>
              <a:defRPr/>
            </a:pPr>
            <a:endParaRPr sz="1404">
              <a:solidFill>
                <a:schemeClr val="lt1"/>
              </a:solidFill>
              <a:latin typeface="AvenirNext LT Pro Regular" panose="020B0504020202020204" pitchFamily="34" charset="77"/>
            </a:endParaRPr>
          </a:p>
        </p:txBody>
      </p:sp>
      <p:cxnSp>
        <p:nvCxnSpPr>
          <p:cNvPr id="8" name="Google Shape;44;p6">
            <a:extLst>
              <a:ext uri="{FF2B5EF4-FFF2-40B4-BE49-F238E27FC236}">
                <a16:creationId xmlns:a16="http://schemas.microsoft.com/office/drawing/2014/main" id="{FCCE2331-A0AE-6949-9723-18271F880998}"/>
              </a:ext>
            </a:extLst>
          </p:cNvPr>
          <p:cNvCxnSpPr>
            <a:cxnSpLocks/>
          </p:cNvCxnSpPr>
          <p:nvPr userDrawn="1"/>
        </p:nvCxnSpPr>
        <p:spPr bwMode="auto">
          <a:xfrm>
            <a:off x="853018" y="2240280"/>
            <a:ext cx="901700" cy="0"/>
          </a:xfrm>
          <a:prstGeom prst="straightConnector1">
            <a:avLst/>
          </a:prstGeom>
          <a:noFill/>
          <a:ln w="76200">
            <a:solidFill>
              <a:srgbClr val="A9003C"/>
            </a:solidFill>
            <a:round/>
            <a:headEnd/>
            <a:tailEnd/>
          </a:ln>
          <a:extLst>
            <a:ext uri="{909E8E84-426E-40DD-AFC4-6F175D3DCCD1}">
              <a14:hiddenFill xmlns:a14="http://schemas.microsoft.com/office/drawing/2010/main">
                <a:noFill/>
              </a14:hiddenFill>
            </a:ext>
          </a:extLst>
        </p:spPr>
      </p:cxnSp>
      <p:sp>
        <p:nvSpPr>
          <p:cNvPr id="9" name="Oval 8">
            <a:extLst>
              <a:ext uri="{FF2B5EF4-FFF2-40B4-BE49-F238E27FC236}">
                <a16:creationId xmlns:a16="http://schemas.microsoft.com/office/drawing/2014/main" id="{9C6632D6-9445-E04A-A0AE-7649DD8D897E}"/>
              </a:ext>
            </a:extLst>
          </p:cNvPr>
          <p:cNvSpPr>
            <a:spLocks/>
          </p:cNvSpPr>
          <p:nvPr userDrawn="1"/>
        </p:nvSpPr>
        <p:spPr>
          <a:xfrm rot="6883338">
            <a:off x="5472719" y="4198841"/>
            <a:ext cx="1728000" cy="1920000"/>
          </a:xfrm>
          <a:prstGeom prst="ellipse">
            <a:avLst/>
          </a:prstGeom>
          <a:blipFill>
            <a:blip r:embed="rId5"/>
            <a:stretch>
              <a:fillRect l="-3643" t="-31574" r="-154175" b="-12609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4">
              <a:latin typeface="AvenirNext LT Pro Regular" panose="020B0504020202020204" pitchFamily="34" charset="77"/>
            </a:endParaRPr>
          </a:p>
        </p:txBody>
      </p:sp>
      <p:sp>
        <p:nvSpPr>
          <p:cNvPr id="10" name="Graphic 2">
            <a:extLst>
              <a:ext uri="{FF2B5EF4-FFF2-40B4-BE49-F238E27FC236}">
                <a16:creationId xmlns:a16="http://schemas.microsoft.com/office/drawing/2014/main" id="{79312A5D-97A8-EB43-81BA-234CB185FE4B}"/>
              </a:ext>
            </a:extLst>
          </p:cNvPr>
          <p:cNvSpPr/>
          <p:nvPr userDrawn="1"/>
        </p:nvSpPr>
        <p:spPr>
          <a:xfrm rot="10800000">
            <a:off x="1" y="3947653"/>
            <a:ext cx="3165987" cy="2910348"/>
          </a:xfrm>
          <a:custGeom>
            <a:avLst/>
            <a:gdLst>
              <a:gd name="connsiteX0" fmla="*/ 7445899 w 7445898"/>
              <a:gd name="connsiteY0" fmla="*/ 0 h 6858311"/>
              <a:gd name="connsiteX1" fmla="*/ 814055 w 7445898"/>
              <a:gd name="connsiteY1" fmla="*/ 0 h 6858311"/>
              <a:gd name="connsiteX2" fmla="*/ 691476 w 7445898"/>
              <a:gd name="connsiteY2" fmla="*/ 70046 h 6858311"/>
              <a:gd name="connsiteX3" fmla="*/ 69433 w 7445898"/>
              <a:gd name="connsiteY3" fmla="*/ 678643 h 6858311"/>
              <a:gd name="connsiteX4" fmla="*/ 14093 w 7445898"/>
              <a:gd name="connsiteY4" fmla="*/ 1220462 h 6858311"/>
              <a:gd name="connsiteX5" fmla="*/ 1196590 w 7445898"/>
              <a:gd name="connsiteY5" fmla="*/ 2436198 h 6858311"/>
              <a:gd name="connsiteX6" fmla="*/ 1916738 w 7445898"/>
              <a:gd name="connsiteY6" fmla="*/ 2482043 h 6858311"/>
              <a:gd name="connsiteX7" fmla="*/ 3150397 w 7445898"/>
              <a:gd name="connsiteY7" fmla="*/ 3091829 h 6858311"/>
              <a:gd name="connsiteX8" fmla="*/ 4012367 w 7445898"/>
              <a:gd name="connsiteY8" fmla="*/ 4723248 h 6858311"/>
              <a:gd name="connsiteX9" fmla="*/ 5068468 w 7445898"/>
              <a:gd name="connsiteY9" fmla="*/ 6225771 h 6858311"/>
              <a:gd name="connsiteX10" fmla="*/ 6762342 w 7445898"/>
              <a:gd name="connsiteY10" fmla="*/ 6855353 h 6858311"/>
              <a:gd name="connsiteX11" fmla="*/ 7445899 w 7445898"/>
              <a:gd name="connsiteY11" fmla="*/ 6675706 h 68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45898" h="6858311">
                <a:moveTo>
                  <a:pt x="7445899" y="0"/>
                </a:moveTo>
                <a:lnTo>
                  <a:pt x="814055" y="0"/>
                </a:lnTo>
                <a:cubicBezTo>
                  <a:pt x="772956" y="22780"/>
                  <a:pt x="732096" y="46129"/>
                  <a:pt x="691476" y="70046"/>
                </a:cubicBezTo>
                <a:cubicBezTo>
                  <a:pt x="437089" y="220054"/>
                  <a:pt x="183450" y="406335"/>
                  <a:pt x="69433" y="678643"/>
                </a:cubicBezTo>
                <a:cubicBezTo>
                  <a:pt x="2750" y="851036"/>
                  <a:pt x="-16363" y="1038163"/>
                  <a:pt x="14093" y="1220462"/>
                </a:cubicBezTo>
                <a:cubicBezTo>
                  <a:pt x="99251" y="1818761"/>
                  <a:pt x="600495" y="2334263"/>
                  <a:pt x="1196590" y="2436198"/>
                </a:cubicBezTo>
                <a:cubicBezTo>
                  <a:pt x="1433845" y="2476815"/>
                  <a:pt x="1677297" y="2457475"/>
                  <a:pt x="1916738" y="2482043"/>
                </a:cubicBezTo>
                <a:cubicBezTo>
                  <a:pt x="2387473" y="2532139"/>
                  <a:pt x="2824896" y="2748353"/>
                  <a:pt x="3150397" y="3091829"/>
                </a:cubicBezTo>
                <a:cubicBezTo>
                  <a:pt x="3574268" y="3542460"/>
                  <a:pt x="3759732" y="4158656"/>
                  <a:pt x="4012367" y="4723248"/>
                </a:cubicBezTo>
                <a:cubicBezTo>
                  <a:pt x="4264419" y="5286494"/>
                  <a:pt x="4600948" y="5822741"/>
                  <a:pt x="5068468" y="6225771"/>
                </a:cubicBezTo>
                <a:cubicBezTo>
                  <a:pt x="5535988" y="6628800"/>
                  <a:pt x="6145756" y="6889261"/>
                  <a:pt x="6762342" y="6855353"/>
                </a:cubicBezTo>
                <a:cubicBezTo>
                  <a:pt x="7023697" y="6841023"/>
                  <a:pt x="7248596" y="6776961"/>
                  <a:pt x="7445899" y="6675706"/>
                </a:cubicBezTo>
                <a:close/>
              </a:path>
            </a:pathLst>
          </a:custGeom>
          <a:gradFill flip="none" rotWithShape="1">
            <a:gsLst>
              <a:gs pos="65000">
                <a:srgbClr val="9EC9DF">
                  <a:alpha val="38000"/>
                </a:srgbClr>
              </a:gs>
              <a:gs pos="0">
                <a:srgbClr val="1F6898"/>
              </a:gs>
            </a:gsLst>
            <a:lin ang="5400000" scaled="1"/>
            <a:tileRect/>
          </a:gradFill>
          <a:ln w="7476" cap="flat">
            <a:noFill/>
            <a:prstDash val="solid"/>
            <a:miter/>
          </a:ln>
        </p:spPr>
        <p:txBody>
          <a:bodyPr anchor="ctr"/>
          <a:lstStyle/>
          <a:p>
            <a:pPr eaLnBrk="1" fontAlgn="auto" hangingPunct="1">
              <a:spcBef>
                <a:spcPts val="0"/>
              </a:spcBef>
              <a:spcAft>
                <a:spcPts val="0"/>
              </a:spcAft>
              <a:defRPr/>
            </a:pPr>
            <a:endParaRPr lang="en-US" sz="1404">
              <a:latin typeface="AvenirNext LT Pro Regular" panose="020B0504020202020204" pitchFamily="34" charset="77"/>
            </a:endParaRPr>
          </a:p>
        </p:txBody>
      </p:sp>
      <p:sp>
        <p:nvSpPr>
          <p:cNvPr id="11" name="Oval 10">
            <a:extLst>
              <a:ext uri="{FF2B5EF4-FFF2-40B4-BE49-F238E27FC236}">
                <a16:creationId xmlns:a16="http://schemas.microsoft.com/office/drawing/2014/main" id="{33411502-9AEF-184F-A517-C0052BDD2C7B}"/>
              </a:ext>
            </a:extLst>
          </p:cNvPr>
          <p:cNvSpPr/>
          <p:nvPr userDrawn="1"/>
        </p:nvSpPr>
        <p:spPr>
          <a:xfrm>
            <a:off x="5861052" y="1200150"/>
            <a:ext cx="958849" cy="862966"/>
          </a:xfrm>
          <a:prstGeom prst="ellipse">
            <a:avLst/>
          </a:prstGeom>
          <a:noFill/>
          <a:ln w="9525" cap="rnd">
            <a:solidFill>
              <a:srgbClr val="9EC9DF">
                <a:alpha val="42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4">
              <a:latin typeface="AvenirNext LT Pro Regular" panose="020B0504020202020204" pitchFamily="34" charset="77"/>
            </a:endParaRPr>
          </a:p>
        </p:txBody>
      </p:sp>
      <p:sp>
        <p:nvSpPr>
          <p:cNvPr id="12" name="Oval 11">
            <a:extLst>
              <a:ext uri="{FF2B5EF4-FFF2-40B4-BE49-F238E27FC236}">
                <a16:creationId xmlns:a16="http://schemas.microsoft.com/office/drawing/2014/main" id="{18BEE14E-8AD0-AC49-AFEE-7C761E070505}"/>
              </a:ext>
            </a:extLst>
          </p:cNvPr>
          <p:cNvSpPr/>
          <p:nvPr userDrawn="1"/>
        </p:nvSpPr>
        <p:spPr>
          <a:xfrm>
            <a:off x="4121151" y="5716906"/>
            <a:ext cx="960967" cy="864870"/>
          </a:xfrm>
          <a:prstGeom prst="ellipse">
            <a:avLst/>
          </a:prstGeom>
          <a:noFill/>
          <a:ln w="9525" cap="rnd">
            <a:solidFill>
              <a:srgbClr val="9EC9DF">
                <a:alpha val="41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4">
              <a:latin typeface="AvenirNext LT Pro Regular" panose="020B0504020202020204" pitchFamily="34" charset="77"/>
            </a:endParaRPr>
          </a:p>
        </p:txBody>
      </p:sp>
      <p:sp>
        <p:nvSpPr>
          <p:cNvPr id="13" name="Oval 12">
            <a:extLst>
              <a:ext uri="{FF2B5EF4-FFF2-40B4-BE49-F238E27FC236}">
                <a16:creationId xmlns:a16="http://schemas.microsoft.com/office/drawing/2014/main" id="{DD4BFE04-5F0D-DA4B-94A5-221B140D4E66}"/>
              </a:ext>
            </a:extLst>
          </p:cNvPr>
          <p:cNvSpPr/>
          <p:nvPr userDrawn="1"/>
        </p:nvSpPr>
        <p:spPr>
          <a:xfrm>
            <a:off x="4601634" y="4962526"/>
            <a:ext cx="97367" cy="85724"/>
          </a:xfrm>
          <a:prstGeom prst="ellipse">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4">
              <a:latin typeface="AvenirNext LT Pro Regular" panose="020B0504020202020204" pitchFamily="34" charset="77"/>
            </a:endParaRPr>
          </a:p>
        </p:txBody>
      </p:sp>
      <p:sp>
        <p:nvSpPr>
          <p:cNvPr id="4" name="Google Shape;41;p6"/>
          <p:cNvSpPr txBox="1">
            <a:spLocks noGrp="1"/>
          </p:cNvSpPr>
          <p:nvPr>
            <p:ph type="title"/>
          </p:nvPr>
        </p:nvSpPr>
        <p:spPr>
          <a:xfrm>
            <a:off x="760062" y="1324329"/>
            <a:ext cx="4852652" cy="864870"/>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2400"/>
              <a:buNone/>
              <a:defRPr sz="4000" b="1" i="0">
                <a:solidFill>
                  <a:schemeClr val="bg1"/>
                </a:solidFill>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5" name="Google Shape;42;p6"/>
          <p:cNvSpPr txBox="1">
            <a:spLocks noGrp="1"/>
          </p:cNvSpPr>
          <p:nvPr>
            <p:ph type="subTitle" idx="1"/>
          </p:nvPr>
        </p:nvSpPr>
        <p:spPr>
          <a:xfrm>
            <a:off x="760063" y="2528951"/>
            <a:ext cx="3894400" cy="770800"/>
          </a:xfrm>
          <a:prstGeom prst="rect">
            <a:avLst/>
          </a:prstGeom>
        </p:spPr>
        <p:txBody>
          <a:bodyPr spcFirstLastPara="1" wrap="square" lIns="91425" tIns="91425" rIns="91425" bIns="91425" anchor="t" anchorCtr="0">
            <a:noAutofit/>
          </a:bodyPr>
          <a:lstStyle>
            <a:lvl1pPr marL="0" lvl="0" rtl="0">
              <a:spcBef>
                <a:spcPts val="0"/>
              </a:spcBef>
              <a:spcAft>
                <a:spcPts val="0"/>
              </a:spcAft>
              <a:buNone/>
              <a:defRPr sz="1867" b="0" i="0">
                <a:solidFill>
                  <a:schemeClr val="bg1"/>
                </a:solidFill>
                <a:latin typeface="+mn-l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r>
              <a:rPr lang="en-US"/>
              <a:t>Click to edit Master subtitle style</a:t>
            </a:r>
            <a:endParaRPr/>
          </a:p>
        </p:txBody>
      </p:sp>
      <p:sp>
        <p:nvSpPr>
          <p:cNvPr id="7" name="Picture Placeholder 4"/>
          <p:cNvSpPr>
            <a:spLocks noGrp="1"/>
          </p:cNvSpPr>
          <p:nvPr>
            <p:ph type="pic" sz="quarter" idx="10"/>
          </p:nvPr>
        </p:nvSpPr>
        <p:spPr>
          <a:xfrm>
            <a:off x="5810085" y="1833127"/>
            <a:ext cx="5918839" cy="3341143"/>
          </a:xfrm>
          <a:prstGeom prst="rect">
            <a:avLst/>
          </a:prstGeom>
        </p:spPr>
        <p:txBody>
          <a:bodyPr/>
          <a:lstStyle>
            <a:lvl1pPr>
              <a:defRPr b="0" i="0">
                <a:latin typeface="+mn-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383402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ccel="50000" decel="50000" autoRev="1" fill="hold" grpId="0" nodeType="withEffect">
                                  <p:stCondLst>
                                    <p:cond delay="0"/>
                                  </p:stCondLst>
                                  <p:childTnLst>
                                    <p:animScale>
                                      <p:cBhvr>
                                        <p:cTn id="6" dur="5000" fill="hold"/>
                                        <p:tgtEl>
                                          <p:spTgt spid="12"/>
                                        </p:tgtEl>
                                      </p:cBhvr>
                                      <p:by x="125000" y="125000"/>
                                    </p:animScale>
                                  </p:childTnLst>
                                </p:cTn>
                              </p:par>
                              <p:par>
                                <p:cTn id="7" presetID="6" presetClass="emph" presetSubtype="0" repeatCount="indefinite" accel="50000" decel="50000" autoRev="1" fill="hold" grpId="0" nodeType="withEffect">
                                  <p:stCondLst>
                                    <p:cond delay="0"/>
                                  </p:stCondLst>
                                  <p:childTnLst>
                                    <p:animScale>
                                      <p:cBhvr>
                                        <p:cTn id="8" dur="5000" fill="hold"/>
                                        <p:tgtEl>
                                          <p:spTgt spid="11"/>
                                        </p:tgtEl>
                                      </p:cBhvr>
                                      <p:by x="150000" y="150000"/>
                                    </p:animScale>
                                  </p:childTnLst>
                                </p:cTn>
                              </p:par>
                              <p:par>
                                <p:cTn id="9" presetID="6" presetClass="emph" presetSubtype="0" repeatCount="indefinite" accel="50000" decel="50000" autoRev="1" fill="hold" nodeType="withEffect">
                                  <p:stCondLst>
                                    <p:cond delay="0"/>
                                  </p:stCondLst>
                                  <p:childTnLst>
                                    <p:animScale>
                                      <p:cBhvr>
                                        <p:cTn id="10" dur="5000" fill="hold"/>
                                        <p:tgtEl>
                                          <p:spTgt spid="9"/>
                                        </p:tgtEl>
                                      </p:cBhvr>
                                      <p:by x="90000" y="90000"/>
                                    </p:animScale>
                                  </p:childTnLst>
                                </p:cTn>
                              </p:par>
                              <p:par>
                                <p:cTn id="11" presetID="6" presetClass="emph" presetSubtype="0" repeatCount="indefinite" accel="50000" decel="50000" autoRev="1" fill="hold" grpId="0" nodeType="withEffect">
                                  <p:stCondLst>
                                    <p:cond delay="0"/>
                                  </p:stCondLst>
                                  <p:childTnLst>
                                    <p:animScale>
                                      <p:cBhvr>
                                        <p:cTn id="12" dur="5000" fill="hold"/>
                                        <p:tgtEl>
                                          <p:spTgt spid="13"/>
                                        </p:tgtEl>
                                      </p:cBhvr>
                                      <p:by x="66000" y="66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00031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02503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736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31742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20780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6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895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itle Slide 4">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dirty="0"/>
              <a:t>Insert Your Title Here</a:t>
            </a:r>
          </a:p>
        </p:txBody>
      </p:sp>
    </p:spTree>
    <p:extLst>
      <p:ext uri="{BB962C8B-B14F-4D97-AF65-F5344CB8AC3E}">
        <p14:creationId xmlns:p14="http://schemas.microsoft.com/office/powerpoint/2010/main" val="61139069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7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59629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8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283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9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71312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Comparison">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1C4CBE3-86DD-4617-822B-A8644160D7D5}"/>
              </a:ext>
            </a:extLst>
          </p:cNvPr>
          <p:cNvGraphicFramePr>
            <a:graphicFrameLocks noChangeAspect="1"/>
          </p:cNvGraphicFramePr>
          <p:nvPr userDrawn="1">
            <p:custDataLst>
              <p:tags r:id="rId1"/>
            </p:custDataLst>
            <p:extLst>
              <p:ext uri="{D42A27DB-BD31-4B8C-83A1-F6EECF244321}">
                <p14:modId xmlns:p14="http://schemas.microsoft.com/office/powerpoint/2010/main" val="1142149259"/>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51C4CBE3-86DD-4617-822B-A8644160D7D5}"/>
                          </a:ext>
                        </a:extLst>
                      </p:cNvPr>
                      <p:cNvPicPr/>
                      <p:nvPr/>
                    </p:nvPicPr>
                    <p:blipFill>
                      <a:blip r:embed="rId5"/>
                      <a:stretch>
                        <a:fillRect/>
                      </a:stretch>
                    </p:blipFill>
                    <p:spPr>
                      <a:xfrm>
                        <a:off x="2118" y="1905"/>
                        <a:ext cx="2117" cy="1906"/>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28A58F1-F657-E147-A814-69D2AEF08E8C}"/>
              </a:ext>
            </a:extLst>
          </p:cNvPr>
          <p:cNvSpPr/>
          <p:nvPr userDrawn="1"/>
        </p:nvSpPr>
        <p:spPr>
          <a:xfrm>
            <a:off x="0" y="0"/>
            <a:ext cx="12192000" cy="6858000"/>
          </a:xfrm>
          <a:prstGeom prst="rect">
            <a:avLst/>
          </a:prstGeom>
          <a:gradFill>
            <a:gsLst>
              <a:gs pos="22000">
                <a:srgbClr val="1F6898">
                  <a:alpha val="53000"/>
                </a:srgbClr>
              </a:gs>
              <a:gs pos="100000">
                <a:srgbClr val="0F9CD8">
                  <a:alpha val="43000"/>
                </a:srgb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4">
              <a:latin typeface="Avenir Next" panose="020B0503020202020204" pitchFamily="34" charset="0"/>
            </a:endParaRPr>
          </a:p>
        </p:txBody>
      </p:sp>
      <p:sp>
        <p:nvSpPr>
          <p:cNvPr id="5" name="Graphic 2">
            <a:extLst>
              <a:ext uri="{FF2B5EF4-FFF2-40B4-BE49-F238E27FC236}">
                <a16:creationId xmlns:a16="http://schemas.microsoft.com/office/drawing/2014/main" id="{D4AFD6F8-5E7A-A144-B3E9-6C10BB416695}"/>
              </a:ext>
            </a:extLst>
          </p:cNvPr>
          <p:cNvSpPr/>
          <p:nvPr userDrawn="1"/>
        </p:nvSpPr>
        <p:spPr>
          <a:xfrm>
            <a:off x="6460067" y="0"/>
            <a:ext cx="5731933" cy="4756786"/>
          </a:xfrm>
          <a:custGeom>
            <a:avLst/>
            <a:gdLst>
              <a:gd name="connsiteX0" fmla="*/ 7445899 w 7445898"/>
              <a:gd name="connsiteY0" fmla="*/ 0 h 6858311"/>
              <a:gd name="connsiteX1" fmla="*/ 814055 w 7445898"/>
              <a:gd name="connsiteY1" fmla="*/ 0 h 6858311"/>
              <a:gd name="connsiteX2" fmla="*/ 691476 w 7445898"/>
              <a:gd name="connsiteY2" fmla="*/ 70046 h 6858311"/>
              <a:gd name="connsiteX3" fmla="*/ 69433 w 7445898"/>
              <a:gd name="connsiteY3" fmla="*/ 678643 h 6858311"/>
              <a:gd name="connsiteX4" fmla="*/ 14093 w 7445898"/>
              <a:gd name="connsiteY4" fmla="*/ 1220462 h 6858311"/>
              <a:gd name="connsiteX5" fmla="*/ 1196590 w 7445898"/>
              <a:gd name="connsiteY5" fmla="*/ 2436198 h 6858311"/>
              <a:gd name="connsiteX6" fmla="*/ 1916738 w 7445898"/>
              <a:gd name="connsiteY6" fmla="*/ 2482043 h 6858311"/>
              <a:gd name="connsiteX7" fmla="*/ 3150397 w 7445898"/>
              <a:gd name="connsiteY7" fmla="*/ 3091829 h 6858311"/>
              <a:gd name="connsiteX8" fmla="*/ 4012367 w 7445898"/>
              <a:gd name="connsiteY8" fmla="*/ 4723248 h 6858311"/>
              <a:gd name="connsiteX9" fmla="*/ 5068468 w 7445898"/>
              <a:gd name="connsiteY9" fmla="*/ 6225771 h 6858311"/>
              <a:gd name="connsiteX10" fmla="*/ 6762342 w 7445898"/>
              <a:gd name="connsiteY10" fmla="*/ 6855353 h 6858311"/>
              <a:gd name="connsiteX11" fmla="*/ 7445899 w 7445898"/>
              <a:gd name="connsiteY11" fmla="*/ 6675706 h 68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45898" h="6858311">
                <a:moveTo>
                  <a:pt x="7445899" y="0"/>
                </a:moveTo>
                <a:lnTo>
                  <a:pt x="814055" y="0"/>
                </a:lnTo>
                <a:cubicBezTo>
                  <a:pt x="772956" y="22780"/>
                  <a:pt x="732096" y="46129"/>
                  <a:pt x="691476" y="70046"/>
                </a:cubicBezTo>
                <a:cubicBezTo>
                  <a:pt x="437089" y="220054"/>
                  <a:pt x="183450" y="406335"/>
                  <a:pt x="69433" y="678643"/>
                </a:cubicBezTo>
                <a:cubicBezTo>
                  <a:pt x="2750" y="851036"/>
                  <a:pt x="-16363" y="1038163"/>
                  <a:pt x="14093" y="1220462"/>
                </a:cubicBezTo>
                <a:cubicBezTo>
                  <a:pt x="99251" y="1818761"/>
                  <a:pt x="600495" y="2334263"/>
                  <a:pt x="1196590" y="2436198"/>
                </a:cubicBezTo>
                <a:cubicBezTo>
                  <a:pt x="1433845" y="2476815"/>
                  <a:pt x="1677297" y="2457475"/>
                  <a:pt x="1916738" y="2482043"/>
                </a:cubicBezTo>
                <a:cubicBezTo>
                  <a:pt x="2387473" y="2532139"/>
                  <a:pt x="2824896" y="2748353"/>
                  <a:pt x="3150397" y="3091829"/>
                </a:cubicBezTo>
                <a:cubicBezTo>
                  <a:pt x="3574268" y="3542460"/>
                  <a:pt x="3759732" y="4158656"/>
                  <a:pt x="4012367" y="4723248"/>
                </a:cubicBezTo>
                <a:cubicBezTo>
                  <a:pt x="4264419" y="5286494"/>
                  <a:pt x="4600948" y="5822741"/>
                  <a:pt x="5068468" y="6225771"/>
                </a:cubicBezTo>
                <a:cubicBezTo>
                  <a:pt x="5535988" y="6628800"/>
                  <a:pt x="6145756" y="6889261"/>
                  <a:pt x="6762342" y="6855353"/>
                </a:cubicBezTo>
                <a:cubicBezTo>
                  <a:pt x="7023697" y="6841023"/>
                  <a:pt x="7248596" y="6776961"/>
                  <a:pt x="7445899" y="6675706"/>
                </a:cubicBezTo>
                <a:close/>
              </a:path>
            </a:pathLst>
          </a:custGeom>
          <a:gradFill>
            <a:gsLst>
              <a:gs pos="0">
                <a:srgbClr val="9EC9DF">
                  <a:alpha val="0"/>
                </a:srgbClr>
              </a:gs>
              <a:gs pos="100000">
                <a:srgbClr val="1F6898"/>
              </a:gs>
            </a:gsLst>
            <a:lin ang="0" scaled="0"/>
          </a:gradFill>
          <a:ln w="7476" cap="flat">
            <a:noFill/>
            <a:prstDash val="solid"/>
            <a:miter/>
          </a:ln>
        </p:spPr>
        <p:txBody>
          <a:bodyPr anchor="ctr"/>
          <a:lstStyle/>
          <a:p>
            <a:pPr eaLnBrk="1" fontAlgn="auto" hangingPunct="1">
              <a:spcBef>
                <a:spcPts val="0"/>
              </a:spcBef>
              <a:spcAft>
                <a:spcPts val="0"/>
              </a:spcAft>
              <a:defRPr/>
            </a:pPr>
            <a:endParaRPr lang="en-US" sz="1404">
              <a:latin typeface="Avenir Next" panose="020B0503020202020204" pitchFamily="34" charset="0"/>
            </a:endParaRPr>
          </a:p>
        </p:txBody>
      </p:sp>
      <p:sp>
        <p:nvSpPr>
          <p:cNvPr id="6" name="Graphic 2">
            <a:extLst>
              <a:ext uri="{FF2B5EF4-FFF2-40B4-BE49-F238E27FC236}">
                <a16:creationId xmlns:a16="http://schemas.microsoft.com/office/drawing/2014/main" id="{39CAD37F-A867-0246-8B2B-07050E913462}"/>
              </a:ext>
            </a:extLst>
          </p:cNvPr>
          <p:cNvSpPr/>
          <p:nvPr userDrawn="1"/>
        </p:nvSpPr>
        <p:spPr>
          <a:xfrm rot="10800000">
            <a:off x="0" y="3947160"/>
            <a:ext cx="3166533" cy="2910840"/>
          </a:xfrm>
          <a:custGeom>
            <a:avLst/>
            <a:gdLst>
              <a:gd name="connsiteX0" fmla="*/ 7445899 w 7445898"/>
              <a:gd name="connsiteY0" fmla="*/ 0 h 6858311"/>
              <a:gd name="connsiteX1" fmla="*/ 814055 w 7445898"/>
              <a:gd name="connsiteY1" fmla="*/ 0 h 6858311"/>
              <a:gd name="connsiteX2" fmla="*/ 691476 w 7445898"/>
              <a:gd name="connsiteY2" fmla="*/ 70046 h 6858311"/>
              <a:gd name="connsiteX3" fmla="*/ 69433 w 7445898"/>
              <a:gd name="connsiteY3" fmla="*/ 678643 h 6858311"/>
              <a:gd name="connsiteX4" fmla="*/ 14093 w 7445898"/>
              <a:gd name="connsiteY4" fmla="*/ 1220462 h 6858311"/>
              <a:gd name="connsiteX5" fmla="*/ 1196590 w 7445898"/>
              <a:gd name="connsiteY5" fmla="*/ 2436198 h 6858311"/>
              <a:gd name="connsiteX6" fmla="*/ 1916738 w 7445898"/>
              <a:gd name="connsiteY6" fmla="*/ 2482043 h 6858311"/>
              <a:gd name="connsiteX7" fmla="*/ 3150397 w 7445898"/>
              <a:gd name="connsiteY7" fmla="*/ 3091829 h 6858311"/>
              <a:gd name="connsiteX8" fmla="*/ 4012367 w 7445898"/>
              <a:gd name="connsiteY8" fmla="*/ 4723248 h 6858311"/>
              <a:gd name="connsiteX9" fmla="*/ 5068468 w 7445898"/>
              <a:gd name="connsiteY9" fmla="*/ 6225771 h 6858311"/>
              <a:gd name="connsiteX10" fmla="*/ 6762342 w 7445898"/>
              <a:gd name="connsiteY10" fmla="*/ 6855353 h 6858311"/>
              <a:gd name="connsiteX11" fmla="*/ 7445899 w 7445898"/>
              <a:gd name="connsiteY11" fmla="*/ 6675706 h 68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45898" h="6858311">
                <a:moveTo>
                  <a:pt x="7445899" y="0"/>
                </a:moveTo>
                <a:lnTo>
                  <a:pt x="814055" y="0"/>
                </a:lnTo>
                <a:cubicBezTo>
                  <a:pt x="772956" y="22780"/>
                  <a:pt x="732096" y="46129"/>
                  <a:pt x="691476" y="70046"/>
                </a:cubicBezTo>
                <a:cubicBezTo>
                  <a:pt x="437089" y="220054"/>
                  <a:pt x="183450" y="406335"/>
                  <a:pt x="69433" y="678643"/>
                </a:cubicBezTo>
                <a:cubicBezTo>
                  <a:pt x="2750" y="851036"/>
                  <a:pt x="-16363" y="1038163"/>
                  <a:pt x="14093" y="1220462"/>
                </a:cubicBezTo>
                <a:cubicBezTo>
                  <a:pt x="99251" y="1818761"/>
                  <a:pt x="600495" y="2334263"/>
                  <a:pt x="1196590" y="2436198"/>
                </a:cubicBezTo>
                <a:cubicBezTo>
                  <a:pt x="1433845" y="2476815"/>
                  <a:pt x="1677297" y="2457475"/>
                  <a:pt x="1916738" y="2482043"/>
                </a:cubicBezTo>
                <a:cubicBezTo>
                  <a:pt x="2387473" y="2532139"/>
                  <a:pt x="2824896" y="2748353"/>
                  <a:pt x="3150397" y="3091829"/>
                </a:cubicBezTo>
                <a:cubicBezTo>
                  <a:pt x="3574268" y="3542460"/>
                  <a:pt x="3759732" y="4158656"/>
                  <a:pt x="4012367" y="4723248"/>
                </a:cubicBezTo>
                <a:cubicBezTo>
                  <a:pt x="4264419" y="5286494"/>
                  <a:pt x="4600948" y="5822741"/>
                  <a:pt x="5068468" y="6225771"/>
                </a:cubicBezTo>
                <a:cubicBezTo>
                  <a:pt x="5535988" y="6628800"/>
                  <a:pt x="6145756" y="6889261"/>
                  <a:pt x="6762342" y="6855353"/>
                </a:cubicBezTo>
                <a:cubicBezTo>
                  <a:pt x="7023697" y="6841023"/>
                  <a:pt x="7248596" y="6776961"/>
                  <a:pt x="7445899" y="6675706"/>
                </a:cubicBezTo>
                <a:close/>
              </a:path>
            </a:pathLst>
          </a:custGeom>
          <a:gradFill flip="none" rotWithShape="1">
            <a:gsLst>
              <a:gs pos="0">
                <a:srgbClr val="9EC9DF">
                  <a:alpha val="0"/>
                </a:srgbClr>
              </a:gs>
              <a:gs pos="100000">
                <a:srgbClr val="1F6898"/>
              </a:gs>
            </a:gsLst>
            <a:lin ang="5400000" scaled="1"/>
            <a:tileRect/>
          </a:gradFill>
          <a:ln w="7476" cap="flat">
            <a:noFill/>
            <a:prstDash val="solid"/>
            <a:miter/>
          </a:ln>
        </p:spPr>
        <p:txBody>
          <a:bodyPr anchor="ctr"/>
          <a:lstStyle/>
          <a:p>
            <a:pPr eaLnBrk="1" fontAlgn="auto" hangingPunct="1">
              <a:spcBef>
                <a:spcPts val="0"/>
              </a:spcBef>
              <a:spcAft>
                <a:spcPts val="0"/>
              </a:spcAft>
              <a:defRPr/>
            </a:pPr>
            <a:endParaRPr lang="en-US" sz="1404">
              <a:latin typeface="Avenir Next" panose="020B0503020202020204" pitchFamily="34" charset="0"/>
            </a:endParaRPr>
          </a:p>
        </p:txBody>
      </p:sp>
      <p:sp>
        <p:nvSpPr>
          <p:cNvPr id="7" name="Google Shape;124;p20">
            <a:extLst>
              <a:ext uri="{FF2B5EF4-FFF2-40B4-BE49-F238E27FC236}">
                <a16:creationId xmlns:a16="http://schemas.microsoft.com/office/drawing/2014/main" id="{5B5C416E-077C-5845-A384-5534A47390BB}"/>
              </a:ext>
            </a:extLst>
          </p:cNvPr>
          <p:cNvSpPr txBox="1">
            <a:spLocks noGrp="1"/>
          </p:cNvSpPr>
          <p:nvPr>
            <p:ph type="title"/>
          </p:nvPr>
        </p:nvSpPr>
        <p:spPr>
          <a:xfrm>
            <a:off x="3362433" y="1932400"/>
            <a:ext cx="5467200" cy="1976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4800" b="1" i="0">
                <a:solidFill>
                  <a:schemeClr val="bg1"/>
                </a:solidFill>
                <a:latin typeface="+mj-lt"/>
              </a:defRPr>
            </a:lvl1pPr>
            <a:lvl2pPr lvl="1" algn="r" rtl="0">
              <a:spcBef>
                <a:spcPts val="0"/>
              </a:spcBef>
              <a:spcAft>
                <a:spcPts val="0"/>
              </a:spcAft>
              <a:buSzPts val="4200"/>
              <a:buNone/>
              <a:defRPr sz="5600"/>
            </a:lvl2pPr>
            <a:lvl3pPr lvl="2" algn="r" rtl="0">
              <a:spcBef>
                <a:spcPts val="0"/>
              </a:spcBef>
              <a:spcAft>
                <a:spcPts val="0"/>
              </a:spcAft>
              <a:buSzPts val="4200"/>
              <a:buNone/>
              <a:defRPr sz="5600"/>
            </a:lvl3pPr>
            <a:lvl4pPr lvl="3" algn="r" rtl="0">
              <a:spcBef>
                <a:spcPts val="0"/>
              </a:spcBef>
              <a:spcAft>
                <a:spcPts val="0"/>
              </a:spcAft>
              <a:buSzPts val="4200"/>
              <a:buNone/>
              <a:defRPr sz="5600"/>
            </a:lvl4pPr>
            <a:lvl5pPr lvl="4" algn="r" rtl="0">
              <a:spcBef>
                <a:spcPts val="0"/>
              </a:spcBef>
              <a:spcAft>
                <a:spcPts val="0"/>
              </a:spcAft>
              <a:buSzPts val="4200"/>
              <a:buNone/>
              <a:defRPr sz="5600"/>
            </a:lvl5pPr>
            <a:lvl6pPr lvl="5" algn="r" rtl="0">
              <a:spcBef>
                <a:spcPts val="0"/>
              </a:spcBef>
              <a:spcAft>
                <a:spcPts val="0"/>
              </a:spcAft>
              <a:buSzPts val="4200"/>
              <a:buNone/>
              <a:defRPr sz="5600"/>
            </a:lvl6pPr>
            <a:lvl7pPr lvl="6" algn="r" rtl="0">
              <a:spcBef>
                <a:spcPts val="0"/>
              </a:spcBef>
              <a:spcAft>
                <a:spcPts val="0"/>
              </a:spcAft>
              <a:buSzPts val="4200"/>
              <a:buNone/>
              <a:defRPr sz="5600"/>
            </a:lvl7pPr>
            <a:lvl8pPr lvl="7" algn="r" rtl="0">
              <a:spcBef>
                <a:spcPts val="0"/>
              </a:spcBef>
              <a:spcAft>
                <a:spcPts val="0"/>
              </a:spcAft>
              <a:buSzPts val="4200"/>
              <a:buNone/>
              <a:defRPr sz="5600"/>
            </a:lvl8pPr>
            <a:lvl9pPr lvl="8" algn="r" rtl="0">
              <a:spcBef>
                <a:spcPts val="0"/>
              </a:spcBef>
              <a:spcAft>
                <a:spcPts val="0"/>
              </a:spcAft>
              <a:buSzPts val="4200"/>
              <a:buNone/>
              <a:defRPr sz="5600"/>
            </a:lvl9pPr>
          </a:lstStyle>
          <a:p>
            <a:endParaRPr dirty="0"/>
          </a:p>
        </p:txBody>
      </p:sp>
      <p:sp>
        <p:nvSpPr>
          <p:cNvPr id="8" name="Google Shape;125;p20">
            <a:extLst>
              <a:ext uri="{FF2B5EF4-FFF2-40B4-BE49-F238E27FC236}">
                <a16:creationId xmlns:a16="http://schemas.microsoft.com/office/drawing/2014/main" id="{C785F0BF-9728-2A44-BF4B-9F79D3CCD01D}"/>
              </a:ext>
            </a:extLst>
          </p:cNvPr>
          <p:cNvSpPr txBox="1">
            <a:spLocks noGrp="1"/>
          </p:cNvSpPr>
          <p:nvPr>
            <p:ph type="subTitle" idx="1"/>
          </p:nvPr>
        </p:nvSpPr>
        <p:spPr>
          <a:xfrm>
            <a:off x="3541667" y="3908802"/>
            <a:ext cx="5108800" cy="101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867" b="0" i="0">
                <a:solidFill>
                  <a:schemeClr val="lt1"/>
                </a:solidFill>
                <a:latin typeface="+mn-lt"/>
              </a:defRPr>
            </a:lvl1pPr>
            <a:lvl2pPr lvl="1" rtl="0">
              <a:lnSpc>
                <a:spcPct val="100000"/>
              </a:lnSpc>
              <a:spcBef>
                <a:spcPts val="0"/>
              </a:spcBef>
              <a:spcAft>
                <a:spcPts val="0"/>
              </a:spcAft>
              <a:buSzPts val="2100"/>
              <a:buNone/>
              <a:defRPr sz="2800"/>
            </a:lvl2pPr>
            <a:lvl3pPr lvl="2" rtl="0">
              <a:lnSpc>
                <a:spcPct val="100000"/>
              </a:lnSpc>
              <a:spcBef>
                <a:spcPts val="0"/>
              </a:spcBef>
              <a:spcAft>
                <a:spcPts val="0"/>
              </a:spcAft>
              <a:buSzPts val="2100"/>
              <a:buNone/>
              <a:defRPr sz="2800"/>
            </a:lvl3pPr>
            <a:lvl4pPr lvl="3" rtl="0">
              <a:lnSpc>
                <a:spcPct val="100000"/>
              </a:lnSpc>
              <a:spcBef>
                <a:spcPts val="0"/>
              </a:spcBef>
              <a:spcAft>
                <a:spcPts val="0"/>
              </a:spcAft>
              <a:buSzPts val="2100"/>
              <a:buNone/>
              <a:defRPr sz="2800"/>
            </a:lvl4pPr>
            <a:lvl5pPr lvl="4" rtl="0">
              <a:lnSpc>
                <a:spcPct val="100000"/>
              </a:lnSpc>
              <a:spcBef>
                <a:spcPts val="0"/>
              </a:spcBef>
              <a:spcAft>
                <a:spcPts val="0"/>
              </a:spcAft>
              <a:buSzPts val="2100"/>
              <a:buNone/>
              <a:defRPr sz="2800"/>
            </a:lvl5pPr>
            <a:lvl6pPr lvl="5" rtl="0">
              <a:lnSpc>
                <a:spcPct val="100000"/>
              </a:lnSpc>
              <a:spcBef>
                <a:spcPts val="0"/>
              </a:spcBef>
              <a:spcAft>
                <a:spcPts val="0"/>
              </a:spcAft>
              <a:buSzPts val="2100"/>
              <a:buNone/>
              <a:defRPr sz="2800"/>
            </a:lvl6pPr>
            <a:lvl7pPr lvl="6" rtl="0">
              <a:lnSpc>
                <a:spcPct val="100000"/>
              </a:lnSpc>
              <a:spcBef>
                <a:spcPts val="0"/>
              </a:spcBef>
              <a:spcAft>
                <a:spcPts val="0"/>
              </a:spcAft>
              <a:buSzPts val="2100"/>
              <a:buNone/>
              <a:defRPr sz="2800"/>
            </a:lvl7pPr>
            <a:lvl8pPr lvl="7" rtl="0">
              <a:lnSpc>
                <a:spcPct val="100000"/>
              </a:lnSpc>
              <a:spcBef>
                <a:spcPts val="0"/>
              </a:spcBef>
              <a:spcAft>
                <a:spcPts val="0"/>
              </a:spcAft>
              <a:buSzPts val="2100"/>
              <a:buNone/>
              <a:defRPr sz="2800"/>
            </a:lvl8pPr>
            <a:lvl9pPr lvl="8" rtl="0">
              <a:lnSpc>
                <a:spcPct val="100000"/>
              </a:lnSpc>
              <a:spcBef>
                <a:spcPts val="0"/>
              </a:spcBef>
              <a:spcAft>
                <a:spcPts val="0"/>
              </a:spcAft>
              <a:buSzPts val="2100"/>
              <a:buNone/>
              <a:defRPr sz="2800"/>
            </a:lvl9pPr>
          </a:lstStyle>
          <a:p>
            <a:endParaRPr dirty="0"/>
          </a:p>
        </p:txBody>
      </p:sp>
      <p:grpSp>
        <p:nvGrpSpPr>
          <p:cNvPr id="101" name="Graphic 100">
            <a:extLst>
              <a:ext uri="{FF2B5EF4-FFF2-40B4-BE49-F238E27FC236}">
                <a16:creationId xmlns:a16="http://schemas.microsoft.com/office/drawing/2014/main" id="{9806A9C6-2EC6-1143-9EC2-92CB7DE7F474}"/>
              </a:ext>
            </a:extLst>
          </p:cNvPr>
          <p:cNvGrpSpPr/>
          <p:nvPr userDrawn="1"/>
        </p:nvGrpSpPr>
        <p:grpSpPr>
          <a:xfrm>
            <a:off x="10148267" y="340999"/>
            <a:ext cx="1483475" cy="886834"/>
            <a:chOff x="7611200" y="284166"/>
            <a:chExt cx="1112606" cy="739028"/>
          </a:xfrm>
        </p:grpSpPr>
        <p:sp>
          <p:nvSpPr>
            <p:cNvPr id="102" name="Freeform 101">
              <a:extLst>
                <a:ext uri="{FF2B5EF4-FFF2-40B4-BE49-F238E27FC236}">
                  <a16:creationId xmlns:a16="http://schemas.microsoft.com/office/drawing/2014/main" id="{1F3BCCA6-7C0B-A641-829D-29A684EE41CA}"/>
                </a:ext>
              </a:extLst>
            </p:cNvPr>
            <p:cNvSpPr/>
            <p:nvPr/>
          </p:nvSpPr>
          <p:spPr>
            <a:xfrm>
              <a:off x="8065090" y="981314"/>
              <a:ext cx="184529" cy="41880"/>
            </a:xfrm>
            <a:custGeom>
              <a:avLst/>
              <a:gdLst>
                <a:gd name="connsiteX0" fmla="*/ 0 w 184529"/>
                <a:gd name="connsiteY0" fmla="*/ 0 h 41880"/>
                <a:gd name="connsiteX1" fmla="*/ 184529 w 184529"/>
                <a:gd name="connsiteY1" fmla="*/ 0 h 41880"/>
                <a:gd name="connsiteX2" fmla="*/ 184529 w 184529"/>
                <a:gd name="connsiteY2" fmla="*/ 41880 h 41880"/>
                <a:gd name="connsiteX3" fmla="*/ 0 w 184529"/>
                <a:gd name="connsiteY3" fmla="*/ 41880 h 41880"/>
              </a:gdLst>
              <a:ahLst/>
              <a:cxnLst>
                <a:cxn ang="0">
                  <a:pos x="connsiteX0" y="connsiteY0"/>
                </a:cxn>
                <a:cxn ang="0">
                  <a:pos x="connsiteX1" y="connsiteY1"/>
                </a:cxn>
                <a:cxn ang="0">
                  <a:pos x="connsiteX2" y="connsiteY2"/>
                </a:cxn>
                <a:cxn ang="0">
                  <a:pos x="connsiteX3" y="connsiteY3"/>
                </a:cxn>
              </a:cxnLst>
              <a:rect l="l" t="t" r="r" b="b"/>
              <a:pathLst>
                <a:path w="184529" h="41880">
                  <a:moveTo>
                    <a:pt x="0" y="0"/>
                  </a:moveTo>
                  <a:lnTo>
                    <a:pt x="184529" y="0"/>
                  </a:lnTo>
                  <a:lnTo>
                    <a:pt x="184529" y="41880"/>
                  </a:lnTo>
                  <a:lnTo>
                    <a:pt x="0" y="41880"/>
                  </a:lnTo>
                  <a:close/>
                </a:path>
              </a:pathLst>
            </a:custGeom>
            <a:solidFill>
              <a:srgbClr val="1D1D1B"/>
            </a:solidFill>
            <a:ln w="12664" cap="flat">
              <a:noFill/>
              <a:prstDash val="solid"/>
              <a:miter/>
            </a:ln>
          </p:spPr>
          <p:txBody>
            <a:bodyPr rtlCol="0" anchor="ctr"/>
            <a:lstStyle/>
            <a:p>
              <a:endParaRPr lang="en-US"/>
            </a:p>
          </p:txBody>
        </p:sp>
        <p:sp>
          <p:nvSpPr>
            <p:cNvPr id="103" name="Freeform 102">
              <a:extLst>
                <a:ext uri="{FF2B5EF4-FFF2-40B4-BE49-F238E27FC236}">
                  <a16:creationId xmlns:a16="http://schemas.microsoft.com/office/drawing/2014/main" id="{447C0F89-EE1F-B94E-A4A9-17147076104E}"/>
                </a:ext>
              </a:extLst>
            </p:cNvPr>
            <p:cNvSpPr/>
            <p:nvPr/>
          </p:nvSpPr>
          <p:spPr>
            <a:xfrm>
              <a:off x="8065090" y="284175"/>
              <a:ext cx="184529" cy="41880"/>
            </a:xfrm>
            <a:custGeom>
              <a:avLst/>
              <a:gdLst>
                <a:gd name="connsiteX0" fmla="*/ 0 w 184529"/>
                <a:gd name="connsiteY0" fmla="*/ 0 h 41880"/>
                <a:gd name="connsiteX1" fmla="*/ 184529 w 184529"/>
                <a:gd name="connsiteY1" fmla="*/ 0 h 41880"/>
                <a:gd name="connsiteX2" fmla="*/ 184529 w 184529"/>
                <a:gd name="connsiteY2" fmla="*/ 41880 h 41880"/>
                <a:gd name="connsiteX3" fmla="*/ 0 w 184529"/>
                <a:gd name="connsiteY3" fmla="*/ 41880 h 41880"/>
              </a:gdLst>
              <a:ahLst/>
              <a:cxnLst>
                <a:cxn ang="0">
                  <a:pos x="connsiteX0" y="connsiteY0"/>
                </a:cxn>
                <a:cxn ang="0">
                  <a:pos x="connsiteX1" y="connsiteY1"/>
                </a:cxn>
                <a:cxn ang="0">
                  <a:pos x="connsiteX2" y="connsiteY2"/>
                </a:cxn>
                <a:cxn ang="0">
                  <a:pos x="connsiteX3" y="connsiteY3"/>
                </a:cxn>
              </a:cxnLst>
              <a:rect l="l" t="t" r="r" b="b"/>
              <a:pathLst>
                <a:path w="184529" h="41880">
                  <a:moveTo>
                    <a:pt x="0" y="0"/>
                  </a:moveTo>
                  <a:lnTo>
                    <a:pt x="184529" y="0"/>
                  </a:lnTo>
                  <a:lnTo>
                    <a:pt x="184529" y="41880"/>
                  </a:lnTo>
                  <a:lnTo>
                    <a:pt x="0" y="41880"/>
                  </a:lnTo>
                  <a:close/>
                </a:path>
              </a:pathLst>
            </a:custGeom>
            <a:solidFill>
              <a:srgbClr val="1D1D1B"/>
            </a:solidFill>
            <a:ln w="12664" cap="flat">
              <a:noFill/>
              <a:prstDash val="solid"/>
              <a:miter/>
            </a:ln>
          </p:spPr>
          <p:txBody>
            <a:bodyPr rtlCol="0" anchor="ctr"/>
            <a:lstStyle/>
            <a:p>
              <a:endParaRPr lang="en-US"/>
            </a:p>
          </p:txBody>
        </p:sp>
        <p:sp>
          <p:nvSpPr>
            <p:cNvPr id="104" name="Freeform 103">
              <a:extLst>
                <a:ext uri="{FF2B5EF4-FFF2-40B4-BE49-F238E27FC236}">
                  <a16:creationId xmlns:a16="http://schemas.microsoft.com/office/drawing/2014/main" id="{749C6967-2713-4449-B557-831BFA3A1D27}"/>
                </a:ext>
              </a:extLst>
            </p:cNvPr>
            <p:cNvSpPr/>
            <p:nvPr/>
          </p:nvSpPr>
          <p:spPr>
            <a:xfrm>
              <a:off x="7611200" y="284166"/>
              <a:ext cx="928953" cy="738998"/>
            </a:xfrm>
            <a:custGeom>
              <a:avLst/>
              <a:gdLst>
                <a:gd name="connsiteX0" fmla="*/ 835856 w 928953"/>
                <a:gd name="connsiteY0" fmla="*/ 129348 h 738998"/>
                <a:gd name="connsiteX1" fmla="*/ 928952 w 928953"/>
                <a:gd name="connsiteY1" fmla="*/ 373724 h 738998"/>
                <a:gd name="connsiteX2" fmla="*/ 687905 w 928953"/>
                <a:gd name="connsiteY2" fmla="*/ 707088 h 738998"/>
                <a:gd name="connsiteX3" fmla="*/ 422261 w 928953"/>
                <a:gd name="connsiteY3" fmla="*/ 738739 h 738998"/>
                <a:gd name="connsiteX4" fmla="*/ 59346 w 928953"/>
                <a:gd name="connsiteY4" fmla="*/ 566442 h 738998"/>
                <a:gd name="connsiteX5" fmla="*/ 36221 w 928953"/>
                <a:gd name="connsiteY5" fmla="*/ 210589 h 738998"/>
                <a:gd name="connsiteX6" fmla="*/ 317565 w 928953"/>
                <a:gd name="connsiteY6" fmla="*/ 11729 h 738998"/>
                <a:gd name="connsiteX7" fmla="*/ 681889 w 928953"/>
                <a:gd name="connsiteY7" fmla="*/ 31485 h 738998"/>
                <a:gd name="connsiteX8" fmla="*/ 835856 w 928953"/>
                <a:gd name="connsiteY8" fmla="*/ 129348 h 73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953" h="738998">
                  <a:moveTo>
                    <a:pt x="835856" y="129348"/>
                  </a:moveTo>
                  <a:cubicBezTo>
                    <a:pt x="896114" y="196814"/>
                    <a:pt x="929236" y="283759"/>
                    <a:pt x="928952" y="373724"/>
                  </a:cubicBezTo>
                  <a:cubicBezTo>
                    <a:pt x="925917" y="523314"/>
                    <a:pt x="830184" y="655711"/>
                    <a:pt x="687905" y="707088"/>
                  </a:cubicBezTo>
                  <a:cubicBezTo>
                    <a:pt x="605509" y="733926"/>
                    <a:pt x="513834" y="740469"/>
                    <a:pt x="422261" y="738739"/>
                  </a:cubicBezTo>
                  <a:cubicBezTo>
                    <a:pt x="276874" y="734728"/>
                    <a:pt x="140410" y="684838"/>
                    <a:pt x="59346" y="566442"/>
                  </a:cubicBezTo>
                  <a:cubicBezTo>
                    <a:pt x="-7731" y="467563"/>
                    <a:pt x="-21426" y="316651"/>
                    <a:pt x="36221" y="210589"/>
                  </a:cubicBezTo>
                  <a:cubicBezTo>
                    <a:pt x="85377" y="102522"/>
                    <a:pt x="197486" y="29968"/>
                    <a:pt x="317565" y="11729"/>
                  </a:cubicBezTo>
                  <a:cubicBezTo>
                    <a:pt x="438958" y="-8966"/>
                    <a:pt x="563521" y="-2211"/>
                    <a:pt x="681889" y="31485"/>
                  </a:cubicBezTo>
                  <a:cubicBezTo>
                    <a:pt x="740531" y="51203"/>
                    <a:pt x="793392" y="84802"/>
                    <a:pt x="835856" y="129348"/>
                  </a:cubicBezTo>
                  <a:close/>
                </a:path>
              </a:pathLst>
            </a:custGeom>
            <a:solidFill>
              <a:srgbClr val="1D1D1B"/>
            </a:solidFill>
            <a:ln w="12664" cap="flat">
              <a:noFill/>
              <a:prstDash val="solid"/>
              <a:miter/>
            </a:ln>
          </p:spPr>
          <p:txBody>
            <a:bodyPr rtlCol="0" anchor="ctr"/>
            <a:lstStyle/>
            <a:p>
              <a:endParaRPr lang="en-US"/>
            </a:p>
          </p:txBody>
        </p:sp>
        <p:sp>
          <p:nvSpPr>
            <p:cNvPr id="105" name="Freeform 104">
              <a:extLst>
                <a:ext uri="{FF2B5EF4-FFF2-40B4-BE49-F238E27FC236}">
                  <a16:creationId xmlns:a16="http://schemas.microsoft.com/office/drawing/2014/main" id="{7698695D-AABC-4349-B7BA-FF958D7AC765}"/>
                </a:ext>
              </a:extLst>
            </p:cNvPr>
            <p:cNvSpPr/>
            <p:nvPr/>
          </p:nvSpPr>
          <p:spPr>
            <a:xfrm>
              <a:off x="7648818" y="292586"/>
              <a:ext cx="513653" cy="722735"/>
            </a:xfrm>
            <a:custGeom>
              <a:avLst/>
              <a:gdLst>
                <a:gd name="connsiteX0" fmla="*/ 501893 w 513653"/>
                <a:gd name="connsiteY0" fmla="*/ 722736 h 722735"/>
                <a:gd name="connsiteX1" fmla="*/ 419052 w 513653"/>
                <a:gd name="connsiteY1" fmla="*/ 722736 h 722735"/>
                <a:gd name="connsiteX2" fmla="*/ 0 w 513653"/>
                <a:gd name="connsiteY2" fmla="*/ 361368 h 722735"/>
                <a:gd name="connsiteX3" fmla="*/ 419052 w 513653"/>
                <a:gd name="connsiteY3" fmla="*/ 0 h 722735"/>
                <a:gd name="connsiteX4" fmla="*/ 491524 w 513653"/>
                <a:gd name="connsiteY4" fmla="*/ 0 h 722735"/>
                <a:gd name="connsiteX5" fmla="*/ 497075 w 513653"/>
                <a:gd name="connsiteY5" fmla="*/ 6964 h 722735"/>
                <a:gd name="connsiteX6" fmla="*/ 491524 w 513653"/>
                <a:gd name="connsiteY6" fmla="*/ 12448 h 722735"/>
                <a:gd name="connsiteX7" fmla="*/ 82841 w 513653"/>
                <a:gd name="connsiteY7" fmla="*/ 361368 h 722735"/>
                <a:gd name="connsiteX8" fmla="*/ 491524 w 513653"/>
                <a:gd name="connsiteY8" fmla="*/ 710301 h 722735"/>
                <a:gd name="connsiteX9" fmla="*/ 502502 w 513653"/>
                <a:gd name="connsiteY9" fmla="*/ 710150 h 722735"/>
                <a:gd name="connsiteX10" fmla="*/ 507985 w 513653"/>
                <a:gd name="connsiteY10" fmla="*/ 710226 h 722735"/>
                <a:gd name="connsiteX11" fmla="*/ 513617 w 513653"/>
                <a:gd name="connsiteY11" fmla="*/ 717127 h 722735"/>
                <a:gd name="connsiteX12" fmla="*/ 508214 w 513653"/>
                <a:gd name="connsiteY12" fmla="*/ 722661 h 722735"/>
                <a:gd name="connsiteX13" fmla="*/ 501893 w 513653"/>
                <a:gd name="connsiteY13" fmla="*/ 722736 h 722735"/>
                <a:gd name="connsiteX14" fmla="*/ 372219 w 513653"/>
                <a:gd name="connsiteY14" fmla="*/ 14754 h 722735"/>
                <a:gd name="connsiteX15" fmla="*/ 12603 w 513653"/>
                <a:gd name="connsiteY15" fmla="*/ 361368 h 722735"/>
                <a:gd name="connsiteX16" fmla="*/ 372219 w 513653"/>
                <a:gd name="connsiteY16" fmla="*/ 707994 h 722735"/>
                <a:gd name="connsiteX17" fmla="*/ 70187 w 513653"/>
                <a:gd name="connsiteY17" fmla="*/ 361368 h 722735"/>
                <a:gd name="connsiteX18" fmla="*/ 372219 w 513653"/>
                <a:gd name="connsiteY18" fmla="*/ 14754 h 72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3653" h="722735">
                  <a:moveTo>
                    <a:pt x="501893" y="722736"/>
                  </a:moveTo>
                  <a:lnTo>
                    <a:pt x="419052" y="722736"/>
                  </a:lnTo>
                  <a:cubicBezTo>
                    <a:pt x="187981" y="722736"/>
                    <a:pt x="0" y="560679"/>
                    <a:pt x="0" y="361368"/>
                  </a:cubicBezTo>
                  <a:cubicBezTo>
                    <a:pt x="0" y="162056"/>
                    <a:pt x="187981" y="0"/>
                    <a:pt x="419052" y="0"/>
                  </a:cubicBezTo>
                  <a:lnTo>
                    <a:pt x="491524" y="0"/>
                  </a:lnTo>
                  <a:cubicBezTo>
                    <a:pt x="495004" y="409"/>
                    <a:pt x="497490" y="3527"/>
                    <a:pt x="497075" y="6964"/>
                  </a:cubicBezTo>
                  <a:cubicBezTo>
                    <a:pt x="496730" y="9839"/>
                    <a:pt x="494434" y="12106"/>
                    <a:pt x="491524" y="12448"/>
                  </a:cubicBezTo>
                  <a:cubicBezTo>
                    <a:pt x="266151" y="12448"/>
                    <a:pt x="82841" y="168976"/>
                    <a:pt x="82841" y="361368"/>
                  </a:cubicBezTo>
                  <a:cubicBezTo>
                    <a:pt x="82841" y="553760"/>
                    <a:pt x="266190" y="710301"/>
                    <a:pt x="491524" y="710301"/>
                  </a:cubicBezTo>
                  <a:cubicBezTo>
                    <a:pt x="495192" y="710301"/>
                    <a:pt x="498872" y="710301"/>
                    <a:pt x="502502" y="710150"/>
                  </a:cubicBezTo>
                  <a:cubicBezTo>
                    <a:pt x="504622" y="710213"/>
                    <a:pt x="506462" y="710326"/>
                    <a:pt x="507985" y="710226"/>
                  </a:cubicBezTo>
                  <a:cubicBezTo>
                    <a:pt x="511470" y="710595"/>
                    <a:pt x="513991" y="713685"/>
                    <a:pt x="513617" y="717127"/>
                  </a:cubicBezTo>
                  <a:cubicBezTo>
                    <a:pt x="513306" y="719974"/>
                    <a:pt x="511082" y="722252"/>
                    <a:pt x="508214" y="722661"/>
                  </a:cubicBezTo>
                  <a:cubicBezTo>
                    <a:pt x="506107" y="722736"/>
                    <a:pt x="504025" y="722736"/>
                    <a:pt x="501893" y="722736"/>
                  </a:cubicBezTo>
                  <a:close/>
                  <a:moveTo>
                    <a:pt x="372219" y="14754"/>
                  </a:moveTo>
                  <a:cubicBezTo>
                    <a:pt x="170086" y="34760"/>
                    <a:pt x="12603" y="182577"/>
                    <a:pt x="12603" y="361368"/>
                  </a:cubicBezTo>
                  <a:cubicBezTo>
                    <a:pt x="12603" y="540159"/>
                    <a:pt x="170098" y="687988"/>
                    <a:pt x="372219" y="707994"/>
                  </a:cubicBezTo>
                  <a:cubicBezTo>
                    <a:pt x="197818" y="663757"/>
                    <a:pt x="70187" y="525104"/>
                    <a:pt x="70187" y="361368"/>
                  </a:cubicBezTo>
                  <a:cubicBezTo>
                    <a:pt x="70187" y="197632"/>
                    <a:pt x="197818" y="58991"/>
                    <a:pt x="372219" y="14754"/>
                  </a:cubicBezTo>
                  <a:close/>
                </a:path>
              </a:pathLst>
            </a:custGeom>
            <a:solidFill>
              <a:srgbClr val="FFFFFF"/>
            </a:solidFill>
            <a:ln w="12664" cap="flat">
              <a:noFill/>
              <a:prstDash val="solid"/>
              <a:miter/>
            </a:ln>
          </p:spPr>
          <p:txBody>
            <a:bodyPr rtlCol="0" anchor="ctr"/>
            <a:lstStyle/>
            <a:p>
              <a:endParaRPr lang="en-US"/>
            </a:p>
          </p:txBody>
        </p:sp>
        <p:sp>
          <p:nvSpPr>
            <p:cNvPr id="106" name="Freeform 105">
              <a:extLst>
                <a:ext uri="{FF2B5EF4-FFF2-40B4-BE49-F238E27FC236}">
                  <a16:creationId xmlns:a16="http://schemas.microsoft.com/office/drawing/2014/main" id="{D436C94D-DE36-024F-891E-1D7EFB59EED2}"/>
                </a:ext>
              </a:extLst>
            </p:cNvPr>
            <p:cNvSpPr/>
            <p:nvPr/>
          </p:nvSpPr>
          <p:spPr>
            <a:xfrm>
              <a:off x="7725312" y="298816"/>
              <a:ext cx="426223" cy="710288"/>
            </a:xfrm>
            <a:custGeom>
              <a:avLst/>
              <a:gdLst>
                <a:gd name="connsiteX0" fmla="*/ 38 w 426223"/>
                <a:gd name="connsiteY0" fmla="*/ 355138 h 710288"/>
                <a:gd name="connsiteX1" fmla="*/ 415067 w 426223"/>
                <a:gd name="connsiteY1" fmla="*/ 710288 h 710288"/>
                <a:gd name="connsiteX2" fmla="*/ 426223 w 426223"/>
                <a:gd name="connsiteY2" fmla="*/ 710138 h 710288"/>
                <a:gd name="connsiteX3" fmla="*/ 22427 w 426223"/>
                <a:gd name="connsiteY3" fmla="*/ 355138 h 710288"/>
                <a:gd name="connsiteX4" fmla="*/ 426185 w 426223"/>
                <a:gd name="connsiteY4" fmla="*/ 125 h 710288"/>
                <a:gd name="connsiteX5" fmla="*/ 415029 w 426223"/>
                <a:gd name="connsiteY5" fmla="*/ 0 h 710288"/>
                <a:gd name="connsiteX6" fmla="*/ 0 w 426223"/>
                <a:gd name="connsiteY6" fmla="*/ 355138 h 71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223" h="710288">
                  <a:moveTo>
                    <a:pt x="38" y="355138"/>
                  </a:moveTo>
                  <a:cubicBezTo>
                    <a:pt x="38" y="551178"/>
                    <a:pt x="185951" y="710288"/>
                    <a:pt x="415067" y="710288"/>
                  </a:cubicBezTo>
                  <a:cubicBezTo>
                    <a:pt x="418798" y="710288"/>
                    <a:pt x="422530" y="710288"/>
                    <a:pt x="426223" y="710138"/>
                  </a:cubicBezTo>
                  <a:cubicBezTo>
                    <a:pt x="202323" y="705124"/>
                    <a:pt x="22427" y="547956"/>
                    <a:pt x="22427" y="355138"/>
                  </a:cubicBezTo>
                  <a:cubicBezTo>
                    <a:pt x="22427" y="162320"/>
                    <a:pt x="202285" y="5202"/>
                    <a:pt x="426185" y="125"/>
                  </a:cubicBezTo>
                  <a:cubicBezTo>
                    <a:pt x="422492" y="50"/>
                    <a:pt x="418760" y="0"/>
                    <a:pt x="415029" y="0"/>
                  </a:cubicBezTo>
                  <a:cubicBezTo>
                    <a:pt x="185951" y="0"/>
                    <a:pt x="0" y="159111"/>
                    <a:pt x="0" y="355138"/>
                  </a:cubicBezTo>
                  <a:close/>
                </a:path>
              </a:pathLst>
            </a:custGeom>
            <a:solidFill>
              <a:srgbClr val="FFFFFF"/>
            </a:solidFill>
            <a:ln w="12664" cap="flat">
              <a:noFill/>
              <a:prstDash val="solid"/>
              <a:miter/>
            </a:ln>
          </p:spPr>
          <p:txBody>
            <a:bodyPr rtlCol="0" anchor="ctr"/>
            <a:lstStyle/>
            <a:p>
              <a:endParaRPr lang="en-US"/>
            </a:p>
          </p:txBody>
        </p:sp>
        <p:sp>
          <p:nvSpPr>
            <p:cNvPr id="107" name="Freeform 106">
              <a:extLst>
                <a:ext uri="{FF2B5EF4-FFF2-40B4-BE49-F238E27FC236}">
                  <a16:creationId xmlns:a16="http://schemas.microsoft.com/office/drawing/2014/main" id="{20B9F334-BE3D-0044-9DA7-1013EED26858}"/>
                </a:ext>
              </a:extLst>
            </p:cNvPr>
            <p:cNvSpPr/>
            <p:nvPr/>
          </p:nvSpPr>
          <p:spPr>
            <a:xfrm>
              <a:off x="7722216" y="295708"/>
              <a:ext cx="429383" cy="716505"/>
            </a:xfrm>
            <a:custGeom>
              <a:avLst/>
              <a:gdLst>
                <a:gd name="connsiteX0" fmla="*/ 418164 w 429383"/>
                <a:gd name="connsiteY0" fmla="*/ 716506 h 716505"/>
                <a:gd name="connsiteX1" fmla="*/ 0 w 429383"/>
                <a:gd name="connsiteY1" fmla="*/ 360503 h 716505"/>
                <a:gd name="connsiteX2" fmla="*/ 0 w 429383"/>
                <a:gd name="connsiteY2" fmla="*/ 360503 h 716505"/>
                <a:gd name="connsiteX3" fmla="*/ 0 w 429383"/>
                <a:gd name="connsiteY3" fmla="*/ 358247 h 716505"/>
                <a:gd name="connsiteX4" fmla="*/ 418126 w 429383"/>
                <a:gd name="connsiteY4" fmla="*/ 0 h 716505"/>
                <a:gd name="connsiteX5" fmla="*/ 429345 w 429383"/>
                <a:gd name="connsiteY5" fmla="*/ 125 h 716505"/>
                <a:gd name="connsiteX6" fmla="*/ 429345 w 429383"/>
                <a:gd name="connsiteY6" fmla="*/ 6393 h 716505"/>
                <a:gd name="connsiteX7" fmla="*/ 145527 w 429383"/>
                <a:gd name="connsiteY7" fmla="*/ 112667 h 716505"/>
                <a:gd name="connsiteX8" fmla="*/ 28659 w 429383"/>
                <a:gd name="connsiteY8" fmla="*/ 358247 h 716505"/>
                <a:gd name="connsiteX9" fmla="*/ 145539 w 429383"/>
                <a:gd name="connsiteY9" fmla="*/ 603851 h 716505"/>
                <a:gd name="connsiteX10" fmla="*/ 429383 w 429383"/>
                <a:gd name="connsiteY10" fmla="*/ 710150 h 716505"/>
                <a:gd name="connsiteX11" fmla="*/ 429383 w 429383"/>
                <a:gd name="connsiteY11" fmla="*/ 716343 h 716505"/>
                <a:gd name="connsiteX12" fmla="*/ 418164 w 429383"/>
                <a:gd name="connsiteY12" fmla="*/ 716506 h 716505"/>
                <a:gd name="connsiteX13" fmla="*/ 6244 w 429383"/>
                <a:gd name="connsiteY13" fmla="*/ 356354 h 716505"/>
                <a:gd name="connsiteX14" fmla="*/ 6244 w 429383"/>
                <a:gd name="connsiteY14" fmla="*/ 358259 h 716505"/>
                <a:gd name="connsiteX15" fmla="*/ 294252 w 429383"/>
                <a:gd name="connsiteY15" fmla="*/ 694042 h 716505"/>
                <a:gd name="connsiteX16" fmla="*/ 141338 w 429383"/>
                <a:gd name="connsiteY16" fmla="*/ 608502 h 716505"/>
                <a:gd name="connsiteX17" fmla="*/ 22376 w 429383"/>
                <a:gd name="connsiteY17" fmla="*/ 358247 h 716505"/>
                <a:gd name="connsiteX18" fmla="*/ 141351 w 429383"/>
                <a:gd name="connsiteY18" fmla="*/ 108017 h 716505"/>
                <a:gd name="connsiteX19" fmla="*/ 294391 w 429383"/>
                <a:gd name="connsiteY19" fmla="*/ 22438 h 716505"/>
                <a:gd name="connsiteX20" fmla="*/ 6244 w 429383"/>
                <a:gd name="connsiteY20" fmla="*/ 356354 h 71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9383" h="716505">
                  <a:moveTo>
                    <a:pt x="418164" y="716506"/>
                  </a:moveTo>
                  <a:cubicBezTo>
                    <a:pt x="188438" y="716506"/>
                    <a:pt x="1409" y="557006"/>
                    <a:pt x="0" y="360503"/>
                  </a:cubicBezTo>
                  <a:lnTo>
                    <a:pt x="0" y="360503"/>
                  </a:lnTo>
                  <a:lnTo>
                    <a:pt x="0" y="358247"/>
                  </a:lnTo>
                  <a:cubicBezTo>
                    <a:pt x="-38" y="160715"/>
                    <a:pt x="187550" y="0"/>
                    <a:pt x="418126" y="0"/>
                  </a:cubicBezTo>
                  <a:cubicBezTo>
                    <a:pt x="421933" y="0"/>
                    <a:pt x="425627" y="0"/>
                    <a:pt x="429345" y="125"/>
                  </a:cubicBezTo>
                  <a:lnTo>
                    <a:pt x="429345" y="6393"/>
                  </a:lnTo>
                  <a:cubicBezTo>
                    <a:pt x="324993" y="7564"/>
                    <a:pt x="224437" y="45217"/>
                    <a:pt x="145527" y="112667"/>
                  </a:cubicBezTo>
                  <a:cubicBezTo>
                    <a:pt x="72436" y="173976"/>
                    <a:pt x="29812" y="263544"/>
                    <a:pt x="28659" y="358247"/>
                  </a:cubicBezTo>
                  <a:cubicBezTo>
                    <a:pt x="29815" y="452958"/>
                    <a:pt x="72442" y="542534"/>
                    <a:pt x="145539" y="603851"/>
                  </a:cubicBezTo>
                  <a:cubicBezTo>
                    <a:pt x="224451" y="671320"/>
                    <a:pt x="325018" y="708982"/>
                    <a:pt x="429383" y="710150"/>
                  </a:cubicBezTo>
                  <a:lnTo>
                    <a:pt x="429383" y="716343"/>
                  </a:lnTo>
                  <a:cubicBezTo>
                    <a:pt x="425715" y="716506"/>
                    <a:pt x="421933" y="716506"/>
                    <a:pt x="418164" y="716506"/>
                  </a:cubicBezTo>
                  <a:close/>
                  <a:moveTo>
                    <a:pt x="6244" y="356354"/>
                  </a:moveTo>
                  <a:lnTo>
                    <a:pt x="6244" y="358259"/>
                  </a:lnTo>
                  <a:cubicBezTo>
                    <a:pt x="6244" y="515515"/>
                    <a:pt x="127466" y="649003"/>
                    <a:pt x="294252" y="694042"/>
                  </a:cubicBezTo>
                  <a:cubicBezTo>
                    <a:pt x="237836" y="676287"/>
                    <a:pt x="185767" y="647159"/>
                    <a:pt x="141338" y="608502"/>
                  </a:cubicBezTo>
                  <a:cubicBezTo>
                    <a:pt x="66896" y="546008"/>
                    <a:pt x="23508" y="454733"/>
                    <a:pt x="22376" y="358247"/>
                  </a:cubicBezTo>
                  <a:cubicBezTo>
                    <a:pt x="23520" y="261766"/>
                    <a:pt x="66912" y="170503"/>
                    <a:pt x="141351" y="108017"/>
                  </a:cubicBezTo>
                  <a:cubicBezTo>
                    <a:pt x="185811" y="69329"/>
                    <a:pt x="237927" y="40186"/>
                    <a:pt x="294391" y="22438"/>
                  </a:cubicBezTo>
                  <a:cubicBezTo>
                    <a:pt x="128215" y="67264"/>
                    <a:pt x="7209" y="199901"/>
                    <a:pt x="6244" y="356354"/>
                  </a:cubicBezTo>
                  <a:close/>
                </a:path>
              </a:pathLst>
            </a:custGeom>
            <a:solidFill>
              <a:srgbClr val="FFFFFF"/>
            </a:solidFill>
            <a:ln w="12664" cap="flat">
              <a:noFill/>
              <a:prstDash val="solid"/>
              <a:miter/>
            </a:ln>
          </p:spPr>
          <p:txBody>
            <a:bodyPr rtlCol="0" anchor="ctr"/>
            <a:lstStyle/>
            <a:p>
              <a:endParaRPr lang="en-US"/>
            </a:p>
          </p:txBody>
        </p:sp>
        <p:sp>
          <p:nvSpPr>
            <p:cNvPr id="108" name="Freeform 107">
              <a:extLst>
                <a:ext uri="{FF2B5EF4-FFF2-40B4-BE49-F238E27FC236}">
                  <a16:creationId xmlns:a16="http://schemas.microsoft.com/office/drawing/2014/main" id="{108B1661-F9C0-7B40-B869-572B39296A8F}"/>
                </a:ext>
              </a:extLst>
            </p:cNvPr>
            <p:cNvSpPr/>
            <p:nvPr/>
          </p:nvSpPr>
          <p:spPr>
            <a:xfrm>
              <a:off x="7734489" y="466915"/>
              <a:ext cx="600154" cy="22200"/>
            </a:xfrm>
            <a:custGeom>
              <a:avLst/>
              <a:gdLst>
                <a:gd name="connsiteX0" fmla="*/ 600154 w 600154"/>
                <a:gd name="connsiteY0" fmla="*/ 11094 h 22200"/>
                <a:gd name="connsiteX1" fmla="*/ 300065 w 600154"/>
                <a:gd name="connsiteY1" fmla="*/ 22200 h 22200"/>
                <a:gd name="connsiteX2" fmla="*/ 0 w 600154"/>
                <a:gd name="connsiteY2" fmla="*/ 11094 h 22200"/>
                <a:gd name="connsiteX3" fmla="*/ 300065 w 600154"/>
                <a:gd name="connsiteY3" fmla="*/ 0 h 22200"/>
                <a:gd name="connsiteX4" fmla="*/ 600154 w 600154"/>
                <a:gd name="connsiteY4" fmla="*/ 11094 h 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54" h="22200">
                  <a:moveTo>
                    <a:pt x="600154" y="11094"/>
                  </a:moveTo>
                  <a:cubicBezTo>
                    <a:pt x="600154" y="17198"/>
                    <a:pt x="465708" y="22200"/>
                    <a:pt x="300065" y="22200"/>
                  </a:cubicBezTo>
                  <a:cubicBezTo>
                    <a:pt x="134421" y="22200"/>
                    <a:pt x="0" y="17186"/>
                    <a:pt x="0" y="11094"/>
                  </a:cubicBezTo>
                  <a:cubicBezTo>
                    <a:pt x="0" y="5002"/>
                    <a:pt x="134434" y="0"/>
                    <a:pt x="300065" y="0"/>
                  </a:cubicBezTo>
                  <a:cubicBezTo>
                    <a:pt x="465695" y="0"/>
                    <a:pt x="600154" y="4964"/>
                    <a:pt x="600154" y="11094"/>
                  </a:cubicBezTo>
                  <a:close/>
                </a:path>
              </a:pathLst>
            </a:custGeom>
            <a:solidFill>
              <a:srgbClr val="FFFFFF"/>
            </a:solidFill>
            <a:ln w="12664" cap="flat">
              <a:noFill/>
              <a:prstDash val="solid"/>
              <a:miter/>
            </a:ln>
          </p:spPr>
          <p:txBody>
            <a:bodyPr rtlCol="0" anchor="ctr"/>
            <a:lstStyle/>
            <a:p>
              <a:endParaRPr lang="en-US"/>
            </a:p>
          </p:txBody>
        </p:sp>
        <p:sp>
          <p:nvSpPr>
            <p:cNvPr id="109" name="Freeform 108">
              <a:extLst>
                <a:ext uri="{FF2B5EF4-FFF2-40B4-BE49-F238E27FC236}">
                  <a16:creationId xmlns:a16="http://schemas.microsoft.com/office/drawing/2014/main" id="{145E9789-06F6-534B-90D2-52A81F22B554}"/>
                </a:ext>
              </a:extLst>
            </p:cNvPr>
            <p:cNvSpPr/>
            <p:nvPr/>
          </p:nvSpPr>
          <p:spPr>
            <a:xfrm>
              <a:off x="7731341" y="463844"/>
              <a:ext cx="606437" cy="28405"/>
            </a:xfrm>
            <a:custGeom>
              <a:avLst/>
              <a:gdLst>
                <a:gd name="connsiteX0" fmla="*/ 303212 w 606437"/>
                <a:gd name="connsiteY0" fmla="*/ 28405 h 28405"/>
                <a:gd name="connsiteX1" fmla="*/ 90938 w 606437"/>
                <a:gd name="connsiteY1" fmla="*/ 25146 h 28405"/>
                <a:gd name="connsiteX2" fmla="*/ 0 w 606437"/>
                <a:gd name="connsiteY2" fmla="*/ 14203 h 28405"/>
                <a:gd name="connsiteX3" fmla="*/ 90951 w 606437"/>
                <a:gd name="connsiteY3" fmla="*/ 3272 h 28405"/>
                <a:gd name="connsiteX4" fmla="*/ 303212 w 606437"/>
                <a:gd name="connsiteY4" fmla="*/ 0 h 28405"/>
                <a:gd name="connsiteX5" fmla="*/ 515486 w 606437"/>
                <a:gd name="connsiteY5" fmla="*/ 3259 h 28405"/>
                <a:gd name="connsiteX6" fmla="*/ 606437 w 606437"/>
                <a:gd name="connsiteY6" fmla="*/ 14203 h 28405"/>
                <a:gd name="connsiteX7" fmla="*/ 515486 w 606437"/>
                <a:gd name="connsiteY7" fmla="*/ 25146 h 28405"/>
                <a:gd name="connsiteX8" fmla="*/ 303212 w 606437"/>
                <a:gd name="connsiteY8" fmla="*/ 28405 h 28405"/>
                <a:gd name="connsiteX9" fmla="*/ 14799 w 606437"/>
                <a:gd name="connsiteY9" fmla="*/ 14165 h 28405"/>
                <a:gd name="connsiteX10" fmla="*/ 303212 w 606437"/>
                <a:gd name="connsiteY10" fmla="*/ 22162 h 28405"/>
                <a:gd name="connsiteX11" fmla="*/ 591803 w 606437"/>
                <a:gd name="connsiteY11" fmla="*/ 14152 h 28405"/>
                <a:gd name="connsiteX12" fmla="*/ 303212 w 606437"/>
                <a:gd name="connsiteY12" fmla="*/ 6167 h 28405"/>
                <a:gd name="connsiteX13" fmla="*/ 14799 w 606437"/>
                <a:gd name="connsiteY13" fmla="*/ 14165 h 2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437" h="28405">
                  <a:moveTo>
                    <a:pt x="303212" y="28405"/>
                  </a:moveTo>
                  <a:cubicBezTo>
                    <a:pt x="223176" y="28405"/>
                    <a:pt x="147786" y="27252"/>
                    <a:pt x="90938" y="25146"/>
                  </a:cubicBezTo>
                  <a:cubicBezTo>
                    <a:pt x="0" y="21761"/>
                    <a:pt x="0" y="18088"/>
                    <a:pt x="0" y="14203"/>
                  </a:cubicBezTo>
                  <a:cubicBezTo>
                    <a:pt x="0" y="10317"/>
                    <a:pt x="0" y="6681"/>
                    <a:pt x="90951" y="3272"/>
                  </a:cubicBezTo>
                  <a:cubicBezTo>
                    <a:pt x="147786" y="1166"/>
                    <a:pt x="223164" y="0"/>
                    <a:pt x="303212" y="0"/>
                  </a:cubicBezTo>
                  <a:cubicBezTo>
                    <a:pt x="383261" y="0"/>
                    <a:pt x="458753" y="1166"/>
                    <a:pt x="515486" y="3259"/>
                  </a:cubicBezTo>
                  <a:cubicBezTo>
                    <a:pt x="606437" y="6619"/>
                    <a:pt x="606437" y="10304"/>
                    <a:pt x="606437" y="14203"/>
                  </a:cubicBezTo>
                  <a:cubicBezTo>
                    <a:pt x="606437" y="18101"/>
                    <a:pt x="606437" y="21724"/>
                    <a:pt x="515486" y="25146"/>
                  </a:cubicBezTo>
                  <a:cubicBezTo>
                    <a:pt x="458677" y="27214"/>
                    <a:pt x="383286" y="28405"/>
                    <a:pt x="303212" y="28405"/>
                  </a:cubicBezTo>
                  <a:close/>
                  <a:moveTo>
                    <a:pt x="14799" y="14165"/>
                  </a:moveTo>
                  <a:cubicBezTo>
                    <a:pt x="47455" y="18314"/>
                    <a:pt x="158028" y="22162"/>
                    <a:pt x="303212" y="22162"/>
                  </a:cubicBezTo>
                  <a:cubicBezTo>
                    <a:pt x="448650" y="22162"/>
                    <a:pt x="559337" y="18302"/>
                    <a:pt x="591803" y="14152"/>
                  </a:cubicBezTo>
                  <a:cubicBezTo>
                    <a:pt x="560073" y="10016"/>
                    <a:pt x="452978" y="6167"/>
                    <a:pt x="303212" y="6167"/>
                  </a:cubicBezTo>
                  <a:cubicBezTo>
                    <a:pt x="158016" y="6167"/>
                    <a:pt x="47455" y="10016"/>
                    <a:pt x="14799" y="14165"/>
                  </a:cubicBezTo>
                  <a:close/>
                </a:path>
              </a:pathLst>
            </a:custGeom>
            <a:solidFill>
              <a:srgbClr val="FFFFFF"/>
            </a:solidFill>
            <a:ln w="12664" cap="flat">
              <a:noFill/>
              <a:prstDash val="solid"/>
              <a:miter/>
            </a:ln>
          </p:spPr>
          <p:txBody>
            <a:bodyPr rtlCol="0" anchor="ctr"/>
            <a:lstStyle/>
            <a:p>
              <a:endParaRPr lang="en-US"/>
            </a:p>
          </p:txBody>
        </p:sp>
        <p:sp>
          <p:nvSpPr>
            <p:cNvPr id="110" name="Freeform 109">
              <a:extLst>
                <a:ext uri="{FF2B5EF4-FFF2-40B4-BE49-F238E27FC236}">
                  <a16:creationId xmlns:a16="http://schemas.microsoft.com/office/drawing/2014/main" id="{BE9673B5-6039-134D-88BB-923540FAFBC7}"/>
                </a:ext>
              </a:extLst>
            </p:cNvPr>
            <p:cNvSpPr/>
            <p:nvPr/>
          </p:nvSpPr>
          <p:spPr>
            <a:xfrm>
              <a:off x="7744744" y="835014"/>
              <a:ext cx="600116" cy="22200"/>
            </a:xfrm>
            <a:custGeom>
              <a:avLst/>
              <a:gdLst>
                <a:gd name="connsiteX0" fmla="*/ 600116 w 600116"/>
                <a:gd name="connsiteY0" fmla="*/ 11081 h 22200"/>
                <a:gd name="connsiteX1" fmla="*/ 300065 w 600116"/>
                <a:gd name="connsiteY1" fmla="*/ 22200 h 22200"/>
                <a:gd name="connsiteX2" fmla="*/ 0 w 600116"/>
                <a:gd name="connsiteY2" fmla="*/ 11081 h 22200"/>
                <a:gd name="connsiteX3" fmla="*/ 300065 w 600116"/>
                <a:gd name="connsiteY3" fmla="*/ 0 h 22200"/>
                <a:gd name="connsiteX4" fmla="*/ 600116 w 600116"/>
                <a:gd name="connsiteY4" fmla="*/ 11081 h 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16" h="22200">
                  <a:moveTo>
                    <a:pt x="600116" y="11081"/>
                  </a:moveTo>
                  <a:cubicBezTo>
                    <a:pt x="600116" y="17236"/>
                    <a:pt x="465708" y="22200"/>
                    <a:pt x="300065" y="22200"/>
                  </a:cubicBezTo>
                  <a:cubicBezTo>
                    <a:pt x="134421" y="22200"/>
                    <a:pt x="0" y="17186"/>
                    <a:pt x="0" y="11081"/>
                  </a:cubicBezTo>
                  <a:cubicBezTo>
                    <a:pt x="0" y="4977"/>
                    <a:pt x="134434" y="0"/>
                    <a:pt x="300065" y="0"/>
                  </a:cubicBezTo>
                  <a:cubicBezTo>
                    <a:pt x="465695" y="0"/>
                    <a:pt x="600116" y="5014"/>
                    <a:pt x="600116" y="11081"/>
                  </a:cubicBezTo>
                  <a:close/>
                </a:path>
              </a:pathLst>
            </a:custGeom>
            <a:solidFill>
              <a:srgbClr val="FFFFFF"/>
            </a:solidFill>
            <a:ln w="12664" cap="flat">
              <a:noFill/>
              <a:prstDash val="solid"/>
              <a:miter/>
            </a:ln>
          </p:spPr>
          <p:txBody>
            <a:bodyPr rtlCol="0" anchor="ctr"/>
            <a:lstStyle/>
            <a:p>
              <a:endParaRPr lang="en-US"/>
            </a:p>
          </p:txBody>
        </p:sp>
        <p:sp>
          <p:nvSpPr>
            <p:cNvPr id="111" name="Freeform 110">
              <a:extLst>
                <a:ext uri="{FF2B5EF4-FFF2-40B4-BE49-F238E27FC236}">
                  <a16:creationId xmlns:a16="http://schemas.microsoft.com/office/drawing/2014/main" id="{5000E6EE-49DC-454B-AA73-BE90BCA16F58}"/>
                </a:ext>
              </a:extLst>
            </p:cNvPr>
            <p:cNvSpPr/>
            <p:nvPr/>
          </p:nvSpPr>
          <p:spPr>
            <a:xfrm>
              <a:off x="7741596" y="831918"/>
              <a:ext cx="606398" cy="28392"/>
            </a:xfrm>
            <a:custGeom>
              <a:avLst/>
              <a:gdLst>
                <a:gd name="connsiteX0" fmla="*/ 303212 w 606398"/>
                <a:gd name="connsiteY0" fmla="*/ 28393 h 28392"/>
                <a:gd name="connsiteX1" fmla="*/ 90938 w 606398"/>
                <a:gd name="connsiteY1" fmla="*/ 25121 h 28392"/>
                <a:gd name="connsiteX2" fmla="*/ 0 w 606398"/>
                <a:gd name="connsiteY2" fmla="*/ 14177 h 28392"/>
                <a:gd name="connsiteX3" fmla="*/ 90951 w 606398"/>
                <a:gd name="connsiteY3" fmla="*/ 3247 h 28392"/>
                <a:gd name="connsiteX4" fmla="*/ 303212 w 606398"/>
                <a:gd name="connsiteY4" fmla="*/ 0 h 28392"/>
                <a:gd name="connsiteX5" fmla="*/ 515473 w 606398"/>
                <a:gd name="connsiteY5" fmla="*/ 3259 h 28392"/>
                <a:gd name="connsiteX6" fmla="*/ 606399 w 606398"/>
                <a:gd name="connsiteY6" fmla="*/ 14177 h 28392"/>
                <a:gd name="connsiteX7" fmla="*/ 515473 w 606398"/>
                <a:gd name="connsiteY7" fmla="*/ 25146 h 28392"/>
                <a:gd name="connsiteX8" fmla="*/ 303212 w 606398"/>
                <a:gd name="connsiteY8" fmla="*/ 28393 h 28392"/>
                <a:gd name="connsiteX9" fmla="*/ 14672 w 606398"/>
                <a:gd name="connsiteY9" fmla="*/ 14165 h 28392"/>
                <a:gd name="connsiteX10" fmla="*/ 303212 w 606398"/>
                <a:gd name="connsiteY10" fmla="*/ 22200 h 28392"/>
                <a:gd name="connsiteX11" fmla="*/ 591740 w 606398"/>
                <a:gd name="connsiteY11" fmla="*/ 14203 h 28392"/>
                <a:gd name="connsiteX12" fmla="*/ 303212 w 606398"/>
                <a:gd name="connsiteY12" fmla="*/ 6192 h 28392"/>
                <a:gd name="connsiteX13" fmla="*/ 14672 w 606398"/>
                <a:gd name="connsiteY13" fmla="*/ 14165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398" h="28392">
                  <a:moveTo>
                    <a:pt x="303212" y="28393"/>
                  </a:moveTo>
                  <a:cubicBezTo>
                    <a:pt x="223138" y="28393"/>
                    <a:pt x="147760" y="27239"/>
                    <a:pt x="90938" y="25121"/>
                  </a:cubicBezTo>
                  <a:cubicBezTo>
                    <a:pt x="0" y="21749"/>
                    <a:pt x="0" y="18063"/>
                    <a:pt x="0" y="14177"/>
                  </a:cubicBezTo>
                  <a:cubicBezTo>
                    <a:pt x="0" y="10292"/>
                    <a:pt x="0" y="6656"/>
                    <a:pt x="90951" y="3247"/>
                  </a:cubicBezTo>
                  <a:cubicBezTo>
                    <a:pt x="147697" y="1153"/>
                    <a:pt x="223087" y="0"/>
                    <a:pt x="303212" y="0"/>
                  </a:cubicBezTo>
                  <a:cubicBezTo>
                    <a:pt x="383337" y="0"/>
                    <a:pt x="458600" y="1153"/>
                    <a:pt x="515473" y="3259"/>
                  </a:cubicBezTo>
                  <a:cubicBezTo>
                    <a:pt x="606399" y="6619"/>
                    <a:pt x="606399" y="10292"/>
                    <a:pt x="606399" y="14177"/>
                  </a:cubicBezTo>
                  <a:cubicBezTo>
                    <a:pt x="606399" y="18063"/>
                    <a:pt x="606399" y="21774"/>
                    <a:pt x="515473" y="25146"/>
                  </a:cubicBezTo>
                  <a:cubicBezTo>
                    <a:pt x="458804" y="27239"/>
                    <a:pt x="383426" y="28393"/>
                    <a:pt x="303212" y="28393"/>
                  </a:cubicBezTo>
                  <a:close/>
                  <a:moveTo>
                    <a:pt x="14672" y="14165"/>
                  </a:moveTo>
                  <a:cubicBezTo>
                    <a:pt x="47164" y="18327"/>
                    <a:pt x="157825" y="22200"/>
                    <a:pt x="303212" y="22200"/>
                  </a:cubicBezTo>
                  <a:cubicBezTo>
                    <a:pt x="452978" y="22200"/>
                    <a:pt x="559984" y="18339"/>
                    <a:pt x="591740" y="14203"/>
                  </a:cubicBezTo>
                  <a:cubicBezTo>
                    <a:pt x="559274" y="10053"/>
                    <a:pt x="448599" y="6192"/>
                    <a:pt x="303212" y="6192"/>
                  </a:cubicBezTo>
                  <a:cubicBezTo>
                    <a:pt x="153497" y="6192"/>
                    <a:pt x="46453" y="10066"/>
                    <a:pt x="14672" y="14165"/>
                  </a:cubicBezTo>
                  <a:close/>
                </a:path>
              </a:pathLst>
            </a:custGeom>
            <a:solidFill>
              <a:srgbClr val="FFFFFF"/>
            </a:solidFill>
            <a:ln w="12664" cap="flat">
              <a:noFill/>
              <a:prstDash val="solid"/>
              <a:miter/>
            </a:ln>
          </p:spPr>
          <p:txBody>
            <a:bodyPr rtlCol="0" anchor="ctr"/>
            <a:lstStyle/>
            <a:p>
              <a:endParaRPr lang="en-US"/>
            </a:p>
          </p:txBody>
        </p:sp>
        <p:sp>
          <p:nvSpPr>
            <p:cNvPr id="112" name="Freeform 111">
              <a:extLst>
                <a:ext uri="{FF2B5EF4-FFF2-40B4-BE49-F238E27FC236}">
                  <a16:creationId xmlns:a16="http://schemas.microsoft.com/office/drawing/2014/main" id="{B15C44AE-0AA6-8A48-B6EF-A9805F174BB4}"/>
                </a:ext>
              </a:extLst>
            </p:cNvPr>
            <p:cNvSpPr/>
            <p:nvPr/>
          </p:nvSpPr>
          <p:spPr>
            <a:xfrm>
              <a:off x="7680662" y="649366"/>
              <a:ext cx="600141" cy="22187"/>
            </a:xfrm>
            <a:custGeom>
              <a:avLst/>
              <a:gdLst>
                <a:gd name="connsiteX0" fmla="*/ 600142 w 600141"/>
                <a:gd name="connsiteY0" fmla="*/ 11081 h 22187"/>
                <a:gd name="connsiteX1" fmla="*/ 300065 w 600141"/>
                <a:gd name="connsiteY1" fmla="*/ 22187 h 22187"/>
                <a:gd name="connsiteX2" fmla="*/ 0 w 600141"/>
                <a:gd name="connsiteY2" fmla="*/ 11081 h 22187"/>
                <a:gd name="connsiteX3" fmla="*/ 300065 w 600141"/>
                <a:gd name="connsiteY3" fmla="*/ 0 h 22187"/>
                <a:gd name="connsiteX4" fmla="*/ 600142 w 600141"/>
                <a:gd name="connsiteY4" fmla="*/ 11081 h 22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41" h="22187">
                  <a:moveTo>
                    <a:pt x="600142" y="11081"/>
                  </a:moveTo>
                  <a:cubicBezTo>
                    <a:pt x="600142" y="17211"/>
                    <a:pt x="465708" y="22187"/>
                    <a:pt x="300065" y="22187"/>
                  </a:cubicBezTo>
                  <a:cubicBezTo>
                    <a:pt x="134421" y="22187"/>
                    <a:pt x="0" y="17173"/>
                    <a:pt x="0" y="11081"/>
                  </a:cubicBezTo>
                  <a:cubicBezTo>
                    <a:pt x="0" y="4989"/>
                    <a:pt x="134434" y="0"/>
                    <a:pt x="300065" y="0"/>
                  </a:cubicBezTo>
                  <a:cubicBezTo>
                    <a:pt x="465695" y="0"/>
                    <a:pt x="600142" y="5014"/>
                    <a:pt x="600142" y="11081"/>
                  </a:cubicBezTo>
                  <a:close/>
                </a:path>
              </a:pathLst>
            </a:custGeom>
            <a:solidFill>
              <a:srgbClr val="FFFFFF"/>
            </a:solidFill>
            <a:ln w="12664" cap="flat">
              <a:noFill/>
              <a:prstDash val="solid"/>
              <a:miter/>
            </a:ln>
          </p:spPr>
          <p:txBody>
            <a:bodyPr rtlCol="0" anchor="ctr"/>
            <a:lstStyle/>
            <a:p>
              <a:endParaRPr lang="en-US"/>
            </a:p>
          </p:txBody>
        </p:sp>
        <p:sp>
          <p:nvSpPr>
            <p:cNvPr id="113" name="Freeform 112">
              <a:extLst>
                <a:ext uri="{FF2B5EF4-FFF2-40B4-BE49-F238E27FC236}">
                  <a16:creationId xmlns:a16="http://schemas.microsoft.com/office/drawing/2014/main" id="{E580D022-BD14-254E-9826-6CA4CD6AB40D}"/>
                </a:ext>
              </a:extLst>
            </p:cNvPr>
            <p:cNvSpPr/>
            <p:nvPr/>
          </p:nvSpPr>
          <p:spPr>
            <a:xfrm>
              <a:off x="7677514" y="646257"/>
              <a:ext cx="606424" cy="28392"/>
            </a:xfrm>
            <a:custGeom>
              <a:avLst/>
              <a:gdLst>
                <a:gd name="connsiteX0" fmla="*/ 303212 w 606424"/>
                <a:gd name="connsiteY0" fmla="*/ 28392 h 28392"/>
                <a:gd name="connsiteX1" fmla="*/ 90938 w 606424"/>
                <a:gd name="connsiteY1" fmla="*/ 25121 h 28392"/>
                <a:gd name="connsiteX2" fmla="*/ 0 w 606424"/>
                <a:gd name="connsiteY2" fmla="*/ 14190 h 28392"/>
                <a:gd name="connsiteX3" fmla="*/ 90951 w 606424"/>
                <a:gd name="connsiteY3" fmla="*/ 3259 h 28392"/>
                <a:gd name="connsiteX4" fmla="*/ 303212 w 606424"/>
                <a:gd name="connsiteY4" fmla="*/ 0 h 28392"/>
                <a:gd name="connsiteX5" fmla="*/ 515486 w 606424"/>
                <a:gd name="connsiteY5" fmla="*/ 3272 h 28392"/>
                <a:gd name="connsiteX6" fmla="*/ 606424 w 606424"/>
                <a:gd name="connsiteY6" fmla="*/ 14190 h 28392"/>
                <a:gd name="connsiteX7" fmla="*/ 515486 w 606424"/>
                <a:gd name="connsiteY7" fmla="*/ 25133 h 28392"/>
                <a:gd name="connsiteX8" fmla="*/ 303212 w 606424"/>
                <a:gd name="connsiteY8" fmla="*/ 28392 h 28392"/>
                <a:gd name="connsiteX9" fmla="*/ 14812 w 606424"/>
                <a:gd name="connsiteY9" fmla="*/ 14190 h 28392"/>
                <a:gd name="connsiteX10" fmla="*/ 303212 w 606424"/>
                <a:gd name="connsiteY10" fmla="*/ 22188 h 28392"/>
                <a:gd name="connsiteX11" fmla="*/ 591740 w 606424"/>
                <a:gd name="connsiteY11" fmla="*/ 14215 h 28392"/>
                <a:gd name="connsiteX12" fmla="*/ 303212 w 606424"/>
                <a:gd name="connsiteY12" fmla="*/ 6205 h 28392"/>
                <a:gd name="connsiteX13" fmla="*/ 14812 w 606424"/>
                <a:gd name="connsiteY13" fmla="*/ 14190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424" h="28392">
                  <a:moveTo>
                    <a:pt x="303212" y="28392"/>
                  </a:moveTo>
                  <a:cubicBezTo>
                    <a:pt x="223176" y="28392"/>
                    <a:pt x="147786" y="27227"/>
                    <a:pt x="90938" y="25121"/>
                  </a:cubicBezTo>
                  <a:cubicBezTo>
                    <a:pt x="0" y="21749"/>
                    <a:pt x="0" y="18076"/>
                    <a:pt x="0" y="14190"/>
                  </a:cubicBezTo>
                  <a:cubicBezTo>
                    <a:pt x="0" y="10304"/>
                    <a:pt x="0" y="6669"/>
                    <a:pt x="90951" y="3259"/>
                  </a:cubicBezTo>
                  <a:cubicBezTo>
                    <a:pt x="147748" y="1153"/>
                    <a:pt x="223138" y="0"/>
                    <a:pt x="303212" y="0"/>
                  </a:cubicBezTo>
                  <a:cubicBezTo>
                    <a:pt x="383286" y="0"/>
                    <a:pt x="458575" y="1166"/>
                    <a:pt x="515486" y="3272"/>
                  </a:cubicBezTo>
                  <a:cubicBezTo>
                    <a:pt x="606424" y="6644"/>
                    <a:pt x="606424" y="10304"/>
                    <a:pt x="606424" y="14190"/>
                  </a:cubicBezTo>
                  <a:cubicBezTo>
                    <a:pt x="606424" y="18076"/>
                    <a:pt x="606424" y="21774"/>
                    <a:pt x="515486" y="25133"/>
                  </a:cubicBezTo>
                  <a:cubicBezTo>
                    <a:pt x="458740" y="27239"/>
                    <a:pt x="383362" y="28392"/>
                    <a:pt x="303212" y="28392"/>
                  </a:cubicBezTo>
                  <a:close/>
                  <a:moveTo>
                    <a:pt x="14812" y="14190"/>
                  </a:moveTo>
                  <a:cubicBezTo>
                    <a:pt x="47481" y="18339"/>
                    <a:pt x="158041" y="22188"/>
                    <a:pt x="303212" y="22188"/>
                  </a:cubicBezTo>
                  <a:cubicBezTo>
                    <a:pt x="452914" y="22188"/>
                    <a:pt x="559933" y="18339"/>
                    <a:pt x="591740" y="14215"/>
                  </a:cubicBezTo>
                  <a:cubicBezTo>
                    <a:pt x="559210" y="10053"/>
                    <a:pt x="448561" y="6205"/>
                    <a:pt x="303212" y="6205"/>
                  </a:cubicBezTo>
                  <a:cubicBezTo>
                    <a:pt x="157863" y="6205"/>
                    <a:pt x="47481" y="10041"/>
                    <a:pt x="14812" y="14190"/>
                  </a:cubicBezTo>
                  <a:close/>
                </a:path>
              </a:pathLst>
            </a:custGeom>
            <a:solidFill>
              <a:srgbClr val="FFFFFF"/>
            </a:solidFill>
            <a:ln w="12664" cap="flat">
              <a:noFill/>
              <a:prstDash val="solid"/>
              <a:miter/>
            </a:ln>
          </p:spPr>
          <p:txBody>
            <a:bodyPr rtlCol="0" anchor="ctr"/>
            <a:lstStyle/>
            <a:p>
              <a:endParaRPr lang="en-US"/>
            </a:p>
          </p:txBody>
        </p:sp>
        <p:sp>
          <p:nvSpPr>
            <p:cNvPr id="114" name="Freeform 113">
              <a:extLst>
                <a:ext uri="{FF2B5EF4-FFF2-40B4-BE49-F238E27FC236}">
                  <a16:creationId xmlns:a16="http://schemas.microsoft.com/office/drawing/2014/main" id="{A9AF296C-C8B9-6A49-A8F0-0ACC2F1300A1}"/>
                </a:ext>
              </a:extLst>
            </p:cNvPr>
            <p:cNvSpPr/>
            <p:nvPr/>
          </p:nvSpPr>
          <p:spPr>
            <a:xfrm>
              <a:off x="7794847" y="284166"/>
              <a:ext cx="928959" cy="738994"/>
            </a:xfrm>
            <a:custGeom>
              <a:avLst/>
              <a:gdLst>
                <a:gd name="connsiteX0" fmla="*/ 835862 w 928959"/>
                <a:gd name="connsiteY0" fmla="*/ 129348 h 738994"/>
                <a:gd name="connsiteX1" fmla="*/ 928958 w 928959"/>
                <a:gd name="connsiteY1" fmla="*/ 373724 h 738994"/>
                <a:gd name="connsiteX2" fmla="*/ 687886 w 928959"/>
                <a:gd name="connsiteY2" fmla="*/ 707075 h 738994"/>
                <a:gd name="connsiteX3" fmla="*/ 422255 w 928959"/>
                <a:gd name="connsiteY3" fmla="*/ 738739 h 738994"/>
                <a:gd name="connsiteX4" fmla="*/ 59340 w 928959"/>
                <a:gd name="connsiteY4" fmla="*/ 566442 h 738994"/>
                <a:gd name="connsiteX5" fmla="*/ 36227 w 928959"/>
                <a:gd name="connsiteY5" fmla="*/ 210589 h 738994"/>
                <a:gd name="connsiteX6" fmla="*/ 317571 w 928959"/>
                <a:gd name="connsiteY6" fmla="*/ 11729 h 738994"/>
                <a:gd name="connsiteX7" fmla="*/ 681946 w 928959"/>
                <a:gd name="connsiteY7" fmla="*/ 31485 h 738994"/>
                <a:gd name="connsiteX8" fmla="*/ 835862 w 928959"/>
                <a:gd name="connsiteY8" fmla="*/ 129348 h 73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959" h="738994">
                  <a:moveTo>
                    <a:pt x="835862" y="129348"/>
                  </a:moveTo>
                  <a:cubicBezTo>
                    <a:pt x="896115" y="196817"/>
                    <a:pt x="929237" y="283760"/>
                    <a:pt x="928958" y="373724"/>
                  </a:cubicBezTo>
                  <a:cubicBezTo>
                    <a:pt x="925921" y="523318"/>
                    <a:pt x="830175" y="655713"/>
                    <a:pt x="687886" y="707075"/>
                  </a:cubicBezTo>
                  <a:cubicBezTo>
                    <a:pt x="605502" y="733913"/>
                    <a:pt x="513828" y="740457"/>
                    <a:pt x="422255" y="738739"/>
                  </a:cubicBezTo>
                  <a:cubicBezTo>
                    <a:pt x="276855" y="734716"/>
                    <a:pt x="140403" y="684838"/>
                    <a:pt x="59340" y="566442"/>
                  </a:cubicBezTo>
                  <a:cubicBezTo>
                    <a:pt x="-7725" y="467563"/>
                    <a:pt x="-21432" y="316650"/>
                    <a:pt x="36227" y="210589"/>
                  </a:cubicBezTo>
                  <a:cubicBezTo>
                    <a:pt x="85422" y="102522"/>
                    <a:pt x="197479" y="29968"/>
                    <a:pt x="317571" y="11729"/>
                  </a:cubicBezTo>
                  <a:cubicBezTo>
                    <a:pt x="438981" y="-8966"/>
                    <a:pt x="563560" y="-2211"/>
                    <a:pt x="681946" y="31485"/>
                  </a:cubicBezTo>
                  <a:cubicBezTo>
                    <a:pt x="740568" y="51213"/>
                    <a:pt x="793411" y="84811"/>
                    <a:pt x="835862" y="129348"/>
                  </a:cubicBezTo>
                  <a:close/>
                </a:path>
              </a:pathLst>
            </a:custGeom>
            <a:solidFill>
              <a:srgbClr val="CA0538"/>
            </a:solidFill>
            <a:ln w="12664" cap="flat">
              <a:noFill/>
              <a:prstDash val="solid"/>
              <a:miter/>
            </a:ln>
          </p:spPr>
          <p:txBody>
            <a:bodyPr rtlCol="0" anchor="ctr"/>
            <a:lstStyle/>
            <a:p>
              <a:endParaRPr lang="en-US"/>
            </a:p>
          </p:txBody>
        </p:sp>
        <p:sp>
          <p:nvSpPr>
            <p:cNvPr id="115" name="Freeform 114">
              <a:extLst>
                <a:ext uri="{FF2B5EF4-FFF2-40B4-BE49-F238E27FC236}">
                  <a16:creationId xmlns:a16="http://schemas.microsoft.com/office/drawing/2014/main" id="{E1E19508-A8ED-4A41-A071-25134E58FDF0}"/>
                </a:ext>
              </a:extLst>
            </p:cNvPr>
            <p:cNvSpPr/>
            <p:nvPr/>
          </p:nvSpPr>
          <p:spPr>
            <a:xfrm>
              <a:off x="7833276" y="310649"/>
              <a:ext cx="674105" cy="476179"/>
            </a:xfrm>
            <a:custGeom>
              <a:avLst/>
              <a:gdLst>
                <a:gd name="connsiteX0" fmla="*/ 674105 w 674105"/>
                <a:gd name="connsiteY0" fmla="*/ 47259 h 476179"/>
                <a:gd name="connsiteX1" fmla="*/ 53199 w 674105"/>
                <a:gd name="connsiteY1" fmla="*/ 164301 h 476179"/>
                <a:gd name="connsiteX2" fmla="*/ 23043 w 674105"/>
                <a:gd name="connsiteY2" fmla="*/ 476180 h 476179"/>
                <a:gd name="connsiteX3" fmla="*/ 674105 w 674105"/>
                <a:gd name="connsiteY3" fmla="*/ 47259 h 476179"/>
              </a:gdLst>
              <a:ahLst/>
              <a:cxnLst>
                <a:cxn ang="0">
                  <a:pos x="connsiteX0" y="connsiteY0"/>
                </a:cxn>
                <a:cxn ang="0">
                  <a:pos x="connsiteX1" y="connsiteY1"/>
                </a:cxn>
                <a:cxn ang="0">
                  <a:pos x="connsiteX2" y="connsiteY2"/>
                </a:cxn>
                <a:cxn ang="0">
                  <a:pos x="connsiteX3" y="connsiteY3"/>
                </a:cxn>
              </a:cxnLst>
              <a:rect l="l" t="t" r="r" b="b"/>
              <a:pathLst>
                <a:path w="674105" h="476179">
                  <a:moveTo>
                    <a:pt x="674105" y="47259"/>
                  </a:moveTo>
                  <a:cubicBezTo>
                    <a:pt x="674105" y="47259"/>
                    <a:pt x="245737" y="-115976"/>
                    <a:pt x="53199" y="164301"/>
                  </a:cubicBezTo>
                  <a:cubicBezTo>
                    <a:pt x="-45202" y="307555"/>
                    <a:pt x="23043" y="476180"/>
                    <a:pt x="23043" y="476180"/>
                  </a:cubicBezTo>
                  <a:cubicBezTo>
                    <a:pt x="23043" y="476180"/>
                    <a:pt x="9323" y="-76226"/>
                    <a:pt x="674105" y="47259"/>
                  </a:cubicBezTo>
                  <a:close/>
                </a:path>
              </a:pathLst>
            </a:custGeom>
            <a:solidFill>
              <a:srgbClr val="FFFFFF"/>
            </a:solidFill>
            <a:ln w="12664" cap="flat">
              <a:noFill/>
              <a:prstDash val="solid"/>
              <a:miter/>
            </a:ln>
          </p:spPr>
          <p:txBody>
            <a:bodyPr rtlCol="0" anchor="ctr"/>
            <a:lstStyle/>
            <a:p>
              <a:endParaRPr lang="en-US"/>
            </a:p>
          </p:txBody>
        </p:sp>
        <p:sp>
          <p:nvSpPr>
            <p:cNvPr id="116" name="Freeform 115">
              <a:extLst>
                <a:ext uri="{FF2B5EF4-FFF2-40B4-BE49-F238E27FC236}">
                  <a16:creationId xmlns:a16="http://schemas.microsoft.com/office/drawing/2014/main" id="{E8C6217F-4BCB-D541-8197-0D2678A9D573}"/>
                </a:ext>
              </a:extLst>
            </p:cNvPr>
            <p:cNvSpPr/>
            <p:nvPr/>
          </p:nvSpPr>
          <p:spPr>
            <a:xfrm>
              <a:off x="7952138" y="416172"/>
              <a:ext cx="622117" cy="420341"/>
            </a:xfrm>
            <a:custGeom>
              <a:avLst/>
              <a:gdLst>
                <a:gd name="connsiteX0" fmla="*/ 244162 w 622117"/>
                <a:gd name="connsiteY0" fmla="*/ 5265 h 420341"/>
                <a:gd name="connsiteX1" fmla="*/ 190234 w 622117"/>
                <a:gd name="connsiteY1" fmla="*/ 115337 h 420341"/>
                <a:gd name="connsiteX2" fmla="*/ 166119 w 622117"/>
                <a:gd name="connsiteY2" fmla="*/ 372750 h 420341"/>
                <a:gd name="connsiteX3" fmla="*/ 174546 w 622117"/>
                <a:gd name="connsiteY3" fmla="*/ 380271 h 420341"/>
                <a:gd name="connsiteX4" fmla="*/ 219273 w 622117"/>
                <a:gd name="connsiteY4" fmla="*/ 341336 h 420341"/>
                <a:gd name="connsiteX5" fmla="*/ 302545 w 622117"/>
                <a:gd name="connsiteY5" fmla="*/ 23617 h 420341"/>
                <a:gd name="connsiteX6" fmla="*/ 333806 w 622117"/>
                <a:gd name="connsiteY6" fmla="*/ 464 h 420341"/>
                <a:gd name="connsiteX7" fmla="*/ 335633 w 622117"/>
                <a:gd name="connsiteY7" fmla="*/ 7032 h 420341"/>
                <a:gd name="connsiteX8" fmla="*/ 302964 w 622117"/>
                <a:gd name="connsiteY8" fmla="*/ 48950 h 420341"/>
                <a:gd name="connsiteX9" fmla="*/ 293445 w 622117"/>
                <a:gd name="connsiteY9" fmla="*/ 78772 h 420341"/>
                <a:gd name="connsiteX10" fmla="*/ 257717 w 622117"/>
                <a:gd name="connsiteY10" fmla="*/ 371697 h 420341"/>
                <a:gd name="connsiteX11" fmla="*/ 269927 w 622117"/>
                <a:gd name="connsiteY11" fmla="*/ 380221 h 420341"/>
                <a:gd name="connsiteX12" fmla="*/ 308980 w 622117"/>
                <a:gd name="connsiteY12" fmla="*/ 342176 h 420341"/>
                <a:gd name="connsiteX13" fmla="*/ 378228 w 622117"/>
                <a:gd name="connsiteY13" fmla="*/ 200628 h 420341"/>
                <a:gd name="connsiteX14" fmla="*/ 448161 w 622117"/>
                <a:gd name="connsiteY14" fmla="*/ 198221 h 420341"/>
                <a:gd name="connsiteX15" fmla="*/ 429681 w 622117"/>
                <a:gd name="connsiteY15" fmla="*/ 360127 h 420341"/>
                <a:gd name="connsiteX16" fmla="*/ 437030 w 622117"/>
                <a:gd name="connsiteY16" fmla="*/ 382690 h 420341"/>
                <a:gd name="connsiteX17" fmla="*/ 444645 w 622117"/>
                <a:gd name="connsiteY17" fmla="*/ 380885 h 420341"/>
                <a:gd name="connsiteX18" fmla="*/ 491339 w 622117"/>
                <a:gd name="connsiteY18" fmla="*/ 333527 h 420341"/>
                <a:gd name="connsiteX19" fmla="*/ 528362 w 622117"/>
                <a:gd name="connsiteY19" fmla="*/ 108054 h 420341"/>
                <a:gd name="connsiteX20" fmla="*/ 593332 w 622117"/>
                <a:gd name="connsiteY20" fmla="*/ 24331 h 420341"/>
                <a:gd name="connsiteX21" fmla="*/ 580031 w 622117"/>
                <a:gd name="connsiteY21" fmla="*/ 39536 h 420341"/>
                <a:gd name="connsiteX22" fmla="*/ 525455 w 622117"/>
                <a:gd name="connsiteY22" fmla="*/ 215770 h 420341"/>
                <a:gd name="connsiteX23" fmla="*/ 546295 w 622117"/>
                <a:gd name="connsiteY23" fmla="*/ 207522 h 420341"/>
                <a:gd name="connsiteX24" fmla="*/ 590083 w 622117"/>
                <a:gd name="connsiteY24" fmla="*/ 171383 h 420341"/>
                <a:gd name="connsiteX25" fmla="*/ 609717 w 622117"/>
                <a:gd name="connsiteY25" fmla="*/ 190299 h 420341"/>
                <a:gd name="connsiteX26" fmla="*/ 587481 w 622117"/>
                <a:gd name="connsiteY26" fmla="*/ 352167 h 420341"/>
                <a:gd name="connsiteX27" fmla="*/ 515873 w 622117"/>
                <a:gd name="connsiteY27" fmla="*/ 418817 h 420341"/>
                <a:gd name="connsiteX28" fmla="*/ 500642 w 622117"/>
                <a:gd name="connsiteY28" fmla="*/ 417313 h 420341"/>
                <a:gd name="connsiteX29" fmla="*/ 492024 w 622117"/>
                <a:gd name="connsiteY29" fmla="*/ 355990 h 420341"/>
                <a:gd name="connsiteX30" fmla="*/ 489207 w 622117"/>
                <a:gd name="connsiteY30" fmla="*/ 354085 h 420341"/>
                <a:gd name="connsiteX31" fmla="*/ 416862 w 622117"/>
                <a:gd name="connsiteY31" fmla="*/ 419958 h 420341"/>
                <a:gd name="connsiteX32" fmla="*/ 408397 w 622117"/>
                <a:gd name="connsiteY32" fmla="*/ 418015 h 420341"/>
                <a:gd name="connsiteX33" fmla="*/ 398345 w 622117"/>
                <a:gd name="connsiteY33" fmla="*/ 380409 h 420341"/>
                <a:gd name="connsiteX34" fmla="*/ 344175 w 622117"/>
                <a:gd name="connsiteY34" fmla="*/ 420221 h 420341"/>
                <a:gd name="connsiteX35" fmla="*/ 325493 w 622117"/>
                <a:gd name="connsiteY35" fmla="*/ 399989 h 420341"/>
                <a:gd name="connsiteX36" fmla="*/ 310719 w 622117"/>
                <a:gd name="connsiteY36" fmla="*/ 359011 h 420341"/>
                <a:gd name="connsiteX37" fmla="*/ 242182 w 622117"/>
                <a:gd name="connsiteY37" fmla="*/ 419306 h 420341"/>
                <a:gd name="connsiteX38" fmla="*/ 228221 w 622117"/>
                <a:gd name="connsiteY38" fmla="*/ 408852 h 420341"/>
                <a:gd name="connsiteX39" fmla="*/ 220047 w 622117"/>
                <a:gd name="connsiteY39" fmla="*/ 358222 h 420341"/>
                <a:gd name="connsiteX40" fmla="*/ 216240 w 622117"/>
                <a:gd name="connsiteY40" fmla="*/ 359124 h 420341"/>
                <a:gd name="connsiteX41" fmla="*/ 149607 w 622117"/>
                <a:gd name="connsiteY41" fmla="*/ 419406 h 420341"/>
                <a:gd name="connsiteX42" fmla="*/ 136470 w 622117"/>
                <a:gd name="connsiteY42" fmla="*/ 410857 h 420341"/>
                <a:gd name="connsiteX43" fmla="*/ 127586 w 622117"/>
                <a:gd name="connsiteY43" fmla="*/ 346138 h 420341"/>
                <a:gd name="connsiteX44" fmla="*/ 123778 w 622117"/>
                <a:gd name="connsiteY44" fmla="*/ 346138 h 420341"/>
                <a:gd name="connsiteX45" fmla="*/ 29616 w 622117"/>
                <a:gd name="connsiteY45" fmla="*/ 420234 h 420341"/>
                <a:gd name="connsiteX46" fmla="*/ 19298 w 622117"/>
                <a:gd name="connsiteY46" fmla="*/ 412637 h 420341"/>
                <a:gd name="connsiteX47" fmla="*/ 41090 w 622117"/>
                <a:gd name="connsiteY47" fmla="*/ 197368 h 420341"/>
                <a:gd name="connsiteX48" fmla="*/ 83177 w 622117"/>
                <a:gd name="connsiteY48" fmla="*/ 178766 h 420341"/>
                <a:gd name="connsiteX49" fmla="*/ 102367 w 622117"/>
                <a:gd name="connsiteY49" fmla="*/ 208224 h 420341"/>
                <a:gd name="connsiteX50" fmla="*/ 102100 w 622117"/>
                <a:gd name="connsiteY50" fmla="*/ 239136 h 420341"/>
                <a:gd name="connsiteX51" fmla="*/ 36368 w 622117"/>
                <a:gd name="connsiteY51" fmla="*/ 299443 h 420341"/>
                <a:gd name="connsiteX52" fmla="*/ 46167 w 622117"/>
                <a:gd name="connsiteY52" fmla="*/ 383831 h 420341"/>
                <a:gd name="connsiteX53" fmla="*/ 58592 w 622117"/>
                <a:gd name="connsiteY53" fmla="*/ 385649 h 420341"/>
                <a:gd name="connsiteX54" fmla="*/ 60331 w 622117"/>
                <a:gd name="connsiteY54" fmla="*/ 383969 h 420341"/>
                <a:gd name="connsiteX55" fmla="*/ 127954 w 622117"/>
                <a:gd name="connsiteY55" fmla="*/ 320866 h 420341"/>
                <a:gd name="connsiteX56" fmla="*/ 202291 w 622117"/>
                <a:gd name="connsiteY56" fmla="*/ 37681 h 420341"/>
                <a:gd name="connsiteX57" fmla="*/ 243007 w 622117"/>
                <a:gd name="connsiteY57" fmla="*/ 0 h 420341"/>
                <a:gd name="connsiteX58" fmla="*/ 244974 w 622117"/>
                <a:gd name="connsiteY58" fmla="*/ 4024 h 420341"/>
                <a:gd name="connsiteX59" fmla="*/ 244162 w 622117"/>
                <a:gd name="connsiteY59" fmla="*/ 5265 h 420341"/>
                <a:gd name="connsiteX60" fmla="*/ 77224 w 622117"/>
                <a:gd name="connsiteY60" fmla="*/ 185510 h 420341"/>
                <a:gd name="connsiteX61" fmla="*/ 63936 w 622117"/>
                <a:gd name="connsiteY61" fmla="*/ 193821 h 420341"/>
                <a:gd name="connsiteX62" fmla="*/ 39516 w 622117"/>
                <a:gd name="connsiteY62" fmla="*/ 281656 h 420341"/>
                <a:gd name="connsiteX63" fmla="*/ 80448 w 622117"/>
                <a:gd name="connsiteY63" fmla="*/ 246419 h 420341"/>
                <a:gd name="connsiteX64" fmla="*/ 86553 w 622117"/>
                <a:gd name="connsiteY64" fmla="*/ 197770 h 420341"/>
                <a:gd name="connsiteX65" fmla="*/ 77224 w 622117"/>
                <a:gd name="connsiteY65" fmla="*/ 185510 h 420341"/>
                <a:gd name="connsiteX66" fmla="*/ 415111 w 622117"/>
                <a:gd name="connsiteY66" fmla="*/ 203536 h 420341"/>
                <a:gd name="connsiteX67" fmla="*/ 378215 w 622117"/>
                <a:gd name="connsiteY67" fmla="*/ 212574 h 420341"/>
                <a:gd name="connsiteX68" fmla="*/ 346891 w 622117"/>
                <a:gd name="connsiteY68" fmla="*/ 331271 h 420341"/>
                <a:gd name="connsiteX69" fmla="*/ 360611 w 622117"/>
                <a:gd name="connsiteY69" fmla="*/ 381976 h 420341"/>
                <a:gd name="connsiteX70" fmla="*/ 395730 w 622117"/>
                <a:gd name="connsiteY70" fmla="*/ 361681 h 420341"/>
                <a:gd name="connsiteX71" fmla="*/ 416037 w 622117"/>
                <a:gd name="connsiteY71" fmla="*/ 208224 h 420341"/>
                <a:gd name="connsiteX72" fmla="*/ 566146 w 622117"/>
                <a:gd name="connsiteY72" fmla="*/ 207698 h 420341"/>
                <a:gd name="connsiteX73" fmla="*/ 530887 w 622117"/>
                <a:gd name="connsiteY73" fmla="*/ 242997 h 420341"/>
                <a:gd name="connsiteX74" fmla="*/ 529618 w 622117"/>
                <a:gd name="connsiteY74" fmla="*/ 378792 h 420341"/>
                <a:gd name="connsiteX75" fmla="*/ 533324 w 622117"/>
                <a:gd name="connsiteY75" fmla="*/ 388219 h 420341"/>
                <a:gd name="connsiteX76" fmla="*/ 558899 w 622117"/>
                <a:gd name="connsiteY76" fmla="*/ 370995 h 420341"/>
                <a:gd name="connsiteX77" fmla="*/ 581871 w 622117"/>
                <a:gd name="connsiteY77" fmla="*/ 223730 h 420341"/>
                <a:gd name="connsiteX78" fmla="*/ 566158 w 622117"/>
                <a:gd name="connsiteY78" fmla="*/ 207710 h 4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22117" h="420341">
                  <a:moveTo>
                    <a:pt x="244162" y="5265"/>
                  </a:moveTo>
                  <a:cubicBezTo>
                    <a:pt x="206086" y="28342"/>
                    <a:pt x="203801" y="76089"/>
                    <a:pt x="190234" y="115337"/>
                  </a:cubicBezTo>
                  <a:cubicBezTo>
                    <a:pt x="169685" y="194774"/>
                    <a:pt x="154696" y="286444"/>
                    <a:pt x="166119" y="372750"/>
                  </a:cubicBezTo>
                  <a:cubicBezTo>
                    <a:pt x="167666" y="376363"/>
                    <a:pt x="170752" y="379115"/>
                    <a:pt x="174546" y="380271"/>
                  </a:cubicBezTo>
                  <a:cubicBezTo>
                    <a:pt x="191170" y="369352"/>
                    <a:pt x="206217" y="356253"/>
                    <a:pt x="219273" y="341336"/>
                  </a:cubicBezTo>
                  <a:cubicBezTo>
                    <a:pt x="227904" y="228092"/>
                    <a:pt x="248807" y="118709"/>
                    <a:pt x="302545" y="23617"/>
                  </a:cubicBezTo>
                  <a:cubicBezTo>
                    <a:pt x="309823" y="12451"/>
                    <a:pt x="320916" y="4236"/>
                    <a:pt x="333806" y="464"/>
                  </a:cubicBezTo>
                  <a:cubicBezTo>
                    <a:pt x="336636" y="464"/>
                    <a:pt x="337613" y="5165"/>
                    <a:pt x="335633" y="7032"/>
                  </a:cubicBezTo>
                  <a:cubicBezTo>
                    <a:pt x="316443" y="13977"/>
                    <a:pt x="309780" y="30298"/>
                    <a:pt x="302964" y="48950"/>
                  </a:cubicBezTo>
                  <a:cubicBezTo>
                    <a:pt x="299197" y="58697"/>
                    <a:pt x="296018" y="68655"/>
                    <a:pt x="293445" y="78772"/>
                  </a:cubicBezTo>
                  <a:cubicBezTo>
                    <a:pt x="267185" y="170380"/>
                    <a:pt x="246358" y="270399"/>
                    <a:pt x="257717" y="371697"/>
                  </a:cubicBezTo>
                  <a:cubicBezTo>
                    <a:pt x="259570" y="376398"/>
                    <a:pt x="264241" y="382064"/>
                    <a:pt x="269927" y="380221"/>
                  </a:cubicBezTo>
                  <a:cubicBezTo>
                    <a:pt x="285184" y="369996"/>
                    <a:pt x="298419" y="357102"/>
                    <a:pt x="308980" y="342176"/>
                  </a:cubicBezTo>
                  <a:cubicBezTo>
                    <a:pt x="303214" y="285875"/>
                    <a:pt x="329984" y="231155"/>
                    <a:pt x="378228" y="200628"/>
                  </a:cubicBezTo>
                  <a:cubicBezTo>
                    <a:pt x="399780" y="188729"/>
                    <a:pt x="425822" y="187833"/>
                    <a:pt x="448161" y="198221"/>
                  </a:cubicBezTo>
                  <a:cubicBezTo>
                    <a:pt x="436742" y="251477"/>
                    <a:pt x="430553" y="305697"/>
                    <a:pt x="429681" y="360127"/>
                  </a:cubicBezTo>
                  <a:cubicBezTo>
                    <a:pt x="430316" y="366633"/>
                    <a:pt x="429529" y="377915"/>
                    <a:pt x="437030" y="382690"/>
                  </a:cubicBezTo>
                  <a:lnTo>
                    <a:pt x="444645" y="380885"/>
                  </a:lnTo>
                  <a:lnTo>
                    <a:pt x="491339" y="333527"/>
                  </a:lnTo>
                  <a:cubicBezTo>
                    <a:pt x="498793" y="257666"/>
                    <a:pt x="511159" y="182354"/>
                    <a:pt x="528362" y="108054"/>
                  </a:cubicBezTo>
                  <a:cubicBezTo>
                    <a:pt x="539048" y="74435"/>
                    <a:pt x="563899" y="27954"/>
                    <a:pt x="593332" y="24331"/>
                  </a:cubicBezTo>
                  <a:cubicBezTo>
                    <a:pt x="604171" y="33808"/>
                    <a:pt x="592228" y="28092"/>
                    <a:pt x="580031" y="39536"/>
                  </a:cubicBezTo>
                  <a:cubicBezTo>
                    <a:pt x="544722" y="77957"/>
                    <a:pt x="531725" y="152116"/>
                    <a:pt x="525455" y="215770"/>
                  </a:cubicBezTo>
                  <a:cubicBezTo>
                    <a:pt x="532702" y="217738"/>
                    <a:pt x="534073" y="216911"/>
                    <a:pt x="546295" y="207522"/>
                  </a:cubicBezTo>
                  <a:lnTo>
                    <a:pt x="590083" y="171383"/>
                  </a:lnTo>
                  <a:cubicBezTo>
                    <a:pt x="600465" y="170530"/>
                    <a:pt x="606011" y="182765"/>
                    <a:pt x="609717" y="190299"/>
                  </a:cubicBezTo>
                  <a:cubicBezTo>
                    <a:pt x="632199" y="244293"/>
                    <a:pt x="623715" y="306041"/>
                    <a:pt x="587481" y="352167"/>
                  </a:cubicBezTo>
                  <a:cubicBezTo>
                    <a:pt x="569051" y="379470"/>
                    <a:pt x="544562" y="402266"/>
                    <a:pt x="515873" y="418817"/>
                  </a:cubicBezTo>
                  <a:cubicBezTo>
                    <a:pt x="504450" y="422578"/>
                    <a:pt x="501378" y="418002"/>
                    <a:pt x="500642" y="417313"/>
                  </a:cubicBezTo>
                  <a:cubicBezTo>
                    <a:pt x="492227" y="406833"/>
                    <a:pt x="493712" y="378454"/>
                    <a:pt x="492024" y="355990"/>
                  </a:cubicBezTo>
                  <a:lnTo>
                    <a:pt x="489207" y="354085"/>
                  </a:lnTo>
                  <a:lnTo>
                    <a:pt x="416862" y="419958"/>
                  </a:lnTo>
                  <a:cubicBezTo>
                    <a:pt x="414984" y="419958"/>
                    <a:pt x="410059" y="421211"/>
                    <a:pt x="408397" y="418015"/>
                  </a:cubicBezTo>
                  <a:cubicBezTo>
                    <a:pt x="402772" y="406183"/>
                    <a:pt x="399365" y="393442"/>
                    <a:pt x="398345" y="380409"/>
                  </a:cubicBezTo>
                  <a:cubicBezTo>
                    <a:pt x="379307" y="391490"/>
                    <a:pt x="363150" y="409140"/>
                    <a:pt x="344175" y="420221"/>
                  </a:cubicBezTo>
                  <a:cubicBezTo>
                    <a:pt x="333768" y="421061"/>
                    <a:pt x="329084" y="408438"/>
                    <a:pt x="325493" y="399989"/>
                  </a:cubicBezTo>
                  <a:cubicBezTo>
                    <a:pt x="317357" y="379419"/>
                    <a:pt x="316608" y="374655"/>
                    <a:pt x="310719" y="359011"/>
                  </a:cubicBezTo>
                  <a:lnTo>
                    <a:pt x="242182" y="419306"/>
                  </a:lnTo>
                  <a:cubicBezTo>
                    <a:pt x="234567" y="423067"/>
                    <a:pt x="230176" y="414844"/>
                    <a:pt x="228221" y="408852"/>
                  </a:cubicBezTo>
                  <a:cubicBezTo>
                    <a:pt x="224377" y="392170"/>
                    <a:pt x="221646" y="375257"/>
                    <a:pt x="220047" y="358222"/>
                  </a:cubicBezTo>
                  <a:lnTo>
                    <a:pt x="216240" y="359124"/>
                  </a:lnTo>
                  <a:lnTo>
                    <a:pt x="149607" y="419406"/>
                  </a:lnTo>
                  <a:cubicBezTo>
                    <a:pt x="142550" y="421512"/>
                    <a:pt x="139986" y="418755"/>
                    <a:pt x="136470" y="410857"/>
                  </a:cubicBezTo>
                  <a:cubicBezTo>
                    <a:pt x="130416" y="397269"/>
                    <a:pt x="130696" y="366883"/>
                    <a:pt x="127586" y="346138"/>
                  </a:cubicBezTo>
                  <a:lnTo>
                    <a:pt x="123778" y="346138"/>
                  </a:lnTo>
                  <a:cubicBezTo>
                    <a:pt x="92404" y="370193"/>
                    <a:pt x="64722" y="401807"/>
                    <a:pt x="29616" y="420234"/>
                  </a:cubicBezTo>
                  <a:cubicBezTo>
                    <a:pt x="24895" y="421111"/>
                    <a:pt x="21151" y="416473"/>
                    <a:pt x="19298" y="412637"/>
                  </a:cubicBezTo>
                  <a:cubicBezTo>
                    <a:pt x="-11265" y="346777"/>
                    <a:pt x="-6619" y="252185"/>
                    <a:pt x="41090" y="197368"/>
                  </a:cubicBezTo>
                  <a:cubicBezTo>
                    <a:pt x="46839" y="191301"/>
                    <a:pt x="63859" y="170593"/>
                    <a:pt x="83177" y="178766"/>
                  </a:cubicBezTo>
                  <a:cubicBezTo>
                    <a:pt x="94066" y="182527"/>
                    <a:pt x="99169" y="191163"/>
                    <a:pt x="102367" y="208224"/>
                  </a:cubicBezTo>
                  <a:cubicBezTo>
                    <a:pt x="105644" y="218289"/>
                    <a:pt x="105550" y="229128"/>
                    <a:pt x="102100" y="239136"/>
                  </a:cubicBezTo>
                  <a:lnTo>
                    <a:pt x="36368" y="299443"/>
                  </a:lnTo>
                  <a:cubicBezTo>
                    <a:pt x="31891" y="327931"/>
                    <a:pt x="35276" y="357085"/>
                    <a:pt x="46167" y="383831"/>
                  </a:cubicBezTo>
                  <a:cubicBezTo>
                    <a:pt x="49091" y="387721"/>
                    <a:pt x="54653" y="388534"/>
                    <a:pt x="58592" y="385649"/>
                  </a:cubicBezTo>
                  <a:cubicBezTo>
                    <a:pt x="59251" y="385174"/>
                    <a:pt x="59836" y="384608"/>
                    <a:pt x="60331" y="383969"/>
                  </a:cubicBezTo>
                  <a:lnTo>
                    <a:pt x="127954" y="320866"/>
                  </a:lnTo>
                  <a:cubicBezTo>
                    <a:pt x="138298" y="220734"/>
                    <a:pt x="157146" y="123460"/>
                    <a:pt x="202291" y="37681"/>
                  </a:cubicBezTo>
                  <a:cubicBezTo>
                    <a:pt x="207634" y="27791"/>
                    <a:pt x="225365" y="752"/>
                    <a:pt x="243007" y="0"/>
                  </a:cubicBezTo>
                  <a:cubicBezTo>
                    <a:pt x="244671" y="580"/>
                    <a:pt x="245549" y="2377"/>
                    <a:pt x="244974" y="4024"/>
                  </a:cubicBezTo>
                  <a:cubicBezTo>
                    <a:pt x="244800" y="4491"/>
                    <a:pt x="244523" y="4916"/>
                    <a:pt x="244162" y="5265"/>
                  </a:cubicBezTo>
                  <a:close/>
                  <a:moveTo>
                    <a:pt x="77224" y="185510"/>
                  </a:moveTo>
                  <a:cubicBezTo>
                    <a:pt x="72275" y="187374"/>
                    <a:pt x="67757" y="190199"/>
                    <a:pt x="63936" y="193821"/>
                  </a:cubicBezTo>
                  <a:cubicBezTo>
                    <a:pt x="49883" y="221174"/>
                    <a:pt x="41576" y="251051"/>
                    <a:pt x="39516" y="281656"/>
                  </a:cubicBezTo>
                  <a:cubicBezTo>
                    <a:pt x="54645" y="269747"/>
                    <a:pt x="68060" y="257563"/>
                    <a:pt x="80448" y="246419"/>
                  </a:cubicBezTo>
                  <a:lnTo>
                    <a:pt x="86553" y="197770"/>
                  </a:lnTo>
                  <a:cubicBezTo>
                    <a:pt x="89459" y="190311"/>
                    <a:pt x="84776" y="185585"/>
                    <a:pt x="77224" y="185510"/>
                  </a:cubicBezTo>
                  <a:close/>
                  <a:moveTo>
                    <a:pt x="415111" y="203536"/>
                  </a:moveTo>
                  <a:cubicBezTo>
                    <a:pt x="401949" y="195927"/>
                    <a:pt x="388711" y="202746"/>
                    <a:pt x="378215" y="212574"/>
                  </a:cubicBezTo>
                  <a:cubicBezTo>
                    <a:pt x="347754" y="241405"/>
                    <a:pt x="343502" y="289039"/>
                    <a:pt x="346891" y="331271"/>
                  </a:cubicBezTo>
                  <a:cubicBezTo>
                    <a:pt x="346891" y="335307"/>
                    <a:pt x="349125" y="369503"/>
                    <a:pt x="360611" y="381976"/>
                  </a:cubicBezTo>
                  <a:cubicBezTo>
                    <a:pt x="374915" y="383229"/>
                    <a:pt x="386211" y="370030"/>
                    <a:pt x="395730" y="361681"/>
                  </a:cubicBezTo>
                  <a:cubicBezTo>
                    <a:pt x="400921" y="310211"/>
                    <a:pt x="407039" y="258741"/>
                    <a:pt x="416037" y="208224"/>
                  </a:cubicBezTo>
                  <a:close/>
                  <a:moveTo>
                    <a:pt x="566146" y="207698"/>
                  </a:moveTo>
                  <a:cubicBezTo>
                    <a:pt x="549725" y="213795"/>
                    <a:pt x="536837" y="226697"/>
                    <a:pt x="530887" y="242997"/>
                  </a:cubicBezTo>
                  <a:cubicBezTo>
                    <a:pt x="520125" y="285993"/>
                    <a:pt x="527207" y="334768"/>
                    <a:pt x="529618" y="378792"/>
                  </a:cubicBezTo>
                  <a:lnTo>
                    <a:pt x="533324" y="388219"/>
                  </a:lnTo>
                  <a:cubicBezTo>
                    <a:pt x="542615" y="387893"/>
                    <a:pt x="553784" y="376937"/>
                    <a:pt x="558899" y="370995"/>
                  </a:cubicBezTo>
                  <a:cubicBezTo>
                    <a:pt x="596556" y="329628"/>
                    <a:pt x="589969" y="272518"/>
                    <a:pt x="581871" y="223730"/>
                  </a:cubicBezTo>
                  <a:cubicBezTo>
                    <a:pt x="581224" y="219970"/>
                    <a:pt x="579333" y="203749"/>
                    <a:pt x="566158" y="207710"/>
                  </a:cubicBezTo>
                  <a:close/>
                </a:path>
              </a:pathLst>
            </a:custGeom>
            <a:solidFill>
              <a:srgbClr val="1D1D1B"/>
            </a:solidFill>
            <a:ln w="12664" cap="flat">
              <a:noFill/>
              <a:prstDash val="solid"/>
              <a:miter/>
            </a:ln>
          </p:spPr>
          <p:txBody>
            <a:bodyPr rtlCol="0" anchor="ctr"/>
            <a:lstStyle/>
            <a:p>
              <a:endParaRPr lang="en-US"/>
            </a:p>
          </p:txBody>
        </p:sp>
        <p:sp>
          <p:nvSpPr>
            <p:cNvPr id="117" name="Freeform 116">
              <a:extLst>
                <a:ext uri="{FF2B5EF4-FFF2-40B4-BE49-F238E27FC236}">
                  <a16:creationId xmlns:a16="http://schemas.microsoft.com/office/drawing/2014/main" id="{F4019E6D-CE76-514E-964D-18A568388C34}"/>
                </a:ext>
              </a:extLst>
            </p:cNvPr>
            <p:cNvSpPr/>
            <p:nvPr/>
          </p:nvSpPr>
          <p:spPr>
            <a:xfrm>
              <a:off x="7944028" y="412486"/>
              <a:ext cx="622096" cy="420416"/>
            </a:xfrm>
            <a:custGeom>
              <a:avLst/>
              <a:gdLst>
                <a:gd name="connsiteX0" fmla="*/ 244048 w 622096"/>
                <a:gd name="connsiteY0" fmla="*/ 5277 h 420416"/>
                <a:gd name="connsiteX1" fmla="*/ 190170 w 622096"/>
                <a:gd name="connsiteY1" fmla="*/ 115337 h 420416"/>
                <a:gd name="connsiteX2" fmla="*/ 166055 w 622096"/>
                <a:gd name="connsiteY2" fmla="*/ 372775 h 420416"/>
                <a:gd name="connsiteX3" fmla="*/ 174496 w 622096"/>
                <a:gd name="connsiteY3" fmla="*/ 380296 h 420416"/>
                <a:gd name="connsiteX4" fmla="*/ 219273 w 622096"/>
                <a:gd name="connsiteY4" fmla="*/ 341437 h 420416"/>
                <a:gd name="connsiteX5" fmla="*/ 302545 w 622096"/>
                <a:gd name="connsiteY5" fmla="*/ 23667 h 420416"/>
                <a:gd name="connsiteX6" fmla="*/ 333806 w 622096"/>
                <a:gd name="connsiteY6" fmla="*/ 514 h 420416"/>
                <a:gd name="connsiteX7" fmla="*/ 335633 w 622096"/>
                <a:gd name="connsiteY7" fmla="*/ 7095 h 420416"/>
                <a:gd name="connsiteX8" fmla="*/ 302964 w 622096"/>
                <a:gd name="connsiteY8" fmla="*/ 49013 h 420416"/>
                <a:gd name="connsiteX9" fmla="*/ 293445 w 622096"/>
                <a:gd name="connsiteY9" fmla="*/ 78835 h 420416"/>
                <a:gd name="connsiteX10" fmla="*/ 257717 w 622096"/>
                <a:gd name="connsiteY10" fmla="*/ 371772 h 420416"/>
                <a:gd name="connsiteX11" fmla="*/ 269927 w 622096"/>
                <a:gd name="connsiteY11" fmla="*/ 380296 h 420416"/>
                <a:gd name="connsiteX12" fmla="*/ 308980 w 622096"/>
                <a:gd name="connsiteY12" fmla="*/ 342239 h 420416"/>
                <a:gd name="connsiteX13" fmla="*/ 378228 w 622096"/>
                <a:gd name="connsiteY13" fmla="*/ 200690 h 420416"/>
                <a:gd name="connsiteX14" fmla="*/ 448161 w 622096"/>
                <a:gd name="connsiteY14" fmla="*/ 198284 h 420416"/>
                <a:gd name="connsiteX15" fmla="*/ 429681 w 622096"/>
                <a:gd name="connsiteY15" fmla="*/ 360202 h 420416"/>
                <a:gd name="connsiteX16" fmla="*/ 437030 w 622096"/>
                <a:gd name="connsiteY16" fmla="*/ 382766 h 420416"/>
                <a:gd name="connsiteX17" fmla="*/ 444645 w 622096"/>
                <a:gd name="connsiteY17" fmla="*/ 380961 h 420416"/>
                <a:gd name="connsiteX18" fmla="*/ 491339 w 622096"/>
                <a:gd name="connsiteY18" fmla="*/ 333590 h 420416"/>
                <a:gd name="connsiteX19" fmla="*/ 528362 w 622096"/>
                <a:gd name="connsiteY19" fmla="*/ 108092 h 420416"/>
                <a:gd name="connsiteX20" fmla="*/ 593332 w 622096"/>
                <a:gd name="connsiteY20" fmla="*/ 24369 h 420416"/>
                <a:gd name="connsiteX21" fmla="*/ 580031 w 622096"/>
                <a:gd name="connsiteY21" fmla="*/ 39574 h 420416"/>
                <a:gd name="connsiteX22" fmla="*/ 525455 w 622096"/>
                <a:gd name="connsiteY22" fmla="*/ 215808 h 420416"/>
                <a:gd name="connsiteX23" fmla="*/ 546295 w 622096"/>
                <a:gd name="connsiteY23" fmla="*/ 207560 h 420416"/>
                <a:gd name="connsiteX24" fmla="*/ 590083 w 622096"/>
                <a:gd name="connsiteY24" fmla="*/ 171420 h 420416"/>
                <a:gd name="connsiteX25" fmla="*/ 609717 w 622096"/>
                <a:gd name="connsiteY25" fmla="*/ 190324 h 420416"/>
                <a:gd name="connsiteX26" fmla="*/ 587443 w 622096"/>
                <a:gd name="connsiteY26" fmla="*/ 352167 h 420416"/>
                <a:gd name="connsiteX27" fmla="*/ 515835 w 622096"/>
                <a:gd name="connsiteY27" fmla="*/ 418842 h 420416"/>
                <a:gd name="connsiteX28" fmla="*/ 500604 w 622096"/>
                <a:gd name="connsiteY28" fmla="*/ 417338 h 420416"/>
                <a:gd name="connsiteX29" fmla="*/ 491986 w 622096"/>
                <a:gd name="connsiteY29" fmla="*/ 356003 h 420416"/>
                <a:gd name="connsiteX30" fmla="*/ 489169 w 622096"/>
                <a:gd name="connsiteY30" fmla="*/ 354097 h 420416"/>
                <a:gd name="connsiteX31" fmla="*/ 416824 w 622096"/>
                <a:gd name="connsiteY31" fmla="*/ 419983 h 420416"/>
                <a:gd name="connsiteX32" fmla="*/ 408359 w 622096"/>
                <a:gd name="connsiteY32" fmla="*/ 418040 h 420416"/>
                <a:gd name="connsiteX33" fmla="*/ 398307 w 622096"/>
                <a:gd name="connsiteY33" fmla="*/ 380434 h 420416"/>
                <a:gd name="connsiteX34" fmla="*/ 344137 w 622096"/>
                <a:gd name="connsiteY34" fmla="*/ 420246 h 420416"/>
                <a:gd name="connsiteX35" fmla="*/ 325454 w 622096"/>
                <a:gd name="connsiteY35" fmla="*/ 400014 h 420416"/>
                <a:gd name="connsiteX36" fmla="*/ 310681 w 622096"/>
                <a:gd name="connsiteY36" fmla="*/ 359036 h 420416"/>
                <a:gd name="connsiteX37" fmla="*/ 242144 w 622096"/>
                <a:gd name="connsiteY37" fmla="*/ 419331 h 420416"/>
                <a:gd name="connsiteX38" fmla="*/ 228183 w 622096"/>
                <a:gd name="connsiteY38" fmla="*/ 408864 h 420416"/>
                <a:gd name="connsiteX39" fmla="*/ 220009 w 622096"/>
                <a:gd name="connsiteY39" fmla="*/ 358222 h 420416"/>
                <a:gd name="connsiteX40" fmla="*/ 216202 w 622096"/>
                <a:gd name="connsiteY40" fmla="*/ 359149 h 420416"/>
                <a:gd name="connsiteX41" fmla="*/ 149607 w 622096"/>
                <a:gd name="connsiteY41" fmla="*/ 419469 h 420416"/>
                <a:gd name="connsiteX42" fmla="*/ 136470 w 622096"/>
                <a:gd name="connsiteY42" fmla="*/ 410920 h 420416"/>
                <a:gd name="connsiteX43" fmla="*/ 127586 w 622096"/>
                <a:gd name="connsiteY43" fmla="*/ 346188 h 420416"/>
                <a:gd name="connsiteX44" fmla="*/ 123778 w 622096"/>
                <a:gd name="connsiteY44" fmla="*/ 346188 h 420416"/>
                <a:gd name="connsiteX45" fmla="*/ 29616 w 622096"/>
                <a:gd name="connsiteY45" fmla="*/ 420309 h 420416"/>
                <a:gd name="connsiteX46" fmla="*/ 19298 w 622096"/>
                <a:gd name="connsiteY46" fmla="*/ 412713 h 420416"/>
                <a:gd name="connsiteX47" fmla="*/ 41090 w 622096"/>
                <a:gd name="connsiteY47" fmla="*/ 197431 h 420416"/>
                <a:gd name="connsiteX48" fmla="*/ 83177 w 622096"/>
                <a:gd name="connsiteY48" fmla="*/ 178829 h 420416"/>
                <a:gd name="connsiteX49" fmla="*/ 102380 w 622096"/>
                <a:gd name="connsiteY49" fmla="*/ 208287 h 420416"/>
                <a:gd name="connsiteX50" fmla="*/ 102100 w 622096"/>
                <a:gd name="connsiteY50" fmla="*/ 239199 h 420416"/>
                <a:gd name="connsiteX51" fmla="*/ 36368 w 622096"/>
                <a:gd name="connsiteY51" fmla="*/ 299506 h 420416"/>
                <a:gd name="connsiteX52" fmla="*/ 46002 w 622096"/>
                <a:gd name="connsiteY52" fmla="*/ 383906 h 420416"/>
                <a:gd name="connsiteX53" fmla="*/ 58427 w 622096"/>
                <a:gd name="connsiteY53" fmla="*/ 385724 h 420416"/>
                <a:gd name="connsiteX54" fmla="*/ 60166 w 622096"/>
                <a:gd name="connsiteY54" fmla="*/ 384044 h 420416"/>
                <a:gd name="connsiteX55" fmla="*/ 127891 w 622096"/>
                <a:gd name="connsiteY55" fmla="*/ 320866 h 420416"/>
                <a:gd name="connsiteX56" fmla="*/ 202240 w 622096"/>
                <a:gd name="connsiteY56" fmla="*/ 37681 h 420416"/>
                <a:gd name="connsiteX57" fmla="*/ 242956 w 622096"/>
                <a:gd name="connsiteY57" fmla="*/ 0 h 420416"/>
                <a:gd name="connsiteX58" fmla="*/ 244860 w 622096"/>
                <a:gd name="connsiteY58" fmla="*/ 4049 h 420416"/>
                <a:gd name="connsiteX59" fmla="*/ 244048 w 622096"/>
                <a:gd name="connsiteY59" fmla="*/ 5277 h 420416"/>
                <a:gd name="connsiteX60" fmla="*/ 77123 w 622096"/>
                <a:gd name="connsiteY60" fmla="*/ 185523 h 420416"/>
                <a:gd name="connsiteX61" fmla="*/ 63834 w 622096"/>
                <a:gd name="connsiteY61" fmla="*/ 193833 h 420416"/>
                <a:gd name="connsiteX62" fmla="*/ 39415 w 622096"/>
                <a:gd name="connsiteY62" fmla="*/ 281681 h 420416"/>
                <a:gd name="connsiteX63" fmla="*/ 80346 w 622096"/>
                <a:gd name="connsiteY63" fmla="*/ 246444 h 420416"/>
                <a:gd name="connsiteX64" fmla="*/ 86451 w 622096"/>
                <a:gd name="connsiteY64" fmla="*/ 197795 h 420416"/>
                <a:gd name="connsiteX65" fmla="*/ 77123 w 622096"/>
                <a:gd name="connsiteY65" fmla="*/ 185523 h 420416"/>
                <a:gd name="connsiteX66" fmla="*/ 415022 w 622096"/>
                <a:gd name="connsiteY66" fmla="*/ 203548 h 420416"/>
                <a:gd name="connsiteX67" fmla="*/ 378126 w 622096"/>
                <a:gd name="connsiteY67" fmla="*/ 212574 h 420416"/>
                <a:gd name="connsiteX68" fmla="*/ 346815 w 622096"/>
                <a:gd name="connsiteY68" fmla="*/ 331283 h 420416"/>
                <a:gd name="connsiteX69" fmla="*/ 360522 w 622096"/>
                <a:gd name="connsiteY69" fmla="*/ 382001 h 420416"/>
                <a:gd name="connsiteX70" fmla="*/ 395641 w 622096"/>
                <a:gd name="connsiteY70" fmla="*/ 361706 h 420416"/>
                <a:gd name="connsiteX71" fmla="*/ 415948 w 622096"/>
                <a:gd name="connsiteY71" fmla="*/ 208237 h 420416"/>
                <a:gd name="connsiteX72" fmla="*/ 566057 w 622096"/>
                <a:gd name="connsiteY72" fmla="*/ 207710 h 420416"/>
                <a:gd name="connsiteX73" fmla="*/ 530798 w 622096"/>
                <a:gd name="connsiteY73" fmla="*/ 243009 h 420416"/>
                <a:gd name="connsiteX74" fmla="*/ 529529 w 622096"/>
                <a:gd name="connsiteY74" fmla="*/ 378817 h 420416"/>
                <a:gd name="connsiteX75" fmla="*/ 533235 w 622096"/>
                <a:gd name="connsiteY75" fmla="*/ 388244 h 420416"/>
                <a:gd name="connsiteX76" fmla="*/ 558810 w 622096"/>
                <a:gd name="connsiteY76" fmla="*/ 371020 h 420416"/>
                <a:gd name="connsiteX77" fmla="*/ 581795 w 622096"/>
                <a:gd name="connsiteY77" fmla="*/ 223743 h 420416"/>
                <a:gd name="connsiteX78" fmla="*/ 566095 w 622096"/>
                <a:gd name="connsiteY78" fmla="*/ 207710 h 420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22096" h="420416">
                  <a:moveTo>
                    <a:pt x="244048" y="5277"/>
                  </a:moveTo>
                  <a:cubicBezTo>
                    <a:pt x="206061" y="28355"/>
                    <a:pt x="203738" y="76114"/>
                    <a:pt x="190170" y="115337"/>
                  </a:cubicBezTo>
                  <a:cubicBezTo>
                    <a:pt x="169609" y="194786"/>
                    <a:pt x="154633" y="286457"/>
                    <a:pt x="166055" y="372775"/>
                  </a:cubicBezTo>
                  <a:cubicBezTo>
                    <a:pt x="167605" y="376390"/>
                    <a:pt x="170696" y="379144"/>
                    <a:pt x="174496" y="380296"/>
                  </a:cubicBezTo>
                  <a:cubicBezTo>
                    <a:pt x="191129" y="369398"/>
                    <a:pt x="206191" y="356326"/>
                    <a:pt x="219273" y="341437"/>
                  </a:cubicBezTo>
                  <a:cubicBezTo>
                    <a:pt x="227853" y="228143"/>
                    <a:pt x="248757" y="118760"/>
                    <a:pt x="302545" y="23667"/>
                  </a:cubicBezTo>
                  <a:cubicBezTo>
                    <a:pt x="309829" y="12508"/>
                    <a:pt x="320920" y="4295"/>
                    <a:pt x="333806" y="514"/>
                  </a:cubicBezTo>
                  <a:cubicBezTo>
                    <a:pt x="336636" y="514"/>
                    <a:pt x="337613" y="5227"/>
                    <a:pt x="335633" y="7095"/>
                  </a:cubicBezTo>
                  <a:cubicBezTo>
                    <a:pt x="316443" y="14027"/>
                    <a:pt x="309780" y="30361"/>
                    <a:pt x="302964" y="49013"/>
                  </a:cubicBezTo>
                  <a:cubicBezTo>
                    <a:pt x="299197" y="58759"/>
                    <a:pt x="296018" y="68717"/>
                    <a:pt x="293445" y="78835"/>
                  </a:cubicBezTo>
                  <a:cubicBezTo>
                    <a:pt x="267185" y="170443"/>
                    <a:pt x="246358" y="270462"/>
                    <a:pt x="257717" y="371772"/>
                  </a:cubicBezTo>
                  <a:cubicBezTo>
                    <a:pt x="259570" y="376473"/>
                    <a:pt x="264241" y="382139"/>
                    <a:pt x="269927" y="380296"/>
                  </a:cubicBezTo>
                  <a:cubicBezTo>
                    <a:pt x="285184" y="370066"/>
                    <a:pt x="298419" y="357169"/>
                    <a:pt x="308980" y="342239"/>
                  </a:cubicBezTo>
                  <a:cubicBezTo>
                    <a:pt x="303214" y="285938"/>
                    <a:pt x="329984" y="231218"/>
                    <a:pt x="378228" y="200690"/>
                  </a:cubicBezTo>
                  <a:cubicBezTo>
                    <a:pt x="399780" y="188792"/>
                    <a:pt x="425822" y="187895"/>
                    <a:pt x="448161" y="198284"/>
                  </a:cubicBezTo>
                  <a:cubicBezTo>
                    <a:pt x="436742" y="251544"/>
                    <a:pt x="430553" y="305768"/>
                    <a:pt x="429681" y="360202"/>
                  </a:cubicBezTo>
                  <a:cubicBezTo>
                    <a:pt x="430316" y="366708"/>
                    <a:pt x="429529" y="377990"/>
                    <a:pt x="437030" y="382766"/>
                  </a:cubicBezTo>
                  <a:lnTo>
                    <a:pt x="444645" y="380961"/>
                  </a:lnTo>
                  <a:lnTo>
                    <a:pt x="491339" y="333590"/>
                  </a:lnTo>
                  <a:cubicBezTo>
                    <a:pt x="498791" y="257720"/>
                    <a:pt x="511158" y="182400"/>
                    <a:pt x="528362" y="108092"/>
                  </a:cubicBezTo>
                  <a:cubicBezTo>
                    <a:pt x="539048" y="74472"/>
                    <a:pt x="563963" y="27979"/>
                    <a:pt x="593332" y="24369"/>
                  </a:cubicBezTo>
                  <a:cubicBezTo>
                    <a:pt x="604171" y="33845"/>
                    <a:pt x="592228" y="28129"/>
                    <a:pt x="580031" y="39574"/>
                  </a:cubicBezTo>
                  <a:cubicBezTo>
                    <a:pt x="544722" y="77982"/>
                    <a:pt x="531725" y="152154"/>
                    <a:pt x="525455" y="215808"/>
                  </a:cubicBezTo>
                  <a:cubicBezTo>
                    <a:pt x="532702" y="217763"/>
                    <a:pt x="534073" y="216949"/>
                    <a:pt x="546295" y="207560"/>
                  </a:cubicBezTo>
                  <a:lnTo>
                    <a:pt x="590083" y="171420"/>
                  </a:lnTo>
                  <a:cubicBezTo>
                    <a:pt x="600465" y="170568"/>
                    <a:pt x="606011" y="182802"/>
                    <a:pt x="609717" y="190324"/>
                  </a:cubicBezTo>
                  <a:cubicBezTo>
                    <a:pt x="632177" y="244318"/>
                    <a:pt x="623681" y="306053"/>
                    <a:pt x="587443" y="352167"/>
                  </a:cubicBezTo>
                  <a:cubicBezTo>
                    <a:pt x="569021" y="379484"/>
                    <a:pt x="544530" y="402288"/>
                    <a:pt x="515835" y="418842"/>
                  </a:cubicBezTo>
                  <a:cubicBezTo>
                    <a:pt x="504412" y="422603"/>
                    <a:pt x="501340" y="418027"/>
                    <a:pt x="500604" y="417338"/>
                  </a:cubicBezTo>
                  <a:cubicBezTo>
                    <a:pt x="492189" y="406846"/>
                    <a:pt x="493674" y="378479"/>
                    <a:pt x="491986" y="356003"/>
                  </a:cubicBezTo>
                  <a:lnTo>
                    <a:pt x="489169" y="354097"/>
                  </a:lnTo>
                  <a:lnTo>
                    <a:pt x="416824" y="419983"/>
                  </a:lnTo>
                  <a:cubicBezTo>
                    <a:pt x="414946" y="419983"/>
                    <a:pt x="410021" y="421237"/>
                    <a:pt x="408359" y="418040"/>
                  </a:cubicBezTo>
                  <a:cubicBezTo>
                    <a:pt x="402734" y="406208"/>
                    <a:pt x="399327" y="393467"/>
                    <a:pt x="398307" y="380434"/>
                  </a:cubicBezTo>
                  <a:cubicBezTo>
                    <a:pt x="379269" y="391515"/>
                    <a:pt x="363112" y="409165"/>
                    <a:pt x="344137" y="420246"/>
                  </a:cubicBezTo>
                  <a:cubicBezTo>
                    <a:pt x="333730" y="421086"/>
                    <a:pt x="329046" y="408463"/>
                    <a:pt x="325454" y="400014"/>
                  </a:cubicBezTo>
                  <a:cubicBezTo>
                    <a:pt x="317319" y="379444"/>
                    <a:pt x="316570" y="374668"/>
                    <a:pt x="310681" y="359036"/>
                  </a:cubicBezTo>
                  <a:lnTo>
                    <a:pt x="242144" y="419331"/>
                  </a:lnTo>
                  <a:cubicBezTo>
                    <a:pt x="234529" y="423017"/>
                    <a:pt x="230137" y="414869"/>
                    <a:pt x="228183" y="408864"/>
                  </a:cubicBezTo>
                  <a:cubicBezTo>
                    <a:pt x="224332" y="392180"/>
                    <a:pt x="221602" y="375262"/>
                    <a:pt x="220009" y="358222"/>
                  </a:cubicBezTo>
                  <a:lnTo>
                    <a:pt x="216202" y="359149"/>
                  </a:lnTo>
                  <a:lnTo>
                    <a:pt x="149607" y="419469"/>
                  </a:lnTo>
                  <a:cubicBezTo>
                    <a:pt x="142550" y="421575"/>
                    <a:pt x="139986" y="418817"/>
                    <a:pt x="136470" y="410920"/>
                  </a:cubicBezTo>
                  <a:cubicBezTo>
                    <a:pt x="130416" y="397332"/>
                    <a:pt x="130696" y="366946"/>
                    <a:pt x="127586" y="346188"/>
                  </a:cubicBezTo>
                  <a:lnTo>
                    <a:pt x="123778" y="346188"/>
                  </a:lnTo>
                  <a:cubicBezTo>
                    <a:pt x="92404" y="370268"/>
                    <a:pt x="64722" y="401882"/>
                    <a:pt x="29616" y="420309"/>
                  </a:cubicBezTo>
                  <a:cubicBezTo>
                    <a:pt x="24895" y="421186"/>
                    <a:pt x="21151" y="416548"/>
                    <a:pt x="19298" y="412713"/>
                  </a:cubicBezTo>
                  <a:cubicBezTo>
                    <a:pt x="-11265" y="346839"/>
                    <a:pt x="-6619" y="252261"/>
                    <a:pt x="41090" y="197431"/>
                  </a:cubicBezTo>
                  <a:cubicBezTo>
                    <a:pt x="46839" y="191364"/>
                    <a:pt x="63859" y="170656"/>
                    <a:pt x="83177" y="178829"/>
                  </a:cubicBezTo>
                  <a:cubicBezTo>
                    <a:pt x="94066" y="182589"/>
                    <a:pt x="99181" y="191226"/>
                    <a:pt x="102380" y="208287"/>
                  </a:cubicBezTo>
                  <a:cubicBezTo>
                    <a:pt x="105640" y="218355"/>
                    <a:pt x="105542" y="229191"/>
                    <a:pt x="102100" y="239199"/>
                  </a:cubicBezTo>
                  <a:lnTo>
                    <a:pt x="36368" y="299506"/>
                  </a:lnTo>
                  <a:cubicBezTo>
                    <a:pt x="31849" y="327984"/>
                    <a:pt x="35177" y="357137"/>
                    <a:pt x="46002" y="383906"/>
                  </a:cubicBezTo>
                  <a:cubicBezTo>
                    <a:pt x="48926" y="387796"/>
                    <a:pt x="54488" y="388610"/>
                    <a:pt x="58427" y="385724"/>
                  </a:cubicBezTo>
                  <a:cubicBezTo>
                    <a:pt x="59086" y="385249"/>
                    <a:pt x="59671" y="384684"/>
                    <a:pt x="60166" y="384044"/>
                  </a:cubicBezTo>
                  <a:lnTo>
                    <a:pt x="127891" y="320866"/>
                  </a:lnTo>
                  <a:cubicBezTo>
                    <a:pt x="138235" y="220734"/>
                    <a:pt x="157082" y="123460"/>
                    <a:pt x="202240" y="37681"/>
                  </a:cubicBezTo>
                  <a:cubicBezTo>
                    <a:pt x="207584" y="27791"/>
                    <a:pt x="225314" y="752"/>
                    <a:pt x="242956" y="0"/>
                  </a:cubicBezTo>
                  <a:cubicBezTo>
                    <a:pt x="244613" y="600"/>
                    <a:pt x="245466" y="2412"/>
                    <a:pt x="244860" y="4049"/>
                  </a:cubicBezTo>
                  <a:cubicBezTo>
                    <a:pt x="244685" y="4513"/>
                    <a:pt x="244408" y="4933"/>
                    <a:pt x="244048" y="5277"/>
                  </a:cubicBezTo>
                  <a:close/>
                  <a:moveTo>
                    <a:pt x="77123" y="185523"/>
                  </a:moveTo>
                  <a:cubicBezTo>
                    <a:pt x="72174" y="187387"/>
                    <a:pt x="67656" y="190212"/>
                    <a:pt x="63834" y="193833"/>
                  </a:cubicBezTo>
                  <a:cubicBezTo>
                    <a:pt x="49780" y="221191"/>
                    <a:pt x="41473" y="251072"/>
                    <a:pt x="39415" y="281681"/>
                  </a:cubicBezTo>
                  <a:cubicBezTo>
                    <a:pt x="54543" y="269772"/>
                    <a:pt x="67959" y="257588"/>
                    <a:pt x="80346" y="246444"/>
                  </a:cubicBezTo>
                  <a:lnTo>
                    <a:pt x="86451" y="197795"/>
                  </a:lnTo>
                  <a:cubicBezTo>
                    <a:pt x="89383" y="190324"/>
                    <a:pt x="84738" y="185598"/>
                    <a:pt x="77123" y="185523"/>
                  </a:cubicBezTo>
                  <a:close/>
                  <a:moveTo>
                    <a:pt x="415022" y="203548"/>
                  </a:moveTo>
                  <a:cubicBezTo>
                    <a:pt x="401860" y="195939"/>
                    <a:pt x="388623" y="202759"/>
                    <a:pt x="378126" y="212574"/>
                  </a:cubicBezTo>
                  <a:cubicBezTo>
                    <a:pt x="347665" y="241405"/>
                    <a:pt x="343414" y="289039"/>
                    <a:pt x="346815" y="331283"/>
                  </a:cubicBezTo>
                  <a:cubicBezTo>
                    <a:pt x="346815" y="335320"/>
                    <a:pt x="349036" y="369528"/>
                    <a:pt x="360522" y="382001"/>
                  </a:cubicBezTo>
                  <a:cubicBezTo>
                    <a:pt x="374826" y="383255"/>
                    <a:pt x="386122" y="370055"/>
                    <a:pt x="395641" y="361706"/>
                  </a:cubicBezTo>
                  <a:cubicBezTo>
                    <a:pt x="400832" y="310224"/>
                    <a:pt x="406950" y="258754"/>
                    <a:pt x="415948" y="208237"/>
                  </a:cubicBezTo>
                  <a:close/>
                  <a:moveTo>
                    <a:pt x="566057" y="207710"/>
                  </a:moveTo>
                  <a:cubicBezTo>
                    <a:pt x="549631" y="213798"/>
                    <a:pt x="536740" y="226705"/>
                    <a:pt x="530798" y="243009"/>
                  </a:cubicBezTo>
                  <a:cubicBezTo>
                    <a:pt x="520036" y="286006"/>
                    <a:pt x="527118" y="334781"/>
                    <a:pt x="529529" y="378817"/>
                  </a:cubicBezTo>
                  <a:lnTo>
                    <a:pt x="533235" y="388244"/>
                  </a:lnTo>
                  <a:cubicBezTo>
                    <a:pt x="542526" y="387918"/>
                    <a:pt x="553695" y="376962"/>
                    <a:pt x="558810" y="371020"/>
                  </a:cubicBezTo>
                  <a:cubicBezTo>
                    <a:pt x="596467" y="329654"/>
                    <a:pt x="589880" y="272530"/>
                    <a:pt x="581795" y="223743"/>
                  </a:cubicBezTo>
                  <a:cubicBezTo>
                    <a:pt x="581160" y="219982"/>
                    <a:pt x="579257" y="203761"/>
                    <a:pt x="566095" y="207710"/>
                  </a:cubicBezTo>
                  <a:close/>
                </a:path>
              </a:pathLst>
            </a:custGeom>
            <a:solidFill>
              <a:srgbClr val="FFFFFF"/>
            </a:solidFill>
            <a:ln w="12664" cap="flat">
              <a:noFill/>
              <a:prstDash val="solid"/>
              <a:miter/>
            </a:ln>
          </p:spPr>
          <p:txBody>
            <a:bodyPr rtlCol="0" anchor="ctr"/>
            <a:lstStyle/>
            <a:p>
              <a:endParaRPr lang="en-US"/>
            </a:p>
          </p:txBody>
        </p:sp>
      </p:grpSp>
    </p:spTree>
    <p:extLst>
      <p:ext uri="{BB962C8B-B14F-4D97-AF65-F5344CB8AC3E}">
        <p14:creationId xmlns:p14="http://schemas.microsoft.com/office/powerpoint/2010/main" val="2633211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0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1052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1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8525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2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534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3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18738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4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28875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5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8724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dirty="0"/>
              <a:t>Insert Your Title Here</a:t>
            </a:r>
          </a:p>
        </p:txBody>
      </p:sp>
    </p:spTree>
    <p:extLst>
      <p:ext uri="{BB962C8B-B14F-4D97-AF65-F5344CB8AC3E}">
        <p14:creationId xmlns:p14="http://schemas.microsoft.com/office/powerpoint/2010/main" val="384968060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6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0243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7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79916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A4FAA4-CCBA-4E60-9EB5-3B1DAD2D576B}"/>
              </a:ext>
            </a:extLst>
          </p:cNvPr>
          <p:cNvGraphicFramePr>
            <a:graphicFrameLocks noChangeAspect="1"/>
          </p:cNvGraphicFramePr>
          <p:nvPr userDrawn="1">
            <p:custDataLst>
              <p:tags r:id="rId1"/>
            </p:custDataLst>
            <p:extLst>
              <p:ext uri="{D42A27DB-BD31-4B8C-83A1-F6EECF244321}">
                <p14:modId xmlns:p14="http://schemas.microsoft.com/office/powerpoint/2010/main" val="1554347668"/>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9FA4FAA4-CCBA-4E60-9EB5-3B1DAD2D576B}"/>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sp>
        <p:nvSpPr>
          <p:cNvPr id="6" name="Graphic 16">
            <a:extLst>
              <a:ext uri="{FF2B5EF4-FFF2-40B4-BE49-F238E27FC236}">
                <a16:creationId xmlns:a16="http://schemas.microsoft.com/office/drawing/2014/main" id="{6C03B38B-2383-0E41-82F0-545D7AA1C1D9}"/>
              </a:ext>
            </a:extLst>
          </p:cNvPr>
          <p:cNvSpPr/>
          <p:nvPr userDrawn="1"/>
        </p:nvSpPr>
        <p:spPr>
          <a:xfrm>
            <a:off x="5831417" y="131446"/>
            <a:ext cx="3911600" cy="6301740"/>
          </a:xfrm>
          <a:custGeom>
            <a:avLst/>
            <a:gdLst>
              <a:gd name="connsiteX0" fmla="*/ 1122127 w 5278128"/>
              <a:gd name="connsiteY0" fmla="*/ 4801553 h 4801552"/>
              <a:gd name="connsiteX1" fmla="*/ 4156024 w 5278128"/>
              <a:gd name="connsiteY1" fmla="*/ 4801553 h 4801552"/>
              <a:gd name="connsiteX2" fmla="*/ 5278128 w 5278128"/>
              <a:gd name="connsiteY2" fmla="*/ 2640578 h 4801552"/>
              <a:gd name="connsiteX3" fmla="*/ 2639073 w 5278128"/>
              <a:gd name="connsiteY3" fmla="*/ 0 h 4801552"/>
              <a:gd name="connsiteX4" fmla="*/ 0 w 5278128"/>
              <a:gd name="connsiteY4" fmla="*/ 2640578 h 4801552"/>
              <a:gd name="connsiteX5" fmla="*/ 1122127 w 5278128"/>
              <a:gd name="connsiteY5" fmla="*/ 4801553 h 480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78128" h="4801552">
                <a:moveTo>
                  <a:pt x="1122127" y="4801553"/>
                </a:moveTo>
                <a:lnTo>
                  <a:pt x="4156024" y="4801553"/>
                </a:lnTo>
                <a:cubicBezTo>
                  <a:pt x="4834685" y="4323728"/>
                  <a:pt x="5278128" y="3533985"/>
                  <a:pt x="5278128" y="2640578"/>
                </a:cubicBezTo>
                <a:cubicBezTo>
                  <a:pt x="5278128" y="1182225"/>
                  <a:pt x="4096591" y="0"/>
                  <a:pt x="2639073" y="0"/>
                </a:cubicBezTo>
                <a:cubicBezTo>
                  <a:pt x="1181556" y="0"/>
                  <a:pt x="0" y="1182225"/>
                  <a:pt x="0" y="2640578"/>
                </a:cubicBezTo>
                <a:cubicBezTo>
                  <a:pt x="0" y="3533985"/>
                  <a:pt x="443461" y="4323728"/>
                  <a:pt x="1122127" y="4801553"/>
                </a:cubicBezTo>
                <a:close/>
              </a:path>
            </a:pathLst>
          </a:custGeom>
          <a:gradFill flip="none" rotWithShape="1">
            <a:gsLst>
              <a:gs pos="0">
                <a:srgbClr val="1F6898">
                  <a:alpha val="40000"/>
                </a:srgbClr>
              </a:gs>
              <a:gs pos="100000">
                <a:srgbClr val="FFFFFF">
                  <a:shade val="100000"/>
                  <a:satMod val="115000"/>
                </a:srgbClr>
              </a:gs>
            </a:gsLst>
            <a:lin ang="16800000" scaled="0"/>
            <a:tileRect/>
          </a:gradFill>
          <a:ln w="4502" cap="flat">
            <a:noFill/>
            <a:prstDash val="solid"/>
            <a:miter/>
          </a:ln>
        </p:spPr>
        <p:txBody>
          <a:bodyPr anchor="ctr"/>
          <a:lstStyle/>
          <a:p>
            <a:pPr eaLnBrk="1" fontAlgn="auto" hangingPunct="1">
              <a:spcBef>
                <a:spcPts val="0"/>
              </a:spcBef>
              <a:spcAft>
                <a:spcPts val="0"/>
              </a:spcAft>
              <a:defRPr/>
            </a:pPr>
            <a:endParaRPr lang="en-US" sz="1404">
              <a:latin typeface="AvenirNext LT Pro Regular" panose="020B0504020202020204" pitchFamily="34" charset="77"/>
            </a:endParaRPr>
          </a:p>
        </p:txBody>
      </p:sp>
      <p:cxnSp>
        <p:nvCxnSpPr>
          <p:cNvPr id="7" name="Google Shape;44;p6">
            <a:extLst>
              <a:ext uri="{FF2B5EF4-FFF2-40B4-BE49-F238E27FC236}">
                <a16:creationId xmlns:a16="http://schemas.microsoft.com/office/drawing/2014/main" id="{CCFB723E-DA14-2844-B195-E348A4F19127}"/>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10" name="Google Shape;30;p4"/>
          <p:cNvSpPr txBox="1">
            <a:spLocks noGrp="1"/>
          </p:cNvSpPr>
          <p:nvPr>
            <p:ph type="title"/>
          </p:nvPr>
        </p:nvSpPr>
        <p:spPr>
          <a:xfrm>
            <a:off x="813784" y="603507"/>
            <a:ext cx="5283225" cy="493775"/>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11" name="Text Placeholder 3"/>
          <p:cNvSpPr>
            <a:spLocks noGrp="1"/>
          </p:cNvSpPr>
          <p:nvPr>
            <p:ph type="body" sz="quarter" idx="10"/>
          </p:nvPr>
        </p:nvSpPr>
        <p:spPr>
          <a:xfrm>
            <a:off x="813781" y="1323335"/>
            <a:ext cx="5282219"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p:cNvSpPr>
            <a:spLocks noGrp="1"/>
          </p:cNvSpPr>
          <p:nvPr>
            <p:ph type="body" sz="quarter" idx="11"/>
          </p:nvPr>
        </p:nvSpPr>
        <p:spPr>
          <a:xfrm>
            <a:off x="813781" y="1769224"/>
            <a:ext cx="5282219"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Picture Placeholder 11"/>
          <p:cNvSpPr>
            <a:spLocks noGrp="1"/>
          </p:cNvSpPr>
          <p:nvPr>
            <p:ph type="pic" sz="quarter" idx="12"/>
          </p:nvPr>
        </p:nvSpPr>
        <p:spPr>
          <a:xfrm>
            <a:off x="6150187" y="2901"/>
            <a:ext cx="6054936" cy="6432827"/>
          </a:xfrm>
          <a:custGeom>
            <a:avLst/>
            <a:gdLst>
              <a:gd name="connsiteX0" fmla="*/ 588166 w 4652544"/>
              <a:gd name="connsiteY0" fmla="*/ 0 h 4945656"/>
              <a:gd name="connsiteX1" fmla="*/ 4642814 w 4652544"/>
              <a:gd name="connsiteY1" fmla="*/ 0 h 4945656"/>
              <a:gd name="connsiteX2" fmla="*/ 4652544 w 4652544"/>
              <a:gd name="connsiteY2" fmla="*/ 4945656 h 4945656"/>
              <a:gd name="connsiteX3" fmla="*/ 955205 w 4652544"/>
              <a:gd name="connsiteY3" fmla="*/ 4945656 h 4945656"/>
              <a:gd name="connsiteX4" fmla="*/ 786241 w 4652544"/>
              <a:gd name="connsiteY4" fmla="*/ 4695345 h 4945656"/>
              <a:gd name="connsiteX5" fmla="*/ 588166 w 4652544"/>
              <a:gd name="connsiteY5" fmla="*/ 0 h 4945656"/>
              <a:gd name="connsiteX0" fmla="*/ 588166 w 4657428"/>
              <a:gd name="connsiteY0" fmla="*/ 0 h 4948098"/>
              <a:gd name="connsiteX1" fmla="*/ 4642814 w 4657428"/>
              <a:gd name="connsiteY1" fmla="*/ 0 h 4948098"/>
              <a:gd name="connsiteX2" fmla="*/ 4657428 w 4657428"/>
              <a:gd name="connsiteY2" fmla="*/ 4948098 h 4948098"/>
              <a:gd name="connsiteX3" fmla="*/ 955205 w 4657428"/>
              <a:gd name="connsiteY3" fmla="*/ 4945656 h 4948098"/>
              <a:gd name="connsiteX4" fmla="*/ 786241 w 4657428"/>
              <a:gd name="connsiteY4" fmla="*/ 4695345 h 4948098"/>
              <a:gd name="connsiteX5" fmla="*/ 588166 w 4657428"/>
              <a:gd name="connsiteY5" fmla="*/ 0 h 494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428" h="4948098">
                <a:moveTo>
                  <a:pt x="588166" y="0"/>
                </a:moveTo>
                <a:lnTo>
                  <a:pt x="4642814" y="0"/>
                </a:lnTo>
                <a:cubicBezTo>
                  <a:pt x="4647685" y="1649366"/>
                  <a:pt x="4652557" y="3298732"/>
                  <a:pt x="4657428" y="4948098"/>
                </a:cubicBezTo>
                <a:lnTo>
                  <a:pt x="955205" y="4945656"/>
                </a:lnTo>
                <a:lnTo>
                  <a:pt x="786241" y="4695345"/>
                </a:lnTo>
                <a:cubicBezTo>
                  <a:pt x="-858738" y="2122275"/>
                  <a:pt x="588166" y="0"/>
                  <a:pt x="588166" y="0"/>
                </a:cubicBezTo>
                <a:close/>
              </a:path>
            </a:pathLst>
          </a:custGeom>
        </p:spPr>
        <p:txBody>
          <a:bodyPr wrap="square">
            <a:noAutofit/>
          </a:bodyPr>
          <a:lstStyle>
            <a:lvl1pPr>
              <a:defRPr b="0" i="0">
                <a:latin typeface="+mn-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743195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8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12633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555477-8C57-444D-A263-8CB085C9B883}"/>
              </a:ext>
            </a:extLst>
          </p:cNvPr>
          <p:cNvGraphicFramePr>
            <a:graphicFrameLocks noChangeAspect="1"/>
          </p:cNvGraphicFramePr>
          <p:nvPr userDrawn="1">
            <p:custDataLst>
              <p:tags r:id="rId1"/>
            </p:custDataLst>
            <p:extLst>
              <p:ext uri="{D42A27DB-BD31-4B8C-83A1-F6EECF244321}">
                <p14:modId xmlns:p14="http://schemas.microsoft.com/office/powerpoint/2010/main" val="1143349604"/>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2D555477-8C57-444D-A263-8CB085C9B88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sp>
        <p:nvSpPr>
          <p:cNvPr id="6" name="Graphic 38">
            <a:extLst>
              <a:ext uri="{FF2B5EF4-FFF2-40B4-BE49-F238E27FC236}">
                <a16:creationId xmlns:a16="http://schemas.microsoft.com/office/drawing/2014/main" id="{16A9618C-5741-E342-AC9D-3BB864A090CD}"/>
              </a:ext>
            </a:extLst>
          </p:cNvPr>
          <p:cNvSpPr/>
          <p:nvPr userDrawn="1"/>
        </p:nvSpPr>
        <p:spPr>
          <a:xfrm>
            <a:off x="7797801" y="1769746"/>
            <a:ext cx="3704167" cy="4667250"/>
          </a:xfrm>
          <a:custGeom>
            <a:avLst/>
            <a:gdLst>
              <a:gd name="connsiteX0" fmla="*/ 0 w 3704496"/>
              <a:gd name="connsiteY0" fmla="*/ 4213696 h 4213695"/>
              <a:gd name="connsiteX1" fmla="*/ 1052824 w 3704496"/>
              <a:gd name="connsiteY1" fmla="*/ 0 h 4213695"/>
              <a:gd name="connsiteX2" fmla="*/ 3704497 w 3704496"/>
              <a:gd name="connsiteY2" fmla="*/ 0 h 4213695"/>
              <a:gd name="connsiteX3" fmla="*/ 3704497 w 3704496"/>
              <a:gd name="connsiteY3" fmla="*/ 4213696 h 4213695"/>
              <a:gd name="connsiteX4" fmla="*/ 0 w 3704496"/>
              <a:gd name="connsiteY4" fmla="*/ 4213696 h 4213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496" h="4213695">
                <a:moveTo>
                  <a:pt x="0" y="4213696"/>
                </a:moveTo>
                <a:lnTo>
                  <a:pt x="1052824" y="0"/>
                </a:lnTo>
                <a:lnTo>
                  <a:pt x="3704497" y="0"/>
                </a:lnTo>
                <a:lnTo>
                  <a:pt x="3704497" y="4213696"/>
                </a:lnTo>
                <a:lnTo>
                  <a:pt x="0" y="4213696"/>
                </a:lnTo>
                <a:close/>
              </a:path>
            </a:pathLst>
          </a:custGeom>
          <a:gradFill>
            <a:gsLst>
              <a:gs pos="0">
                <a:srgbClr val="1F6898">
                  <a:alpha val="40000"/>
                </a:srgbClr>
              </a:gs>
              <a:gs pos="100000">
                <a:srgbClr val="FFFFFF">
                  <a:shade val="100000"/>
                  <a:satMod val="115000"/>
                </a:srgbClr>
              </a:gs>
            </a:gsLst>
            <a:lin ang="16800000" scaled="0"/>
          </a:gradFill>
          <a:ln w="5665" cap="flat">
            <a:noFill/>
            <a:prstDash val="solid"/>
            <a:miter/>
          </a:ln>
        </p:spPr>
        <p:txBody>
          <a:bodyPr anchor="ctr"/>
          <a:lstStyle/>
          <a:p>
            <a:pPr eaLnBrk="1" fontAlgn="auto" hangingPunct="1">
              <a:spcBef>
                <a:spcPts val="0"/>
              </a:spcBef>
              <a:spcAft>
                <a:spcPts val="0"/>
              </a:spcAft>
              <a:defRPr/>
            </a:pPr>
            <a:endParaRPr lang="en-US" sz="1404">
              <a:latin typeface="AvenirNext LT Pro Regular" panose="020B0504020202020204" pitchFamily="34" charset="77"/>
            </a:endParaRPr>
          </a:p>
        </p:txBody>
      </p:sp>
      <p:cxnSp>
        <p:nvCxnSpPr>
          <p:cNvPr id="7" name="Google Shape;44;p6">
            <a:extLst>
              <a:ext uri="{FF2B5EF4-FFF2-40B4-BE49-F238E27FC236}">
                <a16:creationId xmlns:a16="http://schemas.microsoft.com/office/drawing/2014/main" id="{769E93DA-8416-3D4A-859E-9655202C9C6A}"/>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12" name="Picture Placeholder 59"/>
          <p:cNvSpPr>
            <a:spLocks noGrp="1"/>
          </p:cNvSpPr>
          <p:nvPr>
            <p:ph type="pic" sz="quarter" idx="15"/>
          </p:nvPr>
        </p:nvSpPr>
        <p:spPr>
          <a:xfrm>
            <a:off x="8099949" y="1772406"/>
            <a:ext cx="4092055" cy="4664836"/>
          </a:xfrm>
          <a:custGeom>
            <a:avLst/>
            <a:gdLst>
              <a:gd name="connsiteX0" fmla="*/ 751121 w 4092054"/>
              <a:gd name="connsiteY0" fmla="*/ 0 h 4664835"/>
              <a:gd name="connsiteX1" fmla="*/ 4092054 w 4092054"/>
              <a:gd name="connsiteY1" fmla="*/ 0 h 4664835"/>
              <a:gd name="connsiteX2" fmla="*/ 4092054 w 4092054"/>
              <a:gd name="connsiteY2" fmla="*/ 4664835 h 4664835"/>
              <a:gd name="connsiteX3" fmla="*/ 0 w 4092054"/>
              <a:gd name="connsiteY3" fmla="*/ 4664835 h 4664835"/>
            </a:gdLst>
            <a:ahLst/>
            <a:cxnLst>
              <a:cxn ang="0">
                <a:pos x="connsiteX0" y="connsiteY0"/>
              </a:cxn>
              <a:cxn ang="0">
                <a:pos x="connsiteX1" y="connsiteY1"/>
              </a:cxn>
              <a:cxn ang="0">
                <a:pos x="connsiteX2" y="connsiteY2"/>
              </a:cxn>
              <a:cxn ang="0">
                <a:pos x="connsiteX3" y="connsiteY3"/>
              </a:cxn>
            </a:cxnLst>
            <a:rect l="l" t="t" r="r" b="b"/>
            <a:pathLst>
              <a:path w="4092054" h="4664835">
                <a:moveTo>
                  <a:pt x="751121" y="0"/>
                </a:moveTo>
                <a:lnTo>
                  <a:pt x="4092054" y="0"/>
                </a:lnTo>
                <a:lnTo>
                  <a:pt x="4092054" y="4664835"/>
                </a:lnTo>
                <a:lnTo>
                  <a:pt x="0" y="4664835"/>
                </a:lnTo>
                <a:close/>
              </a:path>
            </a:pathLst>
          </a:custGeom>
        </p:spPr>
        <p:txBody>
          <a:bodyPr wrap="square">
            <a:noAutofit/>
          </a:bodyPr>
          <a:lstStyle>
            <a:lvl1pPr>
              <a:defRPr b="0" i="0">
                <a:latin typeface="+mn-lt"/>
              </a:defRPr>
            </a:lvl1pPr>
          </a:lstStyle>
          <a:p>
            <a:pPr lvl="0"/>
            <a:r>
              <a:rPr lang="en-US" noProof="0"/>
              <a:t>Click icon to add picture</a:t>
            </a:r>
            <a:endParaRPr lang="en-US" noProof="0" dirty="0"/>
          </a:p>
        </p:txBody>
      </p:sp>
      <p:sp>
        <p:nvSpPr>
          <p:cNvPr id="13" name="Google Shape;30;p4"/>
          <p:cNvSpPr txBox="1">
            <a:spLocks noGrp="1"/>
          </p:cNvSpPr>
          <p:nvPr>
            <p:ph type="title"/>
          </p:nvPr>
        </p:nvSpPr>
        <p:spPr>
          <a:xfrm>
            <a:off x="813783" y="603507"/>
            <a:ext cx="7081600" cy="493775"/>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a:p>
        </p:txBody>
      </p:sp>
      <p:sp>
        <p:nvSpPr>
          <p:cNvPr id="14" name="Text Placeholder 3"/>
          <p:cNvSpPr>
            <a:spLocks noGrp="1"/>
          </p:cNvSpPr>
          <p:nvPr>
            <p:ph type="body" sz="quarter" idx="10"/>
          </p:nvPr>
        </p:nvSpPr>
        <p:spPr>
          <a:xfrm>
            <a:off x="813781" y="1323335"/>
            <a:ext cx="7080251"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5" name="Text Placeholder 2"/>
          <p:cNvSpPr>
            <a:spLocks noGrp="1"/>
          </p:cNvSpPr>
          <p:nvPr>
            <p:ph type="body" sz="quarter" idx="11"/>
          </p:nvPr>
        </p:nvSpPr>
        <p:spPr>
          <a:xfrm>
            <a:off x="813781" y="1769224"/>
            <a:ext cx="7080251"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5111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9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05098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0_Two Content">
    <p:bg>
      <p:bgPr>
        <a:gradFill rotWithShape="1">
          <a:gsLst>
            <a:gs pos="0">
              <a:srgbClr val="1F6898"/>
            </a:gs>
            <a:gs pos="100000">
              <a:srgbClr val="9EC9DF"/>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5492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1_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0FAAC-ED81-4E0D-8DE6-164A5A7F9933}"/>
              </a:ext>
            </a:extLst>
          </p:cNvPr>
          <p:cNvGraphicFramePr>
            <a:graphicFrameLocks noChangeAspect="1"/>
          </p:cNvGraphicFramePr>
          <p:nvPr userDrawn="1">
            <p:custDataLst>
              <p:tags r:id="rId1"/>
            </p:custDataLst>
            <p:extLst>
              <p:ext uri="{D42A27DB-BD31-4B8C-83A1-F6EECF244321}">
                <p14:modId xmlns:p14="http://schemas.microsoft.com/office/powerpoint/2010/main" val="263043807"/>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05D0FAAC-ED81-4E0D-8DE6-164A5A7F993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E8A866C3-021A-A44F-A0FB-300DE24C5FF9}"/>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cxnSp>
        <p:nvCxnSpPr>
          <p:cNvPr id="6" name="Google Shape;44;p6">
            <a:extLst>
              <a:ext uri="{FF2B5EF4-FFF2-40B4-BE49-F238E27FC236}">
                <a16:creationId xmlns:a16="http://schemas.microsoft.com/office/drawing/2014/main" id="{FBEA1038-71E6-764C-919F-F09F7A36C6CC}"/>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7" name="Google Shape;30;p4">
            <a:extLst>
              <a:ext uri="{FF2B5EF4-FFF2-40B4-BE49-F238E27FC236}">
                <a16:creationId xmlns:a16="http://schemas.microsoft.com/office/drawing/2014/main" id="{D486970D-7945-7A4A-B7FE-72F639514F33}"/>
              </a:ext>
            </a:extLst>
          </p:cNvPr>
          <p:cNvSpPr txBox="1">
            <a:spLocks noGrp="1"/>
          </p:cNvSpPr>
          <p:nvPr>
            <p:ph type="title"/>
          </p:nvPr>
        </p:nvSpPr>
        <p:spPr>
          <a:xfrm>
            <a:off x="813782" y="603507"/>
            <a:ext cx="9202228"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9" name="Text Placeholder 3">
            <a:extLst>
              <a:ext uri="{FF2B5EF4-FFF2-40B4-BE49-F238E27FC236}">
                <a16:creationId xmlns:a16="http://schemas.microsoft.com/office/drawing/2014/main" id="{49B077DC-11E7-0C4D-8DA5-CE4B184F6814}"/>
              </a:ext>
            </a:extLst>
          </p:cNvPr>
          <p:cNvSpPr>
            <a:spLocks noGrp="1"/>
          </p:cNvSpPr>
          <p:nvPr>
            <p:ph type="body" sz="quarter" idx="10"/>
          </p:nvPr>
        </p:nvSpPr>
        <p:spPr>
          <a:xfrm>
            <a:off x="813781" y="1323335"/>
            <a:ext cx="9200475"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2" name="Text Placeholder 2">
            <a:extLst>
              <a:ext uri="{FF2B5EF4-FFF2-40B4-BE49-F238E27FC236}">
                <a16:creationId xmlns:a16="http://schemas.microsoft.com/office/drawing/2014/main" id="{54007FFA-6B7B-7640-B621-EEAA99909B2C}"/>
              </a:ext>
            </a:extLst>
          </p:cNvPr>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28053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1CE86C-C1F0-4E6D-8DBF-60E0015A3598}"/>
              </a:ext>
            </a:extLst>
          </p:cNvPr>
          <p:cNvGraphicFramePr>
            <a:graphicFrameLocks noChangeAspect="1"/>
          </p:cNvGraphicFramePr>
          <p:nvPr userDrawn="1">
            <p:custDataLst>
              <p:tags r:id="rId1"/>
            </p:custDataLst>
            <p:extLst>
              <p:ext uri="{D42A27DB-BD31-4B8C-83A1-F6EECF244321}">
                <p14:modId xmlns:p14="http://schemas.microsoft.com/office/powerpoint/2010/main" val="2970111300"/>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C1CE86C-C1F0-4E6D-8DBF-60E0015A3598}"/>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sp>
        <p:nvSpPr>
          <p:cNvPr id="6" name="Graphic 2">
            <a:extLst>
              <a:ext uri="{FF2B5EF4-FFF2-40B4-BE49-F238E27FC236}">
                <a16:creationId xmlns:a16="http://schemas.microsoft.com/office/drawing/2014/main" id="{E82FEBF7-8B30-5241-AB57-E39FB4C14B18}"/>
              </a:ext>
            </a:extLst>
          </p:cNvPr>
          <p:cNvSpPr/>
          <p:nvPr userDrawn="1"/>
        </p:nvSpPr>
        <p:spPr>
          <a:xfrm>
            <a:off x="6460067" y="0"/>
            <a:ext cx="5731933" cy="4756786"/>
          </a:xfrm>
          <a:custGeom>
            <a:avLst/>
            <a:gdLst>
              <a:gd name="connsiteX0" fmla="*/ 7445899 w 7445898"/>
              <a:gd name="connsiteY0" fmla="*/ 0 h 6858311"/>
              <a:gd name="connsiteX1" fmla="*/ 814055 w 7445898"/>
              <a:gd name="connsiteY1" fmla="*/ 0 h 6858311"/>
              <a:gd name="connsiteX2" fmla="*/ 691476 w 7445898"/>
              <a:gd name="connsiteY2" fmla="*/ 70046 h 6858311"/>
              <a:gd name="connsiteX3" fmla="*/ 69433 w 7445898"/>
              <a:gd name="connsiteY3" fmla="*/ 678643 h 6858311"/>
              <a:gd name="connsiteX4" fmla="*/ 14093 w 7445898"/>
              <a:gd name="connsiteY4" fmla="*/ 1220462 h 6858311"/>
              <a:gd name="connsiteX5" fmla="*/ 1196590 w 7445898"/>
              <a:gd name="connsiteY5" fmla="*/ 2436198 h 6858311"/>
              <a:gd name="connsiteX6" fmla="*/ 1916738 w 7445898"/>
              <a:gd name="connsiteY6" fmla="*/ 2482043 h 6858311"/>
              <a:gd name="connsiteX7" fmla="*/ 3150397 w 7445898"/>
              <a:gd name="connsiteY7" fmla="*/ 3091829 h 6858311"/>
              <a:gd name="connsiteX8" fmla="*/ 4012367 w 7445898"/>
              <a:gd name="connsiteY8" fmla="*/ 4723248 h 6858311"/>
              <a:gd name="connsiteX9" fmla="*/ 5068468 w 7445898"/>
              <a:gd name="connsiteY9" fmla="*/ 6225771 h 6858311"/>
              <a:gd name="connsiteX10" fmla="*/ 6762342 w 7445898"/>
              <a:gd name="connsiteY10" fmla="*/ 6855353 h 6858311"/>
              <a:gd name="connsiteX11" fmla="*/ 7445899 w 7445898"/>
              <a:gd name="connsiteY11" fmla="*/ 6675706 h 68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45898" h="6858311">
                <a:moveTo>
                  <a:pt x="7445899" y="0"/>
                </a:moveTo>
                <a:lnTo>
                  <a:pt x="814055" y="0"/>
                </a:lnTo>
                <a:cubicBezTo>
                  <a:pt x="772956" y="22780"/>
                  <a:pt x="732096" y="46129"/>
                  <a:pt x="691476" y="70046"/>
                </a:cubicBezTo>
                <a:cubicBezTo>
                  <a:pt x="437089" y="220054"/>
                  <a:pt x="183450" y="406335"/>
                  <a:pt x="69433" y="678643"/>
                </a:cubicBezTo>
                <a:cubicBezTo>
                  <a:pt x="2750" y="851036"/>
                  <a:pt x="-16363" y="1038163"/>
                  <a:pt x="14093" y="1220462"/>
                </a:cubicBezTo>
                <a:cubicBezTo>
                  <a:pt x="99251" y="1818761"/>
                  <a:pt x="600495" y="2334263"/>
                  <a:pt x="1196590" y="2436198"/>
                </a:cubicBezTo>
                <a:cubicBezTo>
                  <a:pt x="1433845" y="2476815"/>
                  <a:pt x="1677297" y="2457475"/>
                  <a:pt x="1916738" y="2482043"/>
                </a:cubicBezTo>
                <a:cubicBezTo>
                  <a:pt x="2387473" y="2532139"/>
                  <a:pt x="2824896" y="2748353"/>
                  <a:pt x="3150397" y="3091829"/>
                </a:cubicBezTo>
                <a:cubicBezTo>
                  <a:pt x="3574268" y="3542460"/>
                  <a:pt x="3759732" y="4158656"/>
                  <a:pt x="4012367" y="4723248"/>
                </a:cubicBezTo>
                <a:cubicBezTo>
                  <a:pt x="4264419" y="5286494"/>
                  <a:pt x="4600948" y="5822741"/>
                  <a:pt x="5068468" y="6225771"/>
                </a:cubicBezTo>
                <a:cubicBezTo>
                  <a:pt x="5535988" y="6628800"/>
                  <a:pt x="6145756" y="6889261"/>
                  <a:pt x="6762342" y="6855353"/>
                </a:cubicBezTo>
                <a:cubicBezTo>
                  <a:pt x="7023697" y="6841023"/>
                  <a:pt x="7248596" y="6776961"/>
                  <a:pt x="7445899" y="6675706"/>
                </a:cubicBezTo>
                <a:close/>
              </a:path>
            </a:pathLst>
          </a:custGeom>
          <a:gradFill>
            <a:gsLst>
              <a:gs pos="0">
                <a:srgbClr val="9EC9DF"/>
              </a:gs>
              <a:gs pos="100000">
                <a:srgbClr val="1F6898"/>
              </a:gs>
            </a:gsLst>
            <a:lin ang="0" scaled="0"/>
          </a:gradFill>
          <a:ln w="7476" cap="flat">
            <a:noFill/>
            <a:prstDash val="solid"/>
            <a:miter/>
          </a:ln>
        </p:spPr>
        <p:txBody>
          <a:bodyPr anchor="ctr"/>
          <a:lstStyle/>
          <a:p>
            <a:pPr eaLnBrk="1" fontAlgn="auto" hangingPunct="1">
              <a:spcBef>
                <a:spcPts val="0"/>
              </a:spcBef>
              <a:spcAft>
                <a:spcPts val="0"/>
              </a:spcAft>
              <a:defRPr/>
            </a:pPr>
            <a:endParaRPr lang="en-US" sz="1404">
              <a:solidFill>
                <a:schemeClr val="bg1"/>
              </a:solidFill>
              <a:latin typeface="Avenir Next" panose="020B0503020202020204" pitchFamily="34" charset="0"/>
            </a:endParaRPr>
          </a:p>
        </p:txBody>
      </p:sp>
      <p:sp>
        <p:nvSpPr>
          <p:cNvPr id="9" name="Graphic 2">
            <a:extLst>
              <a:ext uri="{FF2B5EF4-FFF2-40B4-BE49-F238E27FC236}">
                <a16:creationId xmlns:a16="http://schemas.microsoft.com/office/drawing/2014/main" id="{53ED568B-E352-8A4B-8192-6693A71F34E3}"/>
              </a:ext>
            </a:extLst>
          </p:cNvPr>
          <p:cNvSpPr/>
          <p:nvPr userDrawn="1"/>
        </p:nvSpPr>
        <p:spPr>
          <a:xfrm rot="10800000">
            <a:off x="0" y="3514726"/>
            <a:ext cx="3166533" cy="2910840"/>
          </a:xfrm>
          <a:custGeom>
            <a:avLst/>
            <a:gdLst>
              <a:gd name="connsiteX0" fmla="*/ 7445899 w 7445898"/>
              <a:gd name="connsiteY0" fmla="*/ 0 h 6858311"/>
              <a:gd name="connsiteX1" fmla="*/ 814055 w 7445898"/>
              <a:gd name="connsiteY1" fmla="*/ 0 h 6858311"/>
              <a:gd name="connsiteX2" fmla="*/ 691476 w 7445898"/>
              <a:gd name="connsiteY2" fmla="*/ 70046 h 6858311"/>
              <a:gd name="connsiteX3" fmla="*/ 69433 w 7445898"/>
              <a:gd name="connsiteY3" fmla="*/ 678643 h 6858311"/>
              <a:gd name="connsiteX4" fmla="*/ 14093 w 7445898"/>
              <a:gd name="connsiteY4" fmla="*/ 1220462 h 6858311"/>
              <a:gd name="connsiteX5" fmla="*/ 1196590 w 7445898"/>
              <a:gd name="connsiteY5" fmla="*/ 2436198 h 6858311"/>
              <a:gd name="connsiteX6" fmla="*/ 1916738 w 7445898"/>
              <a:gd name="connsiteY6" fmla="*/ 2482043 h 6858311"/>
              <a:gd name="connsiteX7" fmla="*/ 3150397 w 7445898"/>
              <a:gd name="connsiteY7" fmla="*/ 3091829 h 6858311"/>
              <a:gd name="connsiteX8" fmla="*/ 4012367 w 7445898"/>
              <a:gd name="connsiteY8" fmla="*/ 4723248 h 6858311"/>
              <a:gd name="connsiteX9" fmla="*/ 5068468 w 7445898"/>
              <a:gd name="connsiteY9" fmla="*/ 6225771 h 6858311"/>
              <a:gd name="connsiteX10" fmla="*/ 6762342 w 7445898"/>
              <a:gd name="connsiteY10" fmla="*/ 6855353 h 6858311"/>
              <a:gd name="connsiteX11" fmla="*/ 7445899 w 7445898"/>
              <a:gd name="connsiteY11" fmla="*/ 6675706 h 68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45898" h="6858311">
                <a:moveTo>
                  <a:pt x="7445899" y="0"/>
                </a:moveTo>
                <a:lnTo>
                  <a:pt x="814055" y="0"/>
                </a:lnTo>
                <a:cubicBezTo>
                  <a:pt x="772956" y="22780"/>
                  <a:pt x="732096" y="46129"/>
                  <a:pt x="691476" y="70046"/>
                </a:cubicBezTo>
                <a:cubicBezTo>
                  <a:pt x="437089" y="220054"/>
                  <a:pt x="183450" y="406335"/>
                  <a:pt x="69433" y="678643"/>
                </a:cubicBezTo>
                <a:cubicBezTo>
                  <a:pt x="2750" y="851036"/>
                  <a:pt x="-16363" y="1038163"/>
                  <a:pt x="14093" y="1220462"/>
                </a:cubicBezTo>
                <a:cubicBezTo>
                  <a:pt x="99251" y="1818761"/>
                  <a:pt x="600495" y="2334263"/>
                  <a:pt x="1196590" y="2436198"/>
                </a:cubicBezTo>
                <a:cubicBezTo>
                  <a:pt x="1433845" y="2476815"/>
                  <a:pt x="1677297" y="2457475"/>
                  <a:pt x="1916738" y="2482043"/>
                </a:cubicBezTo>
                <a:cubicBezTo>
                  <a:pt x="2387473" y="2532139"/>
                  <a:pt x="2824896" y="2748353"/>
                  <a:pt x="3150397" y="3091829"/>
                </a:cubicBezTo>
                <a:cubicBezTo>
                  <a:pt x="3574268" y="3542460"/>
                  <a:pt x="3759732" y="4158656"/>
                  <a:pt x="4012367" y="4723248"/>
                </a:cubicBezTo>
                <a:cubicBezTo>
                  <a:pt x="4264419" y="5286494"/>
                  <a:pt x="4600948" y="5822741"/>
                  <a:pt x="5068468" y="6225771"/>
                </a:cubicBezTo>
                <a:cubicBezTo>
                  <a:pt x="5535988" y="6628800"/>
                  <a:pt x="6145756" y="6889261"/>
                  <a:pt x="6762342" y="6855353"/>
                </a:cubicBezTo>
                <a:cubicBezTo>
                  <a:pt x="7023697" y="6841023"/>
                  <a:pt x="7248596" y="6776961"/>
                  <a:pt x="7445899" y="6675706"/>
                </a:cubicBezTo>
                <a:close/>
              </a:path>
            </a:pathLst>
          </a:custGeom>
          <a:gradFill flip="none" rotWithShape="1">
            <a:gsLst>
              <a:gs pos="0">
                <a:srgbClr val="9EC9DF">
                  <a:alpha val="38000"/>
                </a:srgbClr>
              </a:gs>
              <a:gs pos="100000">
                <a:srgbClr val="1F6898">
                  <a:alpha val="46000"/>
                </a:srgbClr>
              </a:gs>
            </a:gsLst>
            <a:lin ang="5400000" scaled="1"/>
            <a:tileRect/>
          </a:gradFill>
          <a:ln w="7476" cap="flat">
            <a:noFill/>
            <a:prstDash val="solid"/>
            <a:miter/>
          </a:ln>
        </p:spPr>
        <p:txBody>
          <a:bodyPr anchor="ctr"/>
          <a:lstStyle/>
          <a:p>
            <a:pPr eaLnBrk="1" fontAlgn="auto" hangingPunct="1">
              <a:spcBef>
                <a:spcPts val="0"/>
              </a:spcBef>
              <a:spcAft>
                <a:spcPts val="0"/>
              </a:spcAft>
              <a:defRPr/>
            </a:pPr>
            <a:endParaRPr lang="en-US" sz="1404">
              <a:solidFill>
                <a:schemeClr val="bg1"/>
              </a:solidFill>
              <a:latin typeface="Avenir Next" panose="020B0503020202020204" pitchFamily="34" charset="0"/>
            </a:endParaRPr>
          </a:p>
        </p:txBody>
      </p:sp>
      <p:sp>
        <p:nvSpPr>
          <p:cNvPr id="7" name="Google Shape;124;p20"/>
          <p:cNvSpPr txBox="1">
            <a:spLocks noGrp="1"/>
          </p:cNvSpPr>
          <p:nvPr>
            <p:ph type="title"/>
          </p:nvPr>
        </p:nvSpPr>
        <p:spPr>
          <a:xfrm>
            <a:off x="3362433" y="1932400"/>
            <a:ext cx="5467200" cy="1976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4800" b="1" i="0">
                <a:solidFill>
                  <a:schemeClr val="bg1"/>
                </a:solidFill>
                <a:latin typeface="+mj-lt"/>
              </a:defRPr>
            </a:lvl1pPr>
            <a:lvl2pPr lvl="1" algn="r" rtl="0">
              <a:spcBef>
                <a:spcPts val="0"/>
              </a:spcBef>
              <a:spcAft>
                <a:spcPts val="0"/>
              </a:spcAft>
              <a:buSzPts val="4200"/>
              <a:buNone/>
              <a:defRPr sz="5600"/>
            </a:lvl2pPr>
            <a:lvl3pPr lvl="2" algn="r" rtl="0">
              <a:spcBef>
                <a:spcPts val="0"/>
              </a:spcBef>
              <a:spcAft>
                <a:spcPts val="0"/>
              </a:spcAft>
              <a:buSzPts val="4200"/>
              <a:buNone/>
              <a:defRPr sz="5600"/>
            </a:lvl3pPr>
            <a:lvl4pPr lvl="3" algn="r" rtl="0">
              <a:spcBef>
                <a:spcPts val="0"/>
              </a:spcBef>
              <a:spcAft>
                <a:spcPts val="0"/>
              </a:spcAft>
              <a:buSzPts val="4200"/>
              <a:buNone/>
              <a:defRPr sz="5600"/>
            </a:lvl4pPr>
            <a:lvl5pPr lvl="4" algn="r" rtl="0">
              <a:spcBef>
                <a:spcPts val="0"/>
              </a:spcBef>
              <a:spcAft>
                <a:spcPts val="0"/>
              </a:spcAft>
              <a:buSzPts val="4200"/>
              <a:buNone/>
              <a:defRPr sz="5600"/>
            </a:lvl5pPr>
            <a:lvl6pPr lvl="5" algn="r" rtl="0">
              <a:spcBef>
                <a:spcPts val="0"/>
              </a:spcBef>
              <a:spcAft>
                <a:spcPts val="0"/>
              </a:spcAft>
              <a:buSzPts val="4200"/>
              <a:buNone/>
              <a:defRPr sz="5600"/>
            </a:lvl6pPr>
            <a:lvl7pPr lvl="6" algn="r" rtl="0">
              <a:spcBef>
                <a:spcPts val="0"/>
              </a:spcBef>
              <a:spcAft>
                <a:spcPts val="0"/>
              </a:spcAft>
              <a:buSzPts val="4200"/>
              <a:buNone/>
              <a:defRPr sz="5600"/>
            </a:lvl7pPr>
            <a:lvl8pPr lvl="7" algn="r" rtl="0">
              <a:spcBef>
                <a:spcPts val="0"/>
              </a:spcBef>
              <a:spcAft>
                <a:spcPts val="0"/>
              </a:spcAft>
              <a:buSzPts val="4200"/>
              <a:buNone/>
              <a:defRPr sz="5600"/>
            </a:lvl8pPr>
            <a:lvl9pPr lvl="8" algn="r" rtl="0">
              <a:spcBef>
                <a:spcPts val="0"/>
              </a:spcBef>
              <a:spcAft>
                <a:spcPts val="0"/>
              </a:spcAft>
              <a:buSzPts val="4200"/>
              <a:buNone/>
              <a:defRPr sz="5600"/>
            </a:lvl9pPr>
          </a:lstStyle>
          <a:p>
            <a:endParaRPr dirty="0"/>
          </a:p>
        </p:txBody>
      </p:sp>
      <p:sp>
        <p:nvSpPr>
          <p:cNvPr id="8" name="Google Shape;125;p20"/>
          <p:cNvSpPr txBox="1">
            <a:spLocks noGrp="1"/>
          </p:cNvSpPr>
          <p:nvPr>
            <p:ph type="subTitle" idx="1"/>
          </p:nvPr>
        </p:nvSpPr>
        <p:spPr>
          <a:xfrm>
            <a:off x="3541667" y="3908802"/>
            <a:ext cx="5108800" cy="101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867" b="0" i="0">
                <a:solidFill>
                  <a:schemeClr val="bg1"/>
                </a:solidFill>
                <a:latin typeface="+mn-lt"/>
              </a:defRPr>
            </a:lvl1pPr>
            <a:lvl2pPr lvl="1" rtl="0">
              <a:lnSpc>
                <a:spcPct val="100000"/>
              </a:lnSpc>
              <a:spcBef>
                <a:spcPts val="0"/>
              </a:spcBef>
              <a:spcAft>
                <a:spcPts val="0"/>
              </a:spcAft>
              <a:buSzPts val="2100"/>
              <a:buNone/>
              <a:defRPr sz="2800"/>
            </a:lvl2pPr>
            <a:lvl3pPr lvl="2" rtl="0">
              <a:lnSpc>
                <a:spcPct val="100000"/>
              </a:lnSpc>
              <a:spcBef>
                <a:spcPts val="0"/>
              </a:spcBef>
              <a:spcAft>
                <a:spcPts val="0"/>
              </a:spcAft>
              <a:buSzPts val="2100"/>
              <a:buNone/>
              <a:defRPr sz="2800"/>
            </a:lvl3pPr>
            <a:lvl4pPr lvl="3" rtl="0">
              <a:lnSpc>
                <a:spcPct val="100000"/>
              </a:lnSpc>
              <a:spcBef>
                <a:spcPts val="0"/>
              </a:spcBef>
              <a:spcAft>
                <a:spcPts val="0"/>
              </a:spcAft>
              <a:buSzPts val="2100"/>
              <a:buNone/>
              <a:defRPr sz="2800"/>
            </a:lvl4pPr>
            <a:lvl5pPr lvl="4" rtl="0">
              <a:lnSpc>
                <a:spcPct val="100000"/>
              </a:lnSpc>
              <a:spcBef>
                <a:spcPts val="0"/>
              </a:spcBef>
              <a:spcAft>
                <a:spcPts val="0"/>
              </a:spcAft>
              <a:buSzPts val="2100"/>
              <a:buNone/>
              <a:defRPr sz="2800"/>
            </a:lvl5pPr>
            <a:lvl6pPr lvl="5" rtl="0">
              <a:lnSpc>
                <a:spcPct val="100000"/>
              </a:lnSpc>
              <a:spcBef>
                <a:spcPts val="0"/>
              </a:spcBef>
              <a:spcAft>
                <a:spcPts val="0"/>
              </a:spcAft>
              <a:buSzPts val="2100"/>
              <a:buNone/>
              <a:defRPr sz="2800"/>
            </a:lvl6pPr>
            <a:lvl7pPr lvl="6" rtl="0">
              <a:lnSpc>
                <a:spcPct val="100000"/>
              </a:lnSpc>
              <a:spcBef>
                <a:spcPts val="0"/>
              </a:spcBef>
              <a:spcAft>
                <a:spcPts val="0"/>
              </a:spcAft>
              <a:buSzPts val="2100"/>
              <a:buNone/>
              <a:defRPr sz="2800"/>
            </a:lvl7pPr>
            <a:lvl8pPr lvl="7" rtl="0">
              <a:lnSpc>
                <a:spcPct val="100000"/>
              </a:lnSpc>
              <a:spcBef>
                <a:spcPts val="0"/>
              </a:spcBef>
              <a:spcAft>
                <a:spcPts val="0"/>
              </a:spcAft>
              <a:buSzPts val="2100"/>
              <a:buNone/>
              <a:defRPr sz="2800"/>
            </a:lvl8pPr>
            <a:lvl9pPr lvl="8" rtl="0">
              <a:lnSpc>
                <a:spcPct val="100000"/>
              </a:lnSpc>
              <a:spcBef>
                <a:spcPts val="0"/>
              </a:spcBef>
              <a:spcAft>
                <a:spcPts val="0"/>
              </a:spcAft>
              <a:buSzPts val="2100"/>
              <a:buNone/>
              <a:defRPr sz="2800"/>
            </a:lvl9pPr>
          </a:lstStyle>
          <a:p>
            <a:endParaRPr/>
          </a:p>
        </p:txBody>
      </p:sp>
      <p:sp>
        <p:nvSpPr>
          <p:cNvPr id="17" name="Picture Placeholder 14"/>
          <p:cNvSpPr>
            <a:spLocks noGrp="1"/>
          </p:cNvSpPr>
          <p:nvPr>
            <p:ph type="pic" sz="quarter" idx="10"/>
          </p:nvPr>
        </p:nvSpPr>
        <p:spPr>
          <a:xfrm>
            <a:off x="275167" y="3909061"/>
            <a:ext cx="2891367" cy="2152650"/>
          </a:xfrm>
          <a:prstGeom prst="rect">
            <a:avLst/>
          </a:prstGeom>
        </p:spPr>
        <p:txBody>
          <a:bodyPr/>
          <a:lstStyle>
            <a:lvl1pPr>
              <a:defRPr sz="2400" b="0" i="0">
                <a:solidFill>
                  <a:schemeClr val="bg1"/>
                </a:solidFill>
                <a:latin typeface="+mn-lt"/>
              </a:defRPr>
            </a:lvl1pPr>
          </a:lstStyle>
          <a:p>
            <a:pPr lvl="0"/>
            <a:endParaRPr lang="en-US" noProof="0"/>
          </a:p>
        </p:txBody>
      </p:sp>
      <p:sp>
        <p:nvSpPr>
          <p:cNvPr id="18" name="Picture Placeholder 14"/>
          <p:cNvSpPr>
            <a:spLocks noGrp="1"/>
          </p:cNvSpPr>
          <p:nvPr>
            <p:ph type="pic" sz="quarter" idx="11"/>
          </p:nvPr>
        </p:nvSpPr>
        <p:spPr>
          <a:xfrm>
            <a:off x="8975551" y="4016713"/>
            <a:ext cx="2891367" cy="2152650"/>
          </a:xfrm>
          <a:prstGeom prst="rect">
            <a:avLst/>
          </a:prstGeom>
        </p:spPr>
        <p:txBody>
          <a:bodyPr/>
          <a:lstStyle>
            <a:lvl1pPr>
              <a:defRPr sz="2400" b="0" i="0">
                <a:solidFill>
                  <a:schemeClr val="bg1"/>
                </a:solidFill>
                <a:latin typeface="+mn-lt"/>
              </a:defRPr>
            </a:lvl1pPr>
          </a:lstStyle>
          <a:p>
            <a:pPr lvl="0"/>
            <a:endParaRPr lang="en-US" noProof="0"/>
          </a:p>
        </p:txBody>
      </p:sp>
      <p:grpSp>
        <p:nvGrpSpPr>
          <p:cNvPr id="55" name="Graphic 100">
            <a:extLst>
              <a:ext uri="{FF2B5EF4-FFF2-40B4-BE49-F238E27FC236}">
                <a16:creationId xmlns:a16="http://schemas.microsoft.com/office/drawing/2014/main" id="{9FF51FFB-4AB0-1843-922A-B477E9F940B4}"/>
              </a:ext>
            </a:extLst>
          </p:cNvPr>
          <p:cNvGrpSpPr/>
          <p:nvPr userDrawn="1"/>
        </p:nvGrpSpPr>
        <p:grpSpPr>
          <a:xfrm>
            <a:off x="10148267" y="340999"/>
            <a:ext cx="1483475" cy="886834"/>
            <a:chOff x="7611200" y="284166"/>
            <a:chExt cx="1112606" cy="739028"/>
          </a:xfrm>
        </p:grpSpPr>
        <p:sp>
          <p:nvSpPr>
            <p:cNvPr id="103" name="Freeform 102">
              <a:extLst>
                <a:ext uri="{FF2B5EF4-FFF2-40B4-BE49-F238E27FC236}">
                  <a16:creationId xmlns:a16="http://schemas.microsoft.com/office/drawing/2014/main" id="{B271766A-F8F6-5543-A216-867A88525D8C}"/>
                </a:ext>
              </a:extLst>
            </p:cNvPr>
            <p:cNvSpPr/>
            <p:nvPr/>
          </p:nvSpPr>
          <p:spPr>
            <a:xfrm>
              <a:off x="8065090" y="981314"/>
              <a:ext cx="184529" cy="41880"/>
            </a:xfrm>
            <a:custGeom>
              <a:avLst/>
              <a:gdLst>
                <a:gd name="connsiteX0" fmla="*/ 0 w 184529"/>
                <a:gd name="connsiteY0" fmla="*/ 0 h 41880"/>
                <a:gd name="connsiteX1" fmla="*/ 184529 w 184529"/>
                <a:gd name="connsiteY1" fmla="*/ 0 h 41880"/>
                <a:gd name="connsiteX2" fmla="*/ 184529 w 184529"/>
                <a:gd name="connsiteY2" fmla="*/ 41880 h 41880"/>
                <a:gd name="connsiteX3" fmla="*/ 0 w 184529"/>
                <a:gd name="connsiteY3" fmla="*/ 41880 h 41880"/>
              </a:gdLst>
              <a:ahLst/>
              <a:cxnLst>
                <a:cxn ang="0">
                  <a:pos x="connsiteX0" y="connsiteY0"/>
                </a:cxn>
                <a:cxn ang="0">
                  <a:pos x="connsiteX1" y="connsiteY1"/>
                </a:cxn>
                <a:cxn ang="0">
                  <a:pos x="connsiteX2" y="connsiteY2"/>
                </a:cxn>
                <a:cxn ang="0">
                  <a:pos x="connsiteX3" y="connsiteY3"/>
                </a:cxn>
              </a:cxnLst>
              <a:rect l="l" t="t" r="r" b="b"/>
              <a:pathLst>
                <a:path w="184529" h="41880">
                  <a:moveTo>
                    <a:pt x="0" y="0"/>
                  </a:moveTo>
                  <a:lnTo>
                    <a:pt x="184529" y="0"/>
                  </a:lnTo>
                  <a:lnTo>
                    <a:pt x="184529" y="41880"/>
                  </a:lnTo>
                  <a:lnTo>
                    <a:pt x="0" y="41880"/>
                  </a:lnTo>
                  <a:close/>
                </a:path>
              </a:pathLst>
            </a:custGeom>
            <a:solidFill>
              <a:srgbClr val="1D1D1B"/>
            </a:solidFill>
            <a:ln w="12664" cap="flat">
              <a:noFill/>
              <a:prstDash val="solid"/>
              <a:miter/>
            </a:ln>
          </p:spPr>
          <p:txBody>
            <a:bodyPr rtlCol="0" anchor="ctr"/>
            <a:lstStyle/>
            <a:p>
              <a:endParaRPr lang="en-US"/>
            </a:p>
          </p:txBody>
        </p:sp>
        <p:sp>
          <p:nvSpPr>
            <p:cNvPr id="104" name="Freeform 103">
              <a:extLst>
                <a:ext uri="{FF2B5EF4-FFF2-40B4-BE49-F238E27FC236}">
                  <a16:creationId xmlns:a16="http://schemas.microsoft.com/office/drawing/2014/main" id="{C873108A-4C19-6C46-A466-05B9871B63D0}"/>
                </a:ext>
              </a:extLst>
            </p:cNvPr>
            <p:cNvSpPr/>
            <p:nvPr/>
          </p:nvSpPr>
          <p:spPr>
            <a:xfrm>
              <a:off x="8065090" y="284175"/>
              <a:ext cx="184529" cy="41880"/>
            </a:xfrm>
            <a:custGeom>
              <a:avLst/>
              <a:gdLst>
                <a:gd name="connsiteX0" fmla="*/ 0 w 184529"/>
                <a:gd name="connsiteY0" fmla="*/ 0 h 41880"/>
                <a:gd name="connsiteX1" fmla="*/ 184529 w 184529"/>
                <a:gd name="connsiteY1" fmla="*/ 0 h 41880"/>
                <a:gd name="connsiteX2" fmla="*/ 184529 w 184529"/>
                <a:gd name="connsiteY2" fmla="*/ 41880 h 41880"/>
                <a:gd name="connsiteX3" fmla="*/ 0 w 184529"/>
                <a:gd name="connsiteY3" fmla="*/ 41880 h 41880"/>
              </a:gdLst>
              <a:ahLst/>
              <a:cxnLst>
                <a:cxn ang="0">
                  <a:pos x="connsiteX0" y="connsiteY0"/>
                </a:cxn>
                <a:cxn ang="0">
                  <a:pos x="connsiteX1" y="connsiteY1"/>
                </a:cxn>
                <a:cxn ang="0">
                  <a:pos x="connsiteX2" y="connsiteY2"/>
                </a:cxn>
                <a:cxn ang="0">
                  <a:pos x="connsiteX3" y="connsiteY3"/>
                </a:cxn>
              </a:cxnLst>
              <a:rect l="l" t="t" r="r" b="b"/>
              <a:pathLst>
                <a:path w="184529" h="41880">
                  <a:moveTo>
                    <a:pt x="0" y="0"/>
                  </a:moveTo>
                  <a:lnTo>
                    <a:pt x="184529" y="0"/>
                  </a:lnTo>
                  <a:lnTo>
                    <a:pt x="184529" y="41880"/>
                  </a:lnTo>
                  <a:lnTo>
                    <a:pt x="0" y="41880"/>
                  </a:lnTo>
                  <a:close/>
                </a:path>
              </a:pathLst>
            </a:custGeom>
            <a:solidFill>
              <a:srgbClr val="1D1D1B"/>
            </a:solidFill>
            <a:ln w="12664" cap="flat">
              <a:noFill/>
              <a:prstDash val="solid"/>
              <a:miter/>
            </a:ln>
          </p:spPr>
          <p:txBody>
            <a:bodyPr rtlCol="0" anchor="ctr"/>
            <a:lstStyle/>
            <a:p>
              <a:endParaRPr lang="en-US"/>
            </a:p>
          </p:txBody>
        </p:sp>
        <p:sp>
          <p:nvSpPr>
            <p:cNvPr id="105" name="Freeform 104">
              <a:extLst>
                <a:ext uri="{FF2B5EF4-FFF2-40B4-BE49-F238E27FC236}">
                  <a16:creationId xmlns:a16="http://schemas.microsoft.com/office/drawing/2014/main" id="{14AFCA75-00D5-C341-9441-2184CCB035CB}"/>
                </a:ext>
              </a:extLst>
            </p:cNvPr>
            <p:cNvSpPr/>
            <p:nvPr/>
          </p:nvSpPr>
          <p:spPr>
            <a:xfrm>
              <a:off x="7611200" y="284166"/>
              <a:ext cx="928953" cy="738998"/>
            </a:xfrm>
            <a:custGeom>
              <a:avLst/>
              <a:gdLst>
                <a:gd name="connsiteX0" fmla="*/ 835856 w 928953"/>
                <a:gd name="connsiteY0" fmla="*/ 129348 h 738998"/>
                <a:gd name="connsiteX1" fmla="*/ 928952 w 928953"/>
                <a:gd name="connsiteY1" fmla="*/ 373724 h 738998"/>
                <a:gd name="connsiteX2" fmla="*/ 687905 w 928953"/>
                <a:gd name="connsiteY2" fmla="*/ 707088 h 738998"/>
                <a:gd name="connsiteX3" fmla="*/ 422261 w 928953"/>
                <a:gd name="connsiteY3" fmla="*/ 738739 h 738998"/>
                <a:gd name="connsiteX4" fmla="*/ 59346 w 928953"/>
                <a:gd name="connsiteY4" fmla="*/ 566442 h 738998"/>
                <a:gd name="connsiteX5" fmla="*/ 36221 w 928953"/>
                <a:gd name="connsiteY5" fmla="*/ 210589 h 738998"/>
                <a:gd name="connsiteX6" fmla="*/ 317565 w 928953"/>
                <a:gd name="connsiteY6" fmla="*/ 11729 h 738998"/>
                <a:gd name="connsiteX7" fmla="*/ 681889 w 928953"/>
                <a:gd name="connsiteY7" fmla="*/ 31485 h 738998"/>
                <a:gd name="connsiteX8" fmla="*/ 835856 w 928953"/>
                <a:gd name="connsiteY8" fmla="*/ 129348 h 73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953" h="738998">
                  <a:moveTo>
                    <a:pt x="835856" y="129348"/>
                  </a:moveTo>
                  <a:cubicBezTo>
                    <a:pt x="896114" y="196814"/>
                    <a:pt x="929236" y="283759"/>
                    <a:pt x="928952" y="373724"/>
                  </a:cubicBezTo>
                  <a:cubicBezTo>
                    <a:pt x="925917" y="523314"/>
                    <a:pt x="830184" y="655711"/>
                    <a:pt x="687905" y="707088"/>
                  </a:cubicBezTo>
                  <a:cubicBezTo>
                    <a:pt x="605509" y="733926"/>
                    <a:pt x="513834" y="740469"/>
                    <a:pt x="422261" y="738739"/>
                  </a:cubicBezTo>
                  <a:cubicBezTo>
                    <a:pt x="276874" y="734728"/>
                    <a:pt x="140410" y="684838"/>
                    <a:pt x="59346" y="566442"/>
                  </a:cubicBezTo>
                  <a:cubicBezTo>
                    <a:pt x="-7731" y="467563"/>
                    <a:pt x="-21426" y="316651"/>
                    <a:pt x="36221" y="210589"/>
                  </a:cubicBezTo>
                  <a:cubicBezTo>
                    <a:pt x="85377" y="102522"/>
                    <a:pt x="197486" y="29968"/>
                    <a:pt x="317565" y="11729"/>
                  </a:cubicBezTo>
                  <a:cubicBezTo>
                    <a:pt x="438958" y="-8966"/>
                    <a:pt x="563521" y="-2211"/>
                    <a:pt x="681889" y="31485"/>
                  </a:cubicBezTo>
                  <a:cubicBezTo>
                    <a:pt x="740531" y="51203"/>
                    <a:pt x="793392" y="84802"/>
                    <a:pt x="835856" y="129348"/>
                  </a:cubicBezTo>
                  <a:close/>
                </a:path>
              </a:pathLst>
            </a:custGeom>
            <a:solidFill>
              <a:srgbClr val="1D1D1B"/>
            </a:solidFill>
            <a:ln w="12664" cap="flat">
              <a:noFill/>
              <a:prstDash val="solid"/>
              <a:miter/>
            </a:ln>
          </p:spPr>
          <p:txBody>
            <a:bodyPr rtlCol="0" anchor="ctr"/>
            <a:lstStyle/>
            <a:p>
              <a:endParaRPr lang="en-US"/>
            </a:p>
          </p:txBody>
        </p:sp>
        <p:sp>
          <p:nvSpPr>
            <p:cNvPr id="106" name="Freeform 105">
              <a:extLst>
                <a:ext uri="{FF2B5EF4-FFF2-40B4-BE49-F238E27FC236}">
                  <a16:creationId xmlns:a16="http://schemas.microsoft.com/office/drawing/2014/main" id="{A82649A4-FEDB-3F4A-A929-46A4EA42F0B2}"/>
                </a:ext>
              </a:extLst>
            </p:cNvPr>
            <p:cNvSpPr/>
            <p:nvPr/>
          </p:nvSpPr>
          <p:spPr>
            <a:xfrm>
              <a:off x="7648818" y="292586"/>
              <a:ext cx="513653" cy="722735"/>
            </a:xfrm>
            <a:custGeom>
              <a:avLst/>
              <a:gdLst>
                <a:gd name="connsiteX0" fmla="*/ 501893 w 513653"/>
                <a:gd name="connsiteY0" fmla="*/ 722736 h 722735"/>
                <a:gd name="connsiteX1" fmla="*/ 419052 w 513653"/>
                <a:gd name="connsiteY1" fmla="*/ 722736 h 722735"/>
                <a:gd name="connsiteX2" fmla="*/ 0 w 513653"/>
                <a:gd name="connsiteY2" fmla="*/ 361368 h 722735"/>
                <a:gd name="connsiteX3" fmla="*/ 419052 w 513653"/>
                <a:gd name="connsiteY3" fmla="*/ 0 h 722735"/>
                <a:gd name="connsiteX4" fmla="*/ 491524 w 513653"/>
                <a:gd name="connsiteY4" fmla="*/ 0 h 722735"/>
                <a:gd name="connsiteX5" fmla="*/ 497075 w 513653"/>
                <a:gd name="connsiteY5" fmla="*/ 6964 h 722735"/>
                <a:gd name="connsiteX6" fmla="*/ 491524 w 513653"/>
                <a:gd name="connsiteY6" fmla="*/ 12448 h 722735"/>
                <a:gd name="connsiteX7" fmla="*/ 82841 w 513653"/>
                <a:gd name="connsiteY7" fmla="*/ 361368 h 722735"/>
                <a:gd name="connsiteX8" fmla="*/ 491524 w 513653"/>
                <a:gd name="connsiteY8" fmla="*/ 710301 h 722735"/>
                <a:gd name="connsiteX9" fmla="*/ 502502 w 513653"/>
                <a:gd name="connsiteY9" fmla="*/ 710150 h 722735"/>
                <a:gd name="connsiteX10" fmla="*/ 507985 w 513653"/>
                <a:gd name="connsiteY10" fmla="*/ 710226 h 722735"/>
                <a:gd name="connsiteX11" fmla="*/ 513617 w 513653"/>
                <a:gd name="connsiteY11" fmla="*/ 717127 h 722735"/>
                <a:gd name="connsiteX12" fmla="*/ 508214 w 513653"/>
                <a:gd name="connsiteY12" fmla="*/ 722661 h 722735"/>
                <a:gd name="connsiteX13" fmla="*/ 501893 w 513653"/>
                <a:gd name="connsiteY13" fmla="*/ 722736 h 722735"/>
                <a:gd name="connsiteX14" fmla="*/ 372219 w 513653"/>
                <a:gd name="connsiteY14" fmla="*/ 14754 h 722735"/>
                <a:gd name="connsiteX15" fmla="*/ 12603 w 513653"/>
                <a:gd name="connsiteY15" fmla="*/ 361368 h 722735"/>
                <a:gd name="connsiteX16" fmla="*/ 372219 w 513653"/>
                <a:gd name="connsiteY16" fmla="*/ 707994 h 722735"/>
                <a:gd name="connsiteX17" fmla="*/ 70187 w 513653"/>
                <a:gd name="connsiteY17" fmla="*/ 361368 h 722735"/>
                <a:gd name="connsiteX18" fmla="*/ 372219 w 513653"/>
                <a:gd name="connsiteY18" fmla="*/ 14754 h 72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3653" h="722735">
                  <a:moveTo>
                    <a:pt x="501893" y="722736"/>
                  </a:moveTo>
                  <a:lnTo>
                    <a:pt x="419052" y="722736"/>
                  </a:lnTo>
                  <a:cubicBezTo>
                    <a:pt x="187981" y="722736"/>
                    <a:pt x="0" y="560679"/>
                    <a:pt x="0" y="361368"/>
                  </a:cubicBezTo>
                  <a:cubicBezTo>
                    <a:pt x="0" y="162056"/>
                    <a:pt x="187981" y="0"/>
                    <a:pt x="419052" y="0"/>
                  </a:cubicBezTo>
                  <a:lnTo>
                    <a:pt x="491524" y="0"/>
                  </a:lnTo>
                  <a:cubicBezTo>
                    <a:pt x="495004" y="409"/>
                    <a:pt x="497490" y="3527"/>
                    <a:pt x="497075" y="6964"/>
                  </a:cubicBezTo>
                  <a:cubicBezTo>
                    <a:pt x="496730" y="9839"/>
                    <a:pt x="494434" y="12106"/>
                    <a:pt x="491524" y="12448"/>
                  </a:cubicBezTo>
                  <a:cubicBezTo>
                    <a:pt x="266151" y="12448"/>
                    <a:pt x="82841" y="168976"/>
                    <a:pt x="82841" y="361368"/>
                  </a:cubicBezTo>
                  <a:cubicBezTo>
                    <a:pt x="82841" y="553760"/>
                    <a:pt x="266190" y="710301"/>
                    <a:pt x="491524" y="710301"/>
                  </a:cubicBezTo>
                  <a:cubicBezTo>
                    <a:pt x="495192" y="710301"/>
                    <a:pt x="498872" y="710301"/>
                    <a:pt x="502502" y="710150"/>
                  </a:cubicBezTo>
                  <a:cubicBezTo>
                    <a:pt x="504622" y="710213"/>
                    <a:pt x="506462" y="710326"/>
                    <a:pt x="507985" y="710226"/>
                  </a:cubicBezTo>
                  <a:cubicBezTo>
                    <a:pt x="511470" y="710595"/>
                    <a:pt x="513991" y="713685"/>
                    <a:pt x="513617" y="717127"/>
                  </a:cubicBezTo>
                  <a:cubicBezTo>
                    <a:pt x="513306" y="719974"/>
                    <a:pt x="511082" y="722252"/>
                    <a:pt x="508214" y="722661"/>
                  </a:cubicBezTo>
                  <a:cubicBezTo>
                    <a:pt x="506107" y="722736"/>
                    <a:pt x="504025" y="722736"/>
                    <a:pt x="501893" y="722736"/>
                  </a:cubicBezTo>
                  <a:close/>
                  <a:moveTo>
                    <a:pt x="372219" y="14754"/>
                  </a:moveTo>
                  <a:cubicBezTo>
                    <a:pt x="170086" y="34760"/>
                    <a:pt x="12603" y="182577"/>
                    <a:pt x="12603" y="361368"/>
                  </a:cubicBezTo>
                  <a:cubicBezTo>
                    <a:pt x="12603" y="540159"/>
                    <a:pt x="170098" y="687988"/>
                    <a:pt x="372219" y="707994"/>
                  </a:cubicBezTo>
                  <a:cubicBezTo>
                    <a:pt x="197818" y="663757"/>
                    <a:pt x="70187" y="525104"/>
                    <a:pt x="70187" y="361368"/>
                  </a:cubicBezTo>
                  <a:cubicBezTo>
                    <a:pt x="70187" y="197632"/>
                    <a:pt x="197818" y="58991"/>
                    <a:pt x="372219" y="14754"/>
                  </a:cubicBezTo>
                  <a:close/>
                </a:path>
              </a:pathLst>
            </a:custGeom>
            <a:solidFill>
              <a:srgbClr val="FFFFFF"/>
            </a:solidFill>
            <a:ln w="12664" cap="flat">
              <a:noFill/>
              <a:prstDash val="solid"/>
              <a:miter/>
            </a:ln>
          </p:spPr>
          <p:txBody>
            <a:bodyPr rtlCol="0" anchor="ctr"/>
            <a:lstStyle/>
            <a:p>
              <a:endParaRPr lang="en-US"/>
            </a:p>
          </p:txBody>
        </p:sp>
        <p:sp>
          <p:nvSpPr>
            <p:cNvPr id="107" name="Freeform 106">
              <a:extLst>
                <a:ext uri="{FF2B5EF4-FFF2-40B4-BE49-F238E27FC236}">
                  <a16:creationId xmlns:a16="http://schemas.microsoft.com/office/drawing/2014/main" id="{39C41067-5CB6-1641-B328-941C2B7CFFF0}"/>
                </a:ext>
              </a:extLst>
            </p:cNvPr>
            <p:cNvSpPr/>
            <p:nvPr/>
          </p:nvSpPr>
          <p:spPr>
            <a:xfrm>
              <a:off x="7725312" y="298816"/>
              <a:ext cx="426223" cy="710288"/>
            </a:xfrm>
            <a:custGeom>
              <a:avLst/>
              <a:gdLst>
                <a:gd name="connsiteX0" fmla="*/ 38 w 426223"/>
                <a:gd name="connsiteY0" fmla="*/ 355138 h 710288"/>
                <a:gd name="connsiteX1" fmla="*/ 415067 w 426223"/>
                <a:gd name="connsiteY1" fmla="*/ 710288 h 710288"/>
                <a:gd name="connsiteX2" fmla="*/ 426223 w 426223"/>
                <a:gd name="connsiteY2" fmla="*/ 710138 h 710288"/>
                <a:gd name="connsiteX3" fmla="*/ 22427 w 426223"/>
                <a:gd name="connsiteY3" fmla="*/ 355138 h 710288"/>
                <a:gd name="connsiteX4" fmla="*/ 426185 w 426223"/>
                <a:gd name="connsiteY4" fmla="*/ 125 h 710288"/>
                <a:gd name="connsiteX5" fmla="*/ 415029 w 426223"/>
                <a:gd name="connsiteY5" fmla="*/ 0 h 710288"/>
                <a:gd name="connsiteX6" fmla="*/ 0 w 426223"/>
                <a:gd name="connsiteY6" fmla="*/ 355138 h 71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223" h="710288">
                  <a:moveTo>
                    <a:pt x="38" y="355138"/>
                  </a:moveTo>
                  <a:cubicBezTo>
                    <a:pt x="38" y="551178"/>
                    <a:pt x="185951" y="710288"/>
                    <a:pt x="415067" y="710288"/>
                  </a:cubicBezTo>
                  <a:cubicBezTo>
                    <a:pt x="418798" y="710288"/>
                    <a:pt x="422530" y="710288"/>
                    <a:pt x="426223" y="710138"/>
                  </a:cubicBezTo>
                  <a:cubicBezTo>
                    <a:pt x="202323" y="705124"/>
                    <a:pt x="22427" y="547956"/>
                    <a:pt x="22427" y="355138"/>
                  </a:cubicBezTo>
                  <a:cubicBezTo>
                    <a:pt x="22427" y="162320"/>
                    <a:pt x="202285" y="5202"/>
                    <a:pt x="426185" y="125"/>
                  </a:cubicBezTo>
                  <a:cubicBezTo>
                    <a:pt x="422492" y="50"/>
                    <a:pt x="418760" y="0"/>
                    <a:pt x="415029" y="0"/>
                  </a:cubicBezTo>
                  <a:cubicBezTo>
                    <a:pt x="185951" y="0"/>
                    <a:pt x="0" y="159111"/>
                    <a:pt x="0" y="355138"/>
                  </a:cubicBezTo>
                  <a:close/>
                </a:path>
              </a:pathLst>
            </a:custGeom>
            <a:solidFill>
              <a:srgbClr val="FFFFFF"/>
            </a:solidFill>
            <a:ln w="12664" cap="flat">
              <a:noFill/>
              <a:prstDash val="solid"/>
              <a:miter/>
            </a:ln>
          </p:spPr>
          <p:txBody>
            <a:bodyPr rtlCol="0" anchor="ctr"/>
            <a:lstStyle/>
            <a:p>
              <a:endParaRPr lang="en-US"/>
            </a:p>
          </p:txBody>
        </p:sp>
        <p:sp>
          <p:nvSpPr>
            <p:cNvPr id="108" name="Freeform 107">
              <a:extLst>
                <a:ext uri="{FF2B5EF4-FFF2-40B4-BE49-F238E27FC236}">
                  <a16:creationId xmlns:a16="http://schemas.microsoft.com/office/drawing/2014/main" id="{7BF88B26-C2F5-E349-82AB-7C9D397DB6AC}"/>
                </a:ext>
              </a:extLst>
            </p:cNvPr>
            <p:cNvSpPr/>
            <p:nvPr/>
          </p:nvSpPr>
          <p:spPr>
            <a:xfrm>
              <a:off x="7722216" y="295708"/>
              <a:ext cx="429383" cy="716505"/>
            </a:xfrm>
            <a:custGeom>
              <a:avLst/>
              <a:gdLst>
                <a:gd name="connsiteX0" fmla="*/ 418164 w 429383"/>
                <a:gd name="connsiteY0" fmla="*/ 716506 h 716505"/>
                <a:gd name="connsiteX1" fmla="*/ 0 w 429383"/>
                <a:gd name="connsiteY1" fmla="*/ 360503 h 716505"/>
                <a:gd name="connsiteX2" fmla="*/ 0 w 429383"/>
                <a:gd name="connsiteY2" fmla="*/ 360503 h 716505"/>
                <a:gd name="connsiteX3" fmla="*/ 0 w 429383"/>
                <a:gd name="connsiteY3" fmla="*/ 358247 h 716505"/>
                <a:gd name="connsiteX4" fmla="*/ 418126 w 429383"/>
                <a:gd name="connsiteY4" fmla="*/ 0 h 716505"/>
                <a:gd name="connsiteX5" fmla="*/ 429345 w 429383"/>
                <a:gd name="connsiteY5" fmla="*/ 125 h 716505"/>
                <a:gd name="connsiteX6" fmla="*/ 429345 w 429383"/>
                <a:gd name="connsiteY6" fmla="*/ 6393 h 716505"/>
                <a:gd name="connsiteX7" fmla="*/ 145527 w 429383"/>
                <a:gd name="connsiteY7" fmla="*/ 112667 h 716505"/>
                <a:gd name="connsiteX8" fmla="*/ 28659 w 429383"/>
                <a:gd name="connsiteY8" fmla="*/ 358247 h 716505"/>
                <a:gd name="connsiteX9" fmla="*/ 145539 w 429383"/>
                <a:gd name="connsiteY9" fmla="*/ 603851 h 716505"/>
                <a:gd name="connsiteX10" fmla="*/ 429383 w 429383"/>
                <a:gd name="connsiteY10" fmla="*/ 710150 h 716505"/>
                <a:gd name="connsiteX11" fmla="*/ 429383 w 429383"/>
                <a:gd name="connsiteY11" fmla="*/ 716343 h 716505"/>
                <a:gd name="connsiteX12" fmla="*/ 418164 w 429383"/>
                <a:gd name="connsiteY12" fmla="*/ 716506 h 716505"/>
                <a:gd name="connsiteX13" fmla="*/ 6244 w 429383"/>
                <a:gd name="connsiteY13" fmla="*/ 356354 h 716505"/>
                <a:gd name="connsiteX14" fmla="*/ 6244 w 429383"/>
                <a:gd name="connsiteY14" fmla="*/ 358259 h 716505"/>
                <a:gd name="connsiteX15" fmla="*/ 294252 w 429383"/>
                <a:gd name="connsiteY15" fmla="*/ 694042 h 716505"/>
                <a:gd name="connsiteX16" fmla="*/ 141338 w 429383"/>
                <a:gd name="connsiteY16" fmla="*/ 608502 h 716505"/>
                <a:gd name="connsiteX17" fmla="*/ 22376 w 429383"/>
                <a:gd name="connsiteY17" fmla="*/ 358247 h 716505"/>
                <a:gd name="connsiteX18" fmla="*/ 141351 w 429383"/>
                <a:gd name="connsiteY18" fmla="*/ 108017 h 716505"/>
                <a:gd name="connsiteX19" fmla="*/ 294391 w 429383"/>
                <a:gd name="connsiteY19" fmla="*/ 22438 h 716505"/>
                <a:gd name="connsiteX20" fmla="*/ 6244 w 429383"/>
                <a:gd name="connsiteY20" fmla="*/ 356354 h 71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9383" h="716505">
                  <a:moveTo>
                    <a:pt x="418164" y="716506"/>
                  </a:moveTo>
                  <a:cubicBezTo>
                    <a:pt x="188438" y="716506"/>
                    <a:pt x="1409" y="557006"/>
                    <a:pt x="0" y="360503"/>
                  </a:cubicBezTo>
                  <a:lnTo>
                    <a:pt x="0" y="360503"/>
                  </a:lnTo>
                  <a:lnTo>
                    <a:pt x="0" y="358247"/>
                  </a:lnTo>
                  <a:cubicBezTo>
                    <a:pt x="-38" y="160715"/>
                    <a:pt x="187550" y="0"/>
                    <a:pt x="418126" y="0"/>
                  </a:cubicBezTo>
                  <a:cubicBezTo>
                    <a:pt x="421933" y="0"/>
                    <a:pt x="425627" y="0"/>
                    <a:pt x="429345" y="125"/>
                  </a:cubicBezTo>
                  <a:lnTo>
                    <a:pt x="429345" y="6393"/>
                  </a:lnTo>
                  <a:cubicBezTo>
                    <a:pt x="324993" y="7564"/>
                    <a:pt x="224437" y="45217"/>
                    <a:pt x="145527" y="112667"/>
                  </a:cubicBezTo>
                  <a:cubicBezTo>
                    <a:pt x="72436" y="173976"/>
                    <a:pt x="29812" y="263544"/>
                    <a:pt x="28659" y="358247"/>
                  </a:cubicBezTo>
                  <a:cubicBezTo>
                    <a:pt x="29815" y="452958"/>
                    <a:pt x="72442" y="542534"/>
                    <a:pt x="145539" y="603851"/>
                  </a:cubicBezTo>
                  <a:cubicBezTo>
                    <a:pt x="224451" y="671320"/>
                    <a:pt x="325018" y="708982"/>
                    <a:pt x="429383" y="710150"/>
                  </a:cubicBezTo>
                  <a:lnTo>
                    <a:pt x="429383" y="716343"/>
                  </a:lnTo>
                  <a:cubicBezTo>
                    <a:pt x="425715" y="716506"/>
                    <a:pt x="421933" y="716506"/>
                    <a:pt x="418164" y="716506"/>
                  </a:cubicBezTo>
                  <a:close/>
                  <a:moveTo>
                    <a:pt x="6244" y="356354"/>
                  </a:moveTo>
                  <a:lnTo>
                    <a:pt x="6244" y="358259"/>
                  </a:lnTo>
                  <a:cubicBezTo>
                    <a:pt x="6244" y="515515"/>
                    <a:pt x="127466" y="649003"/>
                    <a:pt x="294252" y="694042"/>
                  </a:cubicBezTo>
                  <a:cubicBezTo>
                    <a:pt x="237836" y="676287"/>
                    <a:pt x="185767" y="647159"/>
                    <a:pt x="141338" y="608502"/>
                  </a:cubicBezTo>
                  <a:cubicBezTo>
                    <a:pt x="66896" y="546008"/>
                    <a:pt x="23508" y="454733"/>
                    <a:pt x="22376" y="358247"/>
                  </a:cubicBezTo>
                  <a:cubicBezTo>
                    <a:pt x="23520" y="261766"/>
                    <a:pt x="66912" y="170503"/>
                    <a:pt x="141351" y="108017"/>
                  </a:cubicBezTo>
                  <a:cubicBezTo>
                    <a:pt x="185811" y="69329"/>
                    <a:pt x="237927" y="40186"/>
                    <a:pt x="294391" y="22438"/>
                  </a:cubicBezTo>
                  <a:cubicBezTo>
                    <a:pt x="128215" y="67264"/>
                    <a:pt x="7209" y="199901"/>
                    <a:pt x="6244" y="356354"/>
                  </a:cubicBezTo>
                  <a:close/>
                </a:path>
              </a:pathLst>
            </a:custGeom>
            <a:solidFill>
              <a:srgbClr val="FFFFFF"/>
            </a:solidFill>
            <a:ln w="12664" cap="flat">
              <a:noFill/>
              <a:prstDash val="solid"/>
              <a:miter/>
            </a:ln>
          </p:spPr>
          <p:txBody>
            <a:bodyPr rtlCol="0" anchor="ctr"/>
            <a:lstStyle/>
            <a:p>
              <a:endParaRPr lang="en-US"/>
            </a:p>
          </p:txBody>
        </p:sp>
        <p:sp>
          <p:nvSpPr>
            <p:cNvPr id="109" name="Freeform 108">
              <a:extLst>
                <a:ext uri="{FF2B5EF4-FFF2-40B4-BE49-F238E27FC236}">
                  <a16:creationId xmlns:a16="http://schemas.microsoft.com/office/drawing/2014/main" id="{2DBC0D26-1274-DF49-A215-9D8E4086A50C}"/>
                </a:ext>
              </a:extLst>
            </p:cNvPr>
            <p:cNvSpPr/>
            <p:nvPr/>
          </p:nvSpPr>
          <p:spPr>
            <a:xfrm>
              <a:off x="7734489" y="466915"/>
              <a:ext cx="600154" cy="22200"/>
            </a:xfrm>
            <a:custGeom>
              <a:avLst/>
              <a:gdLst>
                <a:gd name="connsiteX0" fmla="*/ 600154 w 600154"/>
                <a:gd name="connsiteY0" fmla="*/ 11094 h 22200"/>
                <a:gd name="connsiteX1" fmla="*/ 300065 w 600154"/>
                <a:gd name="connsiteY1" fmla="*/ 22200 h 22200"/>
                <a:gd name="connsiteX2" fmla="*/ 0 w 600154"/>
                <a:gd name="connsiteY2" fmla="*/ 11094 h 22200"/>
                <a:gd name="connsiteX3" fmla="*/ 300065 w 600154"/>
                <a:gd name="connsiteY3" fmla="*/ 0 h 22200"/>
                <a:gd name="connsiteX4" fmla="*/ 600154 w 600154"/>
                <a:gd name="connsiteY4" fmla="*/ 11094 h 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54" h="22200">
                  <a:moveTo>
                    <a:pt x="600154" y="11094"/>
                  </a:moveTo>
                  <a:cubicBezTo>
                    <a:pt x="600154" y="17198"/>
                    <a:pt x="465708" y="22200"/>
                    <a:pt x="300065" y="22200"/>
                  </a:cubicBezTo>
                  <a:cubicBezTo>
                    <a:pt x="134421" y="22200"/>
                    <a:pt x="0" y="17186"/>
                    <a:pt x="0" y="11094"/>
                  </a:cubicBezTo>
                  <a:cubicBezTo>
                    <a:pt x="0" y="5002"/>
                    <a:pt x="134434" y="0"/>
                    <a:pt x="300065" y="0"/>
                  </a:cubicBezTo>
                  <a:cubicBezTo>
                    <a:pt x="465695" y="0"/>
                    <a:pt x="600154" y="4964"/>
                    <a:pt x="600154" y="11094"/>
                  </a:cubicBezTo>
                  <a:close/>
                </a:path>
              </a:pathLst>
            </a:custGeom>
            <a:solidFill>
              <a:srgbClr val="FFFFFF"/>
            </a:solidFill>
            <a:ln w="12664" cap="flat">
              <a:noFill/>
              <a:prstDash val="solid"/>
              <a:miter/>
            </a:ln>
          </p:spPr>
          <p:txBody>
            <a:bodyPr rtlCol="0" anchor="ctr"/>
            <a:lstStyle/>
            <a:p>
              <a:endParaRPr lang="en-US"/>
            </a:p>
          </p:txBody>
        </p:sp>
        <p:sp>
          <p:nvSpPr>
            <p:cNvPr id="110" name="Freeform 109">
              <a:extLst>
                <a:ext uri="{FF2B5EF4-FFF2-40B4-BE49-F238E27FC236}">
                  <a16:creationId xmlns:a16="http://schemas.microsoft.com/office/drawing/2014/main" id="{F5025588-F1A6-AD41-BE08-23AB0B04B5EC}"/>
                </a:ext>
              </a:extLst>
            </p:cNvPr>
            <p:cNvSpPr/>
            <p:nvPr/>
          </p:nvSpPr>
          <p:spPr>
            <a:xfrm>
              <a:off x="7731341" y="463844"/>
              <a:ext cx="606437" cy="28405"/>
            </a:xfrm>
            <a:custGeom>
              <a:avLst/>
              <a:gdLst>
                <a:gd name="connsiteX0" fmla="*/ 303212 w 606437"/>
                <a:gd name="connsiteY0" fmla="*/ 28405 h 28405"/>
                <a:gd name="connsiteX1" fmla="*/ 90938 w 606437"/>
                <a:gd name="connsiteY1" fmla="*/ 25146 h 28405"/>
                <a:gd name="connsiteX2" fmla="*/ 0 w 606437"/>
                <a:gd name="connsiteY2" fmla="*/ 14203 h 28405"/>
                <a:gd name="connsiteX3" fmla="*/ 90951 w 606437"/>
                <a:gd name="connsiteY3" fmla="*/ 3272 h 28405"/>
                <a:gd name="connsiteX4" fmla="*/ 303212 w 606437"/>
                <a:gd name="connsiteY4" fmla="*/ 0 h 28405"/>
                <a:gd name="connsiteX5" fmla="*/ 515486 w 606437"/>
                <a:gd name="connsiteY5" fmla="*/ 3259 h 28405"/>
                <a:gd name="connsiteX6" fmla="*/ 606437 w 606437"/>
                <a:gd name="connsiteY6" fmla="*/ 14203 h 28405"/>
                <a:gd name="connsiteX7" fmla="*/ 515486 w 606437"/>
                <a:gd name="connsiteY7" fmla="*/ 25146 h 28405"/>
                <a:gd name="connsiteX8" fmla="*/ 303212 w 606437"/>
                <a:gd name="connsiteY8" fmla="*/ 28405 h 28405"/>
                <a:gd name="connsiteX9" fmla="*/ 14799 w 606437"/>
                <a:gd name="connsiteY9" fmla="*/ 14165 h 28405"/>
                <a:gd name="connsiteX10" fmla="*/ 303212 w 606437"/>
                <a:gd name="connsiteY10" fmla="*/ 22162 h 28405"/>
                <a:gd name="connsiteX11" fmla="*/ 591803 w 606437"/>
                <a:gd name="connsiteY11" fmla="*/ 14152 h 28405"/>
                <a:gd name="connsiteX12" fmla="*/ 303212 w 606437"/>
                <a:gd name="connsiteY12" fmla="*/ 6167 h 28405"/>
                <a:gd name="connsiteX13" fmla="*/ 14799 w 606437"/>
                <a:gd name="connsiteY13" fmla="*/ 14165 h 2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437" h="28405">
                  <a:moveTo>
                    <a:pt x="303212" y="28405"/>
                  </a:moveTo>
                  <a:cubicBezTo>
                    <a:pt x="223176" y="28405"/>
                    <a:pt x="147786" y="27252"/>
                    <a:pt x="90938" y="25146"/>
                  </a:cubicBezTo>
                  <a:cubicBezTo>
                    <a:pt x="0" y="21761"/>
                    <a:pt x="0" y="18088"/>
                    <a:pt x="0" y="14203"/>
                  </a:cubicBezTo>
                  <a:cubicBezTo>
                    <a:pt x="0" y="10317"/>
                    <a:pt x="0" y="6681"/>
                    <a:pt x="90951" y="3272"/>
                  </a:cubicBezTo>
                  <a:cubicBezTo>
                    <a:pt x="147786" y="1166"/>
                    <a:pt x="223164" y="0"/>
                    <a:pt x="303212" y="0"/>
                  </a:cubicBezTo>
                  <a:cubicBezTo>
                    <a:pt x="383261" y="0"/>
                    <a:pt x="458753" y="1166"/>
                    <a:pt x="515486" y="3259"/>
                  </a:cubicBezTo>
                  <a:cubicBezTo>
                    <a:pt x="606437" y="6619"/>
                    <a:pt x="606437" y="10304"/>
                    <a:pt x="606437" y="14203"/>
                  </a:cubicBezTo>
                  <a:cubicBezTo>
                    <a:pt x="606437" y="18101"/>
                    <a:pt x="606437" y="21724"/>
                    <a:pt x="515486" y="25146"/>
                  </a:cubicBezTo>
                  <a:cubicBezTo>
                    <a:pt x="458677" y="27214"/>
                    <a:pt x="383286" y="28405"/>
                    <a:pt x="303212" y="28405"/>
                  </a:cubicBezTo>
                  <a:close/>
                  <a:moveTo>
                    <a:pt x="14799" y="14165"/>
                  </a:moveTo>
                  <a:cubicBezTo>
                    <a:pt x="47455" y="18314"/>
                    <a:pt x="158028" y="22162"/>
                    <a:pt x="303212" y="22162"/>
                  </a:cubicBezTo>
                  <a:cubicBezTo>
                    <a:pt x="448650" y="22162"/>
                    <a:pt x="559337" y="18302"/>
                    <a:pt x="591803" y="14152"/>
                  </a:cubicBezTo>
                  <a:cubicBezTo>
                    <a:pt x="560073" y="10016"/>
                    <a:pt x="452978" y="6167"/>
                    <a:pt x="303212" y="6167"/>
                  </a:cubicBezTo>
                  <a:cubicBezTo>
                    <a:pt x="158016" y="6167"/>
                    <a:pt x="47455" y="10016"/>
                    <a:pt x="14799" y="14165"/>
                  </a:cubicBezTo>
                  <a:close/>
                </a:path>
              </a:pathLst>
            </a:custGeom>
            <a:solidFill>
              <a:srgbClr val="FFFFFF"/>
            </a:solidFill>
            <a:ln w="12664" cap="flat">
              <a:noFill/>
              <a:prstDash val="solid"/>
              <a:miter/>
            </a:ln>
          </p:spPr>
          <p:txBody>
            <a:bodyPr rtlCol="0" anchor="ctr"/>
            <a:lstStyle/>
            <a:p>
              <a:endParaRPr lang="en-US"/>
            </a:p>
          </p:txBody>
        </p:sp>
        <p:sp>
          <p:nvSpPr>
            <p:cNvPr id="111" name="Freeform 110">
              <a:extLst>
                <a:ext uri="{FF2B5EF4-FFF2-40B4-BE49-F238E27FC236}">
                  <a16:creationId xmlns:a16="http://schemas.microsoft.com/office/drawing/2014/main" id="{A848AAFE-0E13-E544-908F-200E93BDCC5B}"/>
                </a:ext>
              </a:extLst>
            </p:cNvPr>
            <p:cNvSpPr/>
            <p:nvPr/>
          </p:nvSpPr>
          <p:spPr>
            <a:xfrm>
              <a:off x="7744744" y="835014"/>
              <a:ext cx="600116" cy="22200"/>
            </a:xfrm>
            <a:custGeom>
              <a:avLst/>
              <a:gdLst>
                <a:gd name="connsiteX0" fmla="*/ 600116 w 600116"/>
                <a:gd name="connsiteY0" fmla="*/ 11081 h 22200"/>
                <a:gd name="connsiteX1" fmla="*/ 300065 w 600116"/>
                <a:gd name="connsiteY1" fmla="*/ 22200 h 22200"/>
                <a:gd name="connsiteX2" fmla="*/ 0 w 600116"/>
                <a:gd name="connsiteY2" fmla="*/ 11081 h 22200"/>
                <a:gd name="connsiteX3" fmla="*/ 300065 w 600116"/>
                <a:gd name="connsiteY3" fmla="*/ 0 h 22200"/>
                <a:gd name="connsiteX4" fmla="*/ 600116 w 600116"/>
                <a:gd name="connsiteY4" fmla="*/ 11081 h 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16" h="22200">
                  <a:moveTo>
                    <a:pt x="600116" y="11081"/>
                  </a:moveTo>
                  <a:cubicBezTo>
                    <a:pt x="600116" y="17236"/>
                    <a:pt x="465708" y="22200"/>
                    <a:pt x="300065" y="22200"/>
                  </a:cubicBezTo>
                  <a:cubicBezTo>
                    <a:pt x="134421" y="22200"/>
                    <a:pt x="0" y="17186"/>
                    <a:pt x="0" y="11081"/>
                  </a:cubicBezTo>
                  <a:cubicBezTo>
                    <a:pt x="0" y="4977"/>
                    <a:pt x="134434" y="0"/>
                    <a:pt x="300065" y="0"/>
                  </a:cubicBezTo>
                  <a:cubicBezTo>
                    <a:pt x="465695" y="0"/>
                    <a:pt x="600116" y="5014"/>
                    <a:pt x="600116" y="11081"/>
                  </a:cubicBezTo>
                  <a:close/>
                </a:path>
              </a:pathLst>
            </a:custGeom>
            <a:solidFill>
              <a:srgbClr val="FFFFFF"/>
            </a:solidFill>
            <a:ln w="12664" cap="flat">
              <a:noFill/>
              <a:prstDash val="solid"/>
              <a:miter/>
            </a:ln>
          </p:spPr>
          <p:txBody>
            <a:bodyPr rtlCol="0" anchor="ctr"/>
            <a:lstStyle/>
            <a:p>
              <a:endParaRPr lang="en-US"/>
            </a:p>
          </p:txBody>
        </p:sp>
        <p:sp>
          <p:nvSpPr>
            <p:cNvPr id="112" name="Freeform 111">
              <a:extLst>
                <a:ext uri="{FF2B5EF4-FFF2-40B4-BE49-F238E27FC236}">
                  <a16:creationId xmlns:a16="http://schemas.microsoft.com/office/drawing/2014/main" id="{890C4341-3D96-984D-BEE3-07506F620EC5}"/>
                </a:ext>
              </a:extLst>
            </p:cNvPr>
            <p:cNvSpPr/>
            <p:nvPr/>
          </p:nvSpPr>
          <p:spPr>
            <a:xfrm>
              <a:off x="7741596" y="831918"/>
              <a:ext cx="606398" cy="28392"/>
            </a:xfrm>
            <a:custGeom>
              <a:avLst/>
              <a:gdLst>
                <a:gd name="connsiteX0" fmla="*/ 303212 w 606398"/>
                <a:gd name="connsiteY0" fmla="*/ 28393 h 28392"/>
                <a:gd name="connsiteX1" fmla="*/ 90938 w 606398"/>
                <a:gd name="connsiteY1" fmla="*/ 25121 h 28392"/>
                <a:gd name="connsiteX2" fmla="*/ 0 w 606398"/>
                <a:gd name="connsiteY2" fmla="*/ 14177 h 28392"/>
                <a:gd name="connsiteX3" fmla="*/ 90951 w 606398"/>
                <a:gd name="connsiteY3" fmla="*/ 3247 h 28392"/>
                <a:gd name="connsiteX4" fmla="*/ 303212 w 606398"/>
                <a:gd name="connsiteY4" fmla="*/ 0 h 28392"/>
                <a:gd name="connsiteX5" fmla="*/ 515473 w 606398"/>
                <a:gd name="connsiteY5" fmla="*/ 3259 h 28392"/>
                <a:gd name="connsiteX6" fmla="*/ 606399 w 606398"/>
                <a:gd name="connsiteY6" fmla="*/ 14177 h 28392"/>
                <a:gd name="connsiteX7" fmla="*/ 515473 w 606398"/>
                <a:gd name="connsiteY7" fmla="*/ 25146 h 28392"/>
                <a:gd name="connsiteX8" fmla="*/ 303212 w 606398"/>
                <a:gd name="connsiteY8" fmla="*/ 28393 h 28392"/>
                <a:gd name="connsiteX9" fmla="*/ 14672 w 606398"/>
                <a:gd name="connsiteY9" fmla="*/ 14165 h 28392"/>
                <a:gd name="connsiteX10" fmla="*/ 303212 w 606398"/>
                <a:gd name="connsiteY10" fmla="*/ 22200 h 28392"/>
                <a:gd name="connsiteX11" fmla="*/ 591740 w 606398"/>
                <a:gd name="connsiteY11" fmla="*/ 14203 h 28392"/>
                <a:gd name="connsiteX12" fmla="*/ 303212 w 606398"/>
                <a:gd name="connsiteY12" fmla="*/ 6192 h 28392"/>
                <a:gd name="connsiteX13" fmla="*/ 14672 w 606398"/>
                <a:gd name="connsiteY13" fmla="*/ 14165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398" h="28392">
                  <a:moveTo>
                    <a:pt x="303212" y="28393"/>
                  </a:moveTo>
                  <a:cubicBezTo>
                    <a:pt x="223138" y="28393"/>
                    <a:pt x="147760" y="27239"/>
                    <a:pt x="90938" y="25121"/>
                  </a:cubicBezTo>
                  <a:cubicBezTo>
                    <a:pt x="0" y="21749"/>
                    <a:pt x="0" y="18063"/>
                    <a:pt x="0" y="14177"/>
                  </a:cubicBezTo>
                  <a:cubicBezTo>
                    <a:pt x="0" y="10292"/>
                    <a:pt x="0" y="6656"/>
                    <a:pt x="90951" y="3247"/>
                  </a:cubicBezTo>
                  <a:cubicBezTo>
                    <a:pt x="147697" y="1153"/>
                    <a:pt x="223087" y="0"/>
                    <a:pt x="303212" y="0"/>
                  </a:cubicBezTo>
                  <a:cubicBezTo>
                    <a:pt x="383337" y="0"/>
                    <a:pt x="458600" y="1153"/>
                    <a:pt x="515473" y="3259"/>
                  </a:cubicBezTo>
                  <a:cubicBezTo>
                    <a:pt x="606399" y="6619"/>
                    <a:pt x="606399" y="10292"/>
                    <a:pt x="606399" y="14177"/>
                  </a:cubicBezTo>
                  <a:cubicBezTo>
                    <a:pt x="606399" y="18063"/>
                    <a:pt x="606399" y="21774"/>
                    <a:pt x="515473" y="25146"/>
                  </a:cubicBezTo>
                  <a:cubicBezTo>
                    <a:pt x="458804" y="27239"/>
                    <a:pt x="383426" y="28393"/>
                    <a:pt x="303212" y="28393"/>
                  </a:cubicBezTo>
                  <a:close/>
                  <a:moveTo>
                    <a:pt x="14672" y="14165"/>
                  </a:moveTo>
                  <a:cubicBezTo>
                    <a:pt x="47164" y="18327"/>
                    <a:pt x="157825" y="22200"/>
                    <a:pt x="303212" y="22200"/>
                  </a:cubicBezTo>
                  <a:cubicBezTo>
                    <a:pt x="452978" y="22200"/>
                    <a:pt x="559984" y="18339"/>
                    <a:pt x="591740" y="14203"/>
                  </a:cubicBezTo>
                  <a:cubicBezTo>
                    <a:pt x="559274" y="10053"/>
                    <a:pt x="448599" y="6192"/>
                    <a:pt x="303212" y="6192"/>
                  </a:cubicBezTo>
                  <a:cubicBezTo>
                    <a:pt x="153497" y="6192"/>
                    <a:pt x="46453" y="10066"/>
                    <a:pt x="14672" y="14165"/>
                  </a:cubicBezTo>
                  <a:close/>
                </a:path>
              </a:pathLst>
            </a:custGeom>
            <a:solidFill>
              <a:srgbClr val="FFFFFF"/>
            </a:solidFill>
            <a:ln w="12664" cap="flat">
              <a:noFill/>
              <a:prstDash val="solid"/>
              <a:miter/>
            </a:ln>
          </p:spPr>
          <p:txBody>
            <a:bodyPr rtlCol="0" anchor="ctr"/>
            <a:lstStyle/>
            <a:p>
              <a:endParaRPr lang="en-US"/>
            </a:p>
          </p:txBody>
        </p:sp>
        <p:sp>
          <p:nvSpPr>
            <p:cNvPr id="113" name="Freeform 112">
              <a:extLst>
                <a:ext uri="{FF2B5EF4-FFF2-40B4-BE49-F238E27FC236}">
                  <a16:creationId xmlns:a16="http://schemas.microsoft.com/office/drawing/2014/main" id="{475ACACF-947C-D74F-A08D-13330E78FEA5}"/>
                </a:ext>
              </a:extLst>
            </p:cNvPr>
            <p:cNvSpPr/>
            <p:nvPr/>
          </p:nvSpPr>
          <p:spPr>
            <a:xfrm>
              <a:off x="7680662" y="649366"/>
              <a:ext cx="600141" cy="22187"/>
            </a:xfrm>
            <a:custGeom>
              <a:avLst/>
              <a:gdLst>
                <a:gd name="connsiteX0" fmla="*/ 600142 w 600141"/>
                <a:gd name="connsiteY0" fmla="*/ 11081 h 22187"/>
                <a:gd name="connsiteX1" fmla="*/ 300065 w 600141"/>
                <a:gd name="connsiteY1" fmla="*/ 22187 h 22187"/>
                <a:gd name="connsiteX2" fmla="*/ 0 w 600141"/>
                <a:gd name="connsiteY2" fmla="*/ 11081 h 22187"/>
                <a:gd name="connsiteX3" fmla="*/ 300065 w 600141"/>
                <a:gd name="connsiteY3" fmla="*/ 0 h 22187"/>
                <a:gd name="connsiteX4" fmla="*/ 600142 w 600141"/>
                <a:gd name="connsiteY4" fmla="*/ 11081 h 22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41" h="22187">
                  <a:moveTo>
                    <a:pt x="600142" y="11081"/>
                  </a:moveTo>
                  <a:cubicBezTo>
                    <a:pt x="600142" y="17211"/>
                    <a:pt x="465708" y="22187"/>
                    <a:pt x="300065" y="22187"/>
                  </a:cubicBezTo>
                  <a:cubicBezTo>
                    <a:pt x="134421" y="22187"/>
                    <a:pt x="0" y="17173"/>
                    <a:pt x="0" y="11081"/>
                  </a:cubicBezTo>
                  <a:cubicBezTo>
                    <a:pt x="0" y="4989"/>
                    <a:pt x="134434" y="0"/>
                    <a:pt x="300065" y="0"/>
                  </a:cubicBezTo>
                  <a:cubicBezTo>
                    <a:pt x="465695" y="0"/>
                    <a:pt x="600142" y="5014"/>
                    <a:pt x="600142" y="11081"/>
                  </a:cubicBezTo>
                  <a:close/>
                </a:path>
              </a:pathLst>
            </a:custGeom>
            <a:solidFill>
              <a:srgbClr val="FFFFFF"/>
            </a:solidFill>
            <a:ln w="12664" cap="flat">
              <a:noFill/>
              <a:prstDash val="solid"/>
              <a:miter/>
            </a:ln>
          </p:spPr>
          <p:txBody>
            <a:bodyPr rtlCol="0" anchor="ctr"/>
            <a:lstStyle/>
            <a:p>
              <a:endParaRPr lang="en-US"/>
            </a:p>
          </p:txBody>
        </p:sp>
        <p:sp>
          <p:nvSpPr>
            <p:cNvPr id="114" name="Freeform 113">
              <a:extLst>
                <a:ext uri="{FF2B5EF4-FFF2-40B4-BE49-F238E27FC236}">
                  <a16:creationId xmlns:a16="http://schemas.microsoft.com/office/drawing/2014/main" id="{EE6B08DE-D55C-C94A-93E4-5C13256DA178}"/>
                </a:ext>
              </a:extLst>
            </p:cNvPr>
            <p:cNvSpPr/>
            <p:nvPr/>
          </p:nvSpPr>
          <p:spPr>
            <a:xfrm>
              <a:off x="7677514" y="646257"/>
              <a:ext cx="606424" cy="28392"/>
            </a:xfrm>
            <a:custGeom>
              <a:avLst/>
              <a:gdLst>
                <a:gd name="connsiteX0" fmla="*/ 303212 w 606424"/>
                <a:gd name="connsiteY0" fmla="*/ 28392 h 28392"/>
                <a:gd name="connsiteX1" fmla="*/ 90938 w 606424"/>
                <a:gd name="connsiteY1" fmla="*/ 25121 h 28392"/>
                <a:gd name="connsiteX2" fmla="*/ 0 w 606424"/>
                <a:gd name="connsiteY2" fmla="*/ 14190 h 28392"/>
                <a:gd name="connsiteX3" fmla="*/ 90951 w 606424"/>
                <a:gd name="connsiteY3" fmla="*/ 3259 h 28392"/>
                <a:gd name="connsiteX4" fmla="*/ 303212 w 606424"/>
                <a:gd name="connsiteY4" fmla="*/ 0 h 28392"/>
                <a:gd name="connsiteX5" fmla="*/ 515486 w 606424"/>
                <a:gd name="connsiteY5" fmla="*/ 3272 h 28392"/>
                <a:gd name="connsiteX6" fmla="*/ 606424 w 606424"/>
                <a:gd name="connsiteY6" fmla="*/ 14190 h 28392"/>
                <a:gd name="connsiteX7" fmla="*/ 515486 w 606424"/>
                <a:gd name="connsiteY7" fmla="*/ 25133 h 28392"/>
                <a:gd name="connsiteX8" fmla="*/ 303212 w 606424"/>
                <a:gd name="connsiteY8" fmla="*/ 28392 h 28392"/>
                <a:gd name="connsiteX9" fmla="*/ 14812 w 606424"/>
                <a:gd name="connsiteY9" fmla="*/ 14190 h 28392"/>
                <a:gd name="connsiteX10" fmla="*/ 303212 w 606424"/>
                <a:gd name="connsiteY10" fmla="*/ 22188 h 28392"/>
                <a:gd name="connsiteX11" fmla="*/ 591740 w 606424"/>
                <a:gd name="connsiteY11" fmla="*/ 14215 h 28392"/>
                <a:gd name="connsiteX12" fmla="*/ 303212 w 606424"/>
                <a:gd name="connsiteY12" fmla="*/ 6205 h 28392"/>
                <a:gd name="connsiteX13" fmla="*/ 14812 w 606424"/>
                <a:gd name="connsiteY13" fmla="*/ 14190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424" h="28392">
                  <a:moveTo>
                    <a:pt x="303212" y="28392"/>
                  </a:moveTo>
                  <a:cubicBezTo>
                    <a:pt x="223176" y="28392"/>
                    <a:pt x="147786" y="27227"/>
                    <a:pt x="90938" y="25121"/>
                  </a:cubicBezTo>
                  <a:cubicBezTo>
                    <a:pt x="0" y="21749"/>
                    <a:pt x="0" y="18076"/>
                    <a:pt x="0" y="14190"/>
                  </a:cubicBezTo>
                  <a:cubicBezTo>
                    <a:pt x="0" y="10304"/>
                    <a:pt x="0" y="6669"/>
                    <a:pt x="90951" y="3259"/>
                  </a:cubicBezTo>
                  <a:cubicBezTo>
                    <a:pt x="147748" y="1153"/>
                    <a:pt x="223138" y="0"/>
                    <a:pt x="303212" y="0"/>
                  </a:cubicBezTo>
                  <a:cubicBezTo>
                    <a:pt x="383286" y="0"/>
                    <a:pt x="458575" y="1166"/>
                    <a:pt x="515486" y="3272"/>
                  </a:cubicBezTo>
                  <a:cubicBezTo>
                    <a:pt x="606424" y="6644"/>
                    <a:pt x="606424" y="10304"/>
                    <a:pt x="606424" y="14190"/>
                  </a:cubicBezTo>
                  <a:cubicBezTo>
                    <a:pt x="606424" y="18076"/>
                    <a:pt x="606424" y="21774"/>
                    <a:pt x="515486" y="25133"/>
                  </a:cubicBezTo>
                  <a:cubicBezTo>
                    <a:pt x="458740" y="27239"/>
                    <a:pt x="383362" y="28392"/>
                    <a:pt x="303212" y="28392"/>
                  </a:cubicBezTo>
                  <a:close/>
                  <a:moveTo>
                    <a:pt x="14812" y="14190"/>
                  </a:moveTo>
                  <a:cubicBezTo>
                    <a:pt x="47481" y="18339"/>
                    <a:pt x="158041" y="22188"/>
                    <a:pt x="303212" y="22188"/>
                  </a:cubicBezTo>
                  <a:cubicBezTo>
                    <a:pt x="452914" y="22188"/>
                    <a:pt x="559933" y="18339"/>
                    <a:pt x="591740" y="14215"/>
                  </a:cubicBezTo>
                  <a:cubicBezTo>
                    <a:pt x="559210" y="10053"/>
                    <a:pt x="448561" y="6205"/>
                    <a:pt x="303212" y="6205"/>
                  </a:cubicBezTo>
                  <a:cubicBezTo>
                    <a:pt x="157863" y="6205"/>
                    <a:pt x="47481" y="10041"/>
                    <a:pt x="14812" y="14190"/>
                  </a:cubicBezTo>
                  <a:close/>
                </a:path>
              </a:pathLst>
            </a:custGeom>
            <a:solidFill>
              <a:srgbClr val="FFFFFF"/>
            </a:solidFill>
            <a:ln w="12664" cap="flat">
              <a:noFill/>
              <a:prstDash val="solid"/>
              <a:miter/>
            </a:ln>
          </p:spPr>
          <p:txBody>
            <a:bodyPr rtlCol="0" anchor="ctr"/>
            <a:lstStyle/>
            <a:p>
              <a:endParaRPr lang="en-US"/>
            </a:p>
          </p:txBody>
        </p:sp>
        <p:sp>
          <p:nvSpPr>
            <p:cNvPr id="115" name="Freeform 114">
              <a:extLst>
                <a:ext uri="{FF2B5EF4-FFF2-40B4-BE49-F238E27FC236}">
                  <a16:creationId xmlns:a16="http://schemas.microsoft.com/office/drawing/2014/main" id="{CF71F180-FDDE-6241-BF83-DD418E179248}"/>
                </a:ext>
              </a:extLst>
            </p:cNvPr>
            <p:cNvSpPr/>
            <p:nvPr/>
          </p:nvSpPr>
          <p:spPr>
            <a:xfrm>
              <a:off x="7794847" y="284166"/>
              <a:ext cx="928959" cy="738994"/>
            </a:xfrm>
            <a:custGeom>
              <a:avLst/>
              <a:gdLst>
                <a:gd name="connsiteX0" fmla="*/ 835862 w 928959"/>
                <a:gd name="connsiteY0" fmla="*/ 129348 h 738994"/>
                <a:gd name="connsiteX1" fmla="*/ 928958 w 928959"/>
                <a:gd name="connsiteY1" fmla="*/ 373724 h 738994"/>
                <a:gd name="connsiteX2" fmla="*/ 687886 w 928959"/>
                <a:gd name="connsiteY2" fmla="*/ 707075 h 738994"/>
                <a:gd name="connsiteX3" fmla="*/ 422255 w 928959"/>
                <a:gd name="connsiteY3" fmla="*/ 738739 h 738994"/>
                <a:gd name="connsiteX4" fmla="*/ 59340 w 928959"/>
                <a:gd name="connsiteY4" fmla="*/ 566442 h 738994"/>
                <a:gd name="connsiteX5" fmla="*/ 36227 w 928959"/>
                <a:gd name="connsiteY5" fmla="*/ 210589 h 738994"/>
                <a:gd name="connsiteX6" fmla="*/ 317571 w 928959"/>
                <a:gd name="connsiteY6" fmla="*/ 11729 h 738994"/>
                <a:gd name="connsiteX7" fmla="*/ 681946 w 928959"/>
                <a:gd name="connsiteY7" fmla="*/ 31485 h 738994"/>
                <a:gd name="connsiteX8" fmla="*/ 835862 w 928959"/>
                <a:gd name="connsiteY8" fmla="*/ 129348 h 73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959" h="738994">
                  <a:moveTo>
                    <a:pt x="835862" y="129348"/>
                  </a:moveTo>
                  <a:cubicBezTo>
                    <a:pt x="896115" y="196817"/>
                    <a:pt x="929237" y="283760"/>
                    <a:pt x="928958" y="373724"/>
                  </a:cubicBezTo>
                  <a:cubicBezTo>
                    <a:pt x="925921" y="523318"/>
                    <a:pt x="830175" y="655713"/>
                    <a:pt x="687886" y="707075"/>
                  </a:cubicBezTo>
                  <a:cubicBezTo>
                    <a:pt x="605502" y="733913"/>
                    <a:pt x="513828" y="740457"/>
                    <a:pt x="422255" y="738739"/>
                  </a:cubicBezTo>
                  <a:cubicBezTo>
                    <a:pt x="276855" y="734716"/>
                    <a:pt x="140403" y="684838"/>
                    <a:pt x="59340" y="566442"/>
                  </a:cubicBezTo>
                  <a:cubicBezTo>
                    <a:pt x="-7725" y="467563"/>
                    <a:pt x="-21432" y="316650"/>
                    <a:pt x="36227" y="210589"/>
                  </a:cubicBezTo>
                  <a:cubicBezTo>
                    <a:pt x="85422" y="102522"/>
                    <a:pt x="197479" y="29968"/>
                    <a:pt x="317571" y="11729"/>
                  </a:cubicBezTo>
                  <a:cubicBezTo>
                    <a:pt x="438981" y="-8966"/>
                    <a:pt x="563560" y="-2211"/>
                    <a:pt x="681946" y="31485"/>
                  </a:cubicBezTo>
                  <a:cubicBezTo>
                    <a:pt x="740568" y="51213"/>
                    <a:pt x="793411" y="84811"/>
                    <a:pt x="835862" y="129348"/>
                  </a:cubicBezTo>
                  <a:close/>
                </a:path>
              </a:pathLst>
            </a:custGeom>
            <a:solidFill>
              <a:srgbClr val="CA0538"/>
            </a:solidFill>
            <a:ln w="12664" cap="flat">
              <a:noFill/>
              <a:prstDash val="solid"/>
              <a:miter/>
            </a:ln>
          </p:spPr>
          <p:txBody>
            <a:bodyPr rtlCol="0" anchor="ctr"/>
            <a:lstStyle/>
            <a:p>
              <a:endParaRPr lang="en-US"/>
            </a:p>
          </p:txBody>
        </p:sp>
        <p:sp>
          <p:nvSpPr>
            <p:cNvPr id="116" name="Freeform 115">
              <a:extLst>
                <a:ext uri="{FF2B5EF4-FFF2-40B4-BE49-F238E27FC236}">
                  <a16:creationId xmlns:a16="http://schemas.microsoft.com/office/drawing/2014/main" id="{F46A7005-4EF7-544A-88E4-5D12002AEF5D}"/>
                </a:ext>
              </a:extLst>
            </p:cNvPr>
            <p:cNvSpPr/>
            <p:nvPr/>
          </p:nvSpPr>
          <p:spPr>
            <a:xfrm>
              <a:off x="7833276" y="310649"/>
              <a:ext cx="674105" cy="476179"/>
            </a:xfrm>
            <a:custGeom>
              <a:avLst/>
              <a:gdLst>
                <a:gd name="connsiteX0" fmla="*/ 674105 w 674105"/>
                <a:gd name="connsiteY0" fmla="*/ 47259 h 476179"/>
                <a:gd name="connsiteX1" fmla="*/ 53199 w 674105"/>
                <a:gd name="connsiteY1" fmla="*/ 164301 h 476179"/>
                <a:gd name="connsiteX2" fmla="*/ 23043 w 674105"/>
                <a:gd name="connsiteY2" fmla="*/ 476180 h 476179"/>
                <a:gd name="connsiteX3" fmla="*/ 674105 w 674105"/>
                <a:gd name="connsiteY3" fmla="*/ 47259 h 476179"/>
              </a:gdLst>
              <a:ahLst/>
              <a:cxnLst>
                <a:cxn ang="0">
                  <a:pos x="connsiteX0" y="connsiteY0"/>
                </a:cxn>
                <a:cxn ang="0">
                  <a:pos x="connsiteX1" y="connsiteY1"/>
                </a:cxn>
                <a:cxn ang="0">
                  <a:pos x="connsiteX2" y="connsiteY2"/>
                </a:cxn>
                <a:cxn ang="0">
                  <a:pos x="connsiteX3" y="connsiteY3"/>
                </a:cxn>
              </a:cxnLst>
              <a:rect l="l" t="t" r="r" b="b"/>
              <a:pathLst>
                <a:path w="674105" h="476179">
                  <a:moveTo>
                    <a:pt x="674105" y="47259"/>
                  </a:moveTo>
                  <a:cubicBezTo>
                    <a:pt x="674105" y="47259"/>
                    <a:pt x="245737" y="-115976"/>
                    <a:pt x="53199" y="164301"/>
                  </a:cubicBezTo>
                  <a:cubicBezTo>
                    <a:pt x="-45202" y="307555"/>
                    <a:pt x="23043" y="476180"/>
                    <a:pt x="23043" y="476180"/>
                  </a:cubicBezTo>
                  <a:cubicBezTo>
                    <a:pt x="23043" y="476180"/>
                    <a:pt x="9323" y="-76226"/>
                    <a:pt x="674105" y="47259"/>
                  </a:cubicBezTo>
                  <a:close/>
                </a:path>
              </a:pathLst>
            </a:custGeom>
            <a:solidFill>
              <a:srgbClr val="FFFFFF"/>
            </a:solidFill>
            <a:ln w="12664" cap="flat">
              <a:noFill/>
              <a:prstDash val="solid"/>
              <a:miter/>
            </a:ln>
          </p:spPr>
          <p:txBody>
            <a:bodyPr rtlCol="0" anchor="ctr"/>
            <a:lstStyle/>
            <a:p>
              <a:endParaRPr lang="en-US"/>
            </a:p>
          </p:txBody>
        </p:sp>
        <p:sp>
          <p:nvSpPr>
            <p:cNvPr id="117" name="Freeform 116">
              <a:extLst>
                <a:ext uri="{FF2B5EF4-FFF2-40B4-BE49-F238E27FC236}">
                  <a16:creationId xmlns:a16="http://schemas.microsoft.com/office/drawing/2014/main" id="{D5F28A02-635F-344C-863F-935130290EBC}"/>
                </a:ext>
              </a:extLst>
            </p:cNvPr>
            <p:cNvSpPr/>
            <p:nvPr/>
          </p:nvSpPr>
          <p:spPr>
            <a:xfrm>
              <a:off x="7952138" y="416172"/>
              <a:ext cx="622117" cy="420341"/>
            </a:xfrm>
            <a:custGeom>
              <a:avLst/>
              <a:gdLst>
                <a:gd name="connsiteX0" fmla="*/ 244162 w 622117"/>
                <a:gd name="connsiteY0" fmla="*/ 5265 h 420341"/>
                <a:gd name="connsiteX1" fmla="*/ 190234 w 622117"/>
                <a:gd name="connsiteY1" fmla="*/ 115337 h 420341"/>
                <a:gd name="connsiteX2" fmla="*/ 166119 w 622117"/>
                <a:gd name="connsiteY2" fmla="*/ 372750 h 420341"/>
                <a:gd name="connsiteX3" fmla="*/ 174546 w 622117"/>
                <a:gd name="connsiteY3" fmla="*/ 380271 h 420341"/>
                <a:gd name="connsiteX4" fmla="*/ 219273 w 622117"/>
                <a:gd name="connsiteY4" fmla="*/ 341336 h 420341"/>
                <a:gd name="connsiteX5" fmla="*/ 302545 w 622117"/>
                <a:gd name="connsiteY5" fmla="*/ 23617 h 420341"/>
                <a:gd name="connsiteX6" fmla="*/ 333806 w 622117"/>
                <a:gd name="connsiteY6" fmla="*/ 464 h 420341"/>
                <a:gd name="connsiteX7" fmla="*/ 335633 w 622117"/>
                <a:gd name="connsiteY7" fmla="*/ 7032 h 420341"/>
                <a:gd name="connsiteX8" fmla="*/ 302964 w 622117"/>
                <a:gd name="connsiteY8" fmla="*/ 48950 h 420341"/>
                <a:gd name="connsiteX9" fmla="*/ 293445 w 622117"/>
                <a:gd name="connsiteY9" fmla="*/ 78772 h 420341"/>
                <a:gd name="connsiteX10" fmla="*/ 257717 w 622117"/>
                <a:gd name="connsiteY10" fmla="*/ 371697 h 420341"/>
                <a:gd name="connsiteX11" fmla="*/ 269927 w 622117"/>
                <a:gd name="connsiteY11" fmla="*/ 380221 h 420341"/>
                <a:gd name="connsiteX12" fmla="*/ 308980 w 622117"/>
                <a:gd name="connsiteY12" fmla="*/ 342176 h 420341"/>
                <a:gd name="connsiteX13" fmla="*/ 378228 w 622117"/>
                <a:gd name="connsiteY13" fmla="*/ 200628 h 420341"/>
                <a:gd name="connsiteX14" fmla="*/ 448161 w 622117"/>
                <a:gd name="connsiteY14" fmla="*/ 198221 h 420341"/>
                <a:gd name="connsiteX15" fmla="*/ 429681 w 622117"/>
                <a:gd name="connsiteY15" fmla="*/ 360127 h 420341"/>
                <a:gd name="connsiteX16" fmla="*/ 437030 w 622117"/>
                <a:gd name="connsiteY16" fmla="*/ 382690 h 420341"/>
                <a:gd name="connsiteX17" fmla="*/ 444645 w 622117"/>
                <a:gd name="connsiteY17" fmla="*/ 380885 h 420341"/>
                <a:gd name="connsiteX18" fmla="*/ 491339 w 622117"/>
                <a:gd name="connsiteY18" fmla="*/ 333527 h 420341"/>
                <a:gd name="connsiteX19" fmla="*/ 528362 w 622117"/>
                <a:gd name="connsiteY19" fmla="*/ 108054 h 420341"/>
                <a:gd name="connsiteX20" fmla="*/ 593332 w 622117"/>
                <a:gd name="connsiteY20" fmla="*/ 24331 h 420341"/>
                <a:gd name="connsiteX21" fmla="*/ 580031 w 622117"/>
                <a:gd name="connsiteY21" fmla="*/ 39536 h 420341"/>
                <a:gd name="connsiteX22" fmla="*/ 525455 w 622117"/>
                <a:gd name="connsiteY22" fmla="*/ 215770 h 420341"/>
                <a:gd name="connsiteX23" fmla="*/ 546295 w 622117"/>
                <a:gd name="connsiteY23" fmla="*/ 207522 h 420341"/>
                <a:gd name="connsiteX24" fmla="*/ 590083 w 622117"/>
                <a:gd name="connsiteY24" fmla="*/ 171383 h 420341"/>
                <a:gd name="connsiteX25" fmla="*/ 609717 w 622117"/>
                <a:gd name="connsiteY25" fmla="*/ 190299 h 420341"/>
                <a:gd name="connsiteX26" fmla="*/ 587481 w 622117"/>
                <a:gd name="connsiteY26" fmla="*/ 352167 h 420341"/>
                <a:gd name="connsiteX27" fmla="*/ 515873 w 622117"/>
                <a:gd name="connsiteY27" fmla="*/ 418817 h 420341"/>
                <a:gd name="connsiteX28" fmla="*/ 500642 w 622117"/>
                <a:gd name="connsiteY28" fmla="*/ 417313 h 420341"/>
                <a:gd name="connsiteX29" fmla="*/ 492024 w 622117"/>
                <a:gd name="connsiteY29" fmla="*/ 355990 h 420341"/>
                <a:gd name="connsiteX30" fmla="*/ 489207 w 622117"/>
                <a:gd name="connsiteY30" fmla="*/ 354085 h 420341"/>
                <a:gd name="connsiteX31" fmla="*/ 416862 w 622117"/>
                <a:gd name="connsiteY31" fmla="*/ 419958 h 420341"/>
                <a:gd name="connsiteX32" fmla="*/ 408397 w 622117"/>
                <a:gd name="connsiteY32" fmla="*/ 418015 h 420341"/>
                <a:gd name="connsiteX33" fmla="*/ 398345 w 622117"/>
                <a:gd name="connsiteY33" fmla="*/ 380409 h 420341"/>
                <a:gd name="connsiteX34" fmla="*/ 344175 w 622117"/>
                <a:gd name="connsiteY34" fmla="*/ 420221 h 420341"/>
                <a:gd name="connsiteX35" fmla="*/ 325493 w 622117"/>
                <a:gd name="connsiteY35" fmla="*/ 399989 h 420341"/>
                <a:gd name="connsiteX36" fmla="*/ 310719 w 622117"/>
                <a:gd name="connsiteY36" fmla="*/ 359011 h 420341"/>
                <a:gd name="connsiteX37" fmla="*/ 242182 w 622117"/>
                <a:gd name="connsiteY37" fmla="*/ 419306 h 420341"/>
                <a:gd name="connsiteX38" fmla="*/ 228221 w 622117"/>
                <a:gd name="connsiteY38" fmla="*/ 408852 h 420341"/>
                <a:gd name="connsiteX39" fmla="*/ 220047 w 622117"/>
                <a:gd name="connsiteY39" fmla="*/ 358222 h 420341"/>
                <a:gd name="connsiteX40" fmla="*/ 216240 w 622117"/>
                <a:gd name="connsiteY40" fmla="*/ 359124 h 420341"/>
                <a:gd name="connsiteX41" fmla="*/ 149607 w 622117"/>
                <a:gd name="connsiteY41" fmla="*/ 419406 h 420341"/>
                <a:gd name="connsiteX42" fmla="*/ 136470 w 622117"/>
                <a:gd name="connsiteY42" fmla="*/ 410857 h 420341"/>
                <a:gd name="connsiteX43" fmla="*/ 127586 w 622117"/>
                <a:gd name="connsiteY43" fmla="*/ 346138 h 420341"/>
                <a:gd name="connsiteX44" fmla="*/ 123778 w 622117"/>
                <a:gd name="connsiteY44" fmla="*/ 346138 h 420341"/>
                <a:gd name="connsiteX45" fmla="*/ 29616 w 622117"/>
                <a:gd name="connsiteY45" fmla="*/ 420234 h 420341"/>
                <a:gd name="connsiteX46" fmla="*/ 19298 w 622117"/>
                <a:gd name="connsiteY46" fmla="*/ 412637 h 420341"/>
                <a:gd name="connsiteX47" fmla="*/ 41090 w 622117"/>
                <a:gd name="connsiteY47" fmla="*/ 197368 h 420341"/>
                <a:gd name="connsiteX48" fmla="*/ 83177 w 622117"/>
                <a:gd name="connsiteY48" fmla="*/ 178766 h 420341"/>
                <a:gd name="connsiteX49" fmla="*/ 102367 w 622117"/>
                <a:gd name="connsiteY49" fmla="*/ 208224 h 420341"/>
                <a:gd name="connsiteX50" fmla="*/ 102100 w 622117"/>
                <a:gd name="connsiteY50" fmla="*/ 239136 h 420341"/>
                <a:gd name="connsiteX51" fmla="*/ 36368 w 622117"/>
                <a:gd name="connsiteY51" fmla="*/ 299443 h 420341"/>
                <a:gd name="connsiteX52" fmla="*/ 46167 w 622117"/>
                <a:gd name="connsiteY52" fmla="*/ 383831 h 420341"/>
                <a:gd name="connsiteX53" fmla="*/ 58592 w 622117"/>
                <a:gd name="connsiteY53" fmla="*/ 385649 h 420341"/>
                <a:gd name="connsiteX54" fmla="*/ 60331 w 622117"/>
                <a:gd name="connsiteY54" fmla="*/ 383969 h 420341"/>
                <a:gd name="connsiteX55" fmla="*/ 127954 w 622117"/>
                <a:gd name="connsiteY55" fmla="*/ 320866 h 420341"/>
                <a:gd name="connsiteX56" fmla="*/ 202291 w 622117"/>
                <a:gd name="connsiteY56" fmla="*/ 37681 h 420341"/>
                <a:gd name="connsiteX57" fmla="*/ 243007 w 622117"/>
                <a:gd name="connsiteY57" fmla="*/ 0 h 420341"/>
                <a:gd name="connsiteX58" fmla="*/ 244974 w 622117"/>
                <a:gd name="connsiteY58" fmla="*/ 4024 h 420341"/>
                <a:gd name="connsiteX59" fmla="*/ 244162 w 622117"/>
                <a:gd name="connsiteY59" fmla="*/ 5265 h 420341"/>
                <a:gd name="connsiteX60" fmla="*/ 77224 w 622117"/>
                <a:gd name="connsiteY60" fmla="*/ 185510 h 420341"/>
                <a:gd name="connsiteX61" fmla="*/ 63936 w 622117"/>
                <a:gd name="connsiteY61" fmla="*/ 193821 h 420341"/>
                <a:gd name="connsiteX62" fmla="*/ 39516 w 622117"/>
                <a:gd name="connsiteY62" fmla="*/ 281656 h 420341"/>
                <a:gd name="connsiteX63" fmla="*/ 80448 w 622117"/>
                <a:gd name="connsiteY63" fmla="*/ 246419 h 420341"/>
                <a:gd name="connsiteX64" fmla="*/ 86553 w 622117"/>
                <a:gd name="connsiteY64" fmla="*/ 197770 h 420341"/>
                <a:gd name="connsiteX65" fmla="*/ 77224 w 622117"/>
                <a:gd name="connsiteY65" fmla="*/ 185510 h 420341"/>
                <a:gd name="connsiteX66" fmla="*/ 415111 w 622117"/>
                <a:gd name="connsiteY66" fmla="*/ 203536 h 420341"/>
                <a:gd name="connsiteX67" fmla="*/ 378215 w 622117"/>
                <a:gd name="connsiteY67" fmla="*/ 212574 h 420341"/>
                <a:gd name="connsiteX68" fmla="*/ 346891 w 622117"/>
                <a:gd name="connsiteY68" fmla="*/ 331271 h 420341"/>
                <a:gd name="connsiteX69" fmla="*/ 360611 w 622117"/>
                <a:gd name="connsiteY69" fmla="*/ 381976 h 420341"/>
                <a:gd name="connsiteX70" fmla="*/ 395730 w 622117"/>
                <a:gd name="connsiteY70" fmla="*/ 361681 h 420341"/>
                <a:gd name="connsiteX71" fmla="*/ 416037 w 622117"/>
                <a:gd name="connsiteY71" fmla="*/ 208224 h 420341"/>
                <a:gd name="connsiteX72" fmla="*/ 566146 w 622117"/>
                <a:gd name="connsiteY72" fmla="*/ 207698 h 420341"/>
                <a:gd name="connsiteX73" fmla="*/ 530887 w 622117"/>
                <a:gd name="connsiteY73" fmla="*/ 242997 h 420341"/>
                <a:gd name="connsiteX74" fmla="*/ 529618 w 622117"/>
                <a:gd name="connsiteY74" fmla="*/ 378792 h 420341"/>
                <a:gd name="connsiteX75" fmla="*/ 533324 w 622117"/>
                <a:gd name="connsiteY75" fmla="*/ 388219 h 420341"/>
                <a:gd name="connsiteX76" fmla="*/ 558899 w 622117"/>
                <a:gd name="connsiteY76" fmla="*/ 370995 h 420341"/>
                <a:gd name="connsiteX77" fmla="*/ 581871 w 622117"/>
                <a:gd name="connsiteY77" fmla="*/ 223730 h 420341"/>
                <a:gd name="connsiteX78" fmla="*/ 566158 w 622117"/>
                <a:gd name="connsiteY78" fmla="*/ 207710 h 4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22117" h="420341">
                  <a:moveTo>
                    <a:pt x="244162" y="5265"/>
                  </a:moveTo>
                  <a:cubicBezTo>
                    <a:pt x="206086" y="28342"/>
                    <a:pt x="203801" y="76089"/>
                    <a:pt x="190234" y="115337"/>
                  </a:cubicBezTo>
                  <a:cubicBezTo>
                    <a:pt x="169685" y="194774"/>
                    <a:pt x="154696" y="286444"/>
                    <a:pt x="166119" y="372750"/>
                  </a:cubicBezTo>
                  <a:cubicBezTo>
                    <a:pt x="167666" y="376363"/>
                    <a:pt x="170752" y="379115"/>
                    <a:pt x="174546" y="380271"/>
                  </a:cubicBezTo>
                  <a:cubicBezTo>
                    <a:pt x="191170" y="369352"/>
                    <a:pt x="206217" y="356253"/>
                    <a:pt x="219273" y="341336"/>
                  </a:cubicBezTo>
                  <a:cubicBezTo>
                    <a:pt x="227904" y="228092"/>
                    <a:pt x="248807" y="118709"/>
                    <a:pt x="302545" y="23617"/>
                  </a:cubicBezTo>
                  <a:cubicBezTo>
                    <a:pt x="309823" y="12451"/>
                    <a:pt x="320916" y="4236"/>
                    <a:pt x="333806" y="464"/>
                  </a:cubicBezTo>
                  <a:cubicBezTo>
                    <a:pt x="336636" y="464"/>
                    <a:pt x="337613" y="5165"/>
                    <a:pt x="335633" y="7032"/>
                  </a:cubicBezTo>
                  <a:cubicBezTo>
                    <a:pt x="316443" y="13977"/>
                    <a:pt x="309780" y="30298"/>
                    <a:pt x="302964" y="48950"/>
                  </a:cubicBezTo>
                  <a:cubicBezTo>
                    <a:pt x="299197" y="58697"/>
                    <a:pt x="296018" y="68655"/>
                    <a:pt x="293445" y="78772"/>
                  </a:cubicBezTo>
                  <a:cubicBezTo>
                    <a:pt x="267185" y="170380"/>
                    <a:pt x="246358" y="270399"/>
                    <a:pt x="257717" y="371697"/>
                  </a:cubicBezTo>
                  <a:cubicBezTo>
                    <a:pt x="259570" y="376398"/>
                    <a:pt x="264241" y="382064"/>
                    <a:pt x="269927" y="380221"/>
                  </a:cubicBezTo>
                  <a:cubicBezTo>
                    <a:pt x="285184" y="369996"/>
                    <a:pt x="298419" y="357102"/>
                    <a:pt x="308980" y="342176"/>
                  </a:cubicBezTo>
                  <a:cubicBezTo>
                    <a:pt x="303214" y="285875"/>
                    <a:pt x="329984" y="231155"/>
                    <a:pt x="378228" y="200628"/>
                  </a:cubicBezTo>
                  <a:cubicBezTo>
                    <a:pt x="399780" y="188729"/>
                    <a:pt x="425822" y="187833"/>
                    <a:pt x="448161" y="198221"/>
                  </a:cubicBezTo>
                  <a:cubicBezTo>
                    <a:pt x="436742" y="251477"/>
                    <a:pt x="430553" y="305697"/>
                    <a:pt x="429681" y="360127"/>
                  </a:cubicBezTo>
                  <a:cubicBezTo>
                    <a:pt x="430316" y="366633"/>
                    <a:pt x="429529" y="377915"/>
                    <a:pt x="437030" y="382690"/>
                  </a:cubicBezTo>
                  <a:lnTo>
                    <a:pt x="444645" y="380885"/>
                  </a:lnTo>
                  <a:lnTo>
                    <a:pt x="491339" y="333527"/>
                  </a:lnTo>
                  <a:cubicBezTo>
                    <a:pt x="498793" y="257666"/>
                    <a:pt x="511159" y="182354"/>
                    <a:pt x="528362" y="108054"/>
                  </a:cubicBezTo>
                  <a:cubicBezTo>
                    <a:pt x="539048" y="74435"/>
                    <a:pt x="563899" y="27954"/>
                    <a:pt x="593332" y="24331"/>
                  </a:cubicBezTo>
                  <a:cubicBezTo>
                    <a:pt x="604171" y="33808"/>
                    <a:pt x="592228" y="28092"/>
                    <a:pt x="580031" y="39536"/>
                  </a:cubicBezTo>
                  <a:cubicBezTo>
                    <a:pt x="544722" y="77957"/>
                    <a:pt x="531725" y="152116"/>
                    <a:pt x="525455" y="215770"/>
                  </a:cubicBezTo>
                  <a:cubicBezTo>
                    <a:pt x="532702" y="217738"/>
                    <a:pt x="534073" y="216911"/>
                    <a:pt x="546295" y="207522"/>
                  </a:cubicBezTo>
                  <a:lnTo>
                    <a:pt x="590083" y="171383"/>
                  </a:lnTo>
                  <a:cubicBezTo>
                    <a:pt x="600465" y="170530"/>
                    <a:pt x="606011" y="182765"/>
                    <a:pt x="609717" y="190299"/>
                  </a:cubicBezTo>
                  <a:cubicBezTo>
                    <a:pt x="632199" y="244293"/>
                    <a:pt x="623715" y="306041"/>
                    <a:pt x="587481" y="352167"/>
                  </a:cubicBezTo>
                  <a:cubicBezTo>
                    <a:pt x="569051" y="379470"/>
                    <a:pt x="544562" y="402266"/>
                    <a:pt x="515873" y="418817"/>
                  </a:cubicBezTo>
                  <a:cubicBezTo>
                    <a:pt x="504450" y="422578"/>
                    <a:pt x="501378" y="418002"/>
                    <a:pt x="500642" y="417313"/>
                  </a:cubicBezTo>
                  <a:cubicBezTo>
                    <a:pt x="492227" y="406833"/>
                    <a:pt x="493712" y="378454"/>
                    <a:pt x="492024" y="355990"/>
                  </a:cubicBezTo>
                  <a:lnTo>
                    <a:pt x="489207" y="354085"/>
                  </a:lnTo>
                  <a:lnTo>
                    <a:pt x="416862" y="419958"/>
                  </a:lnTo>
                  <a:cubicBezTo>
                    <a:pt x="414984" y="419958"/>
                    <a:pt x="410059" y="421211"/>
                    <a:pt x="408397" y="418015"/>
                  </a:cubicBezTo>
                  <a:cubicBezTo>
                    <a:pt x="402772" y="406183"/>
                    <a:pt x="399365" y="393442"/>
                    <a:pt x="398345" y="380409"/>
                  </a:cubicBezTo>
                  <a:cubicBezTo>
                    <a:pt x="379307" y="391490"/>
                    <a:pt x="363150" y="409140"/>
                    <a:pt x="344175" y="420221"/>
                  </a:cubicBezTo>
                  <a:cubicBezTo>
                    <a:pt x="333768" y="421061"/>
                    <a:pt x="329084" y="408438"/>
                    <a:pt x="325493" y="399989"/>
                  </a:cubicBezTo>
                  <a:cubicBezTo>
                    <a:pt x="317357" y="379419"/>
                    <a:pt x="316608" y="374655"/>
                    <a:pt x="310719" y="359011"/>
                  </a:cubicBezTo>
                  <a:lnTo>
                    <a:pt x="242182" y="419306"/>
                  </a:lnTo>
                  <a:cubicBezTo>
                    <a:pt x="234567" y="423067"/>
                    <a:pt x="230176" y="414844"/>
                    <a:pt x="228221" y="408852"/>
                  </a:cubicBezTo>
                  <a:cubicBezTo>
                    <a:pt x="224377" y="392170"/>
                    <a:pt x="221646" y="375257"/>
                    <a:pt x="220047" y="358222"/>
                  </a:cubicBezTo>
                  <a:lnTo>
                    <a:pt x="216240" y="359124"/>
                  </a:lnTo>
                  <a:lnTo>
                    <a:pt x="149607" y="419406"/>
                  </a:lnTo>
                  <a:cubicBezTo>
                    <a:pt x="142550" y="421512"/>
                    <a:pt x="139986" y="418755"/>
                    <a:pt x="136470" y="410857"/>
                  </a:cubicBezTo>
                  <a:cubicBezTo>
                    <a:pt x="130416" y="397269"/>
                    <a:pt x="130696" y="366883"/>
                    <a:pt x="127586" y="346138"/>
                  </a:cubicBezTo>
                  <a:lnTo>
                    <a:pt x="123778" y="346138"/>
                  </a:lnTo>
                  <a:cubicBezTo>
                    <a:pt x="92404" y="370193"/>
                    <a:pt x="64722" y="401807"/>
                    <a:pt x="29616" y="420234"/>
                  </a:cubicBezTo>
                  <a:cubicBezTo>
                    <a:pt x="24895" y="421111"/>
                    <a:pt x="21151" y="416473"/>
                    <a:pt x="19298" y="412637"/>
                  </a:cubicBezTo>
                  <a:cubicBezTo>
                    <a:pt x="-11265" y="346777"/>
                    <a:pt x="-6619" y="252185"/>
                    <a:pt x="41090" y="197368"/>
                  </a:cubicBezTo>
                  <a:cubicBezTo>
                    <a:pt x="46839" y="191301"/>
                    <a:pt x="63859" y="170593"/>
                    <a:pt x="83177" y="178766"/>
                  </a:cubicBezTo>
                  <a:cubicBezTo>
                    <a:pt x="94066" y="182527"/>
                    <a:pt x="99169" y="191163"/>
                    <a:pt x="102367" y="208224"/>
                  </a:cubicBezTo>
                  <a:cubicBezTo>
                    <a:pt x="105644" y="218289"/>
                    <a:pt x="105550" y="229128"/>
                    <a:pt x="102100" y="239136"/>
                  </a:cubicBezTo>
                  <a:lnTo>
                    <a:pt x="36368" y="299443"/>
                  </a:lnTo>
                  <a:cubicBezTo>
                    <a:pt x="31891" y="327931"/>
                    <a:pt x="35276" y="357085"/>
                    <a:pt x="46167" y="383831"/>
                  </a:cubicBezTo>
                  <a:cubicBezTo>
                    <a:pt x="49091" y="387721"/>
                    <a:pt x="54653" y="388534"/>
                    <a:pt x="58592" y="385649"/>
                  </a:cubicBezTo>
                  <a:cubicBezTo>
                    <a:pt x="59251" y="385174"/>
                    <a:pt x="59836" y="384608"/>
                    <a:pt x="60331" y="383969"/>
                  </a:cubicBezTo>
                  <a:lnTo>
                    <a:pt x="127954" y="320866"/>
                  </a:lnTo>
                  <a:cubicBezTo>
                    <a:pt x="138298" y="220734"/>
                    <a:pt x="157146" y="123460"/>
                    <a:pt x="202291" y="37681"/>
                  </a:cubicBezTo>
                  <a:cubicBezTo>
                    <a:pt x="207634" y="27791"/>
                    <a:pt x="225365" y="752"/>
                    <a:pt x="243007" y="0"/>
                  </a:cubicBezTo>
                  <a:cubicBezTo>
                    <a:pt x="244671" y="580"/>
                    <a:pt x="245549" y="2377"/>
                    <a:pt x="244974" y="4024"/>
                  </a:cubicBezTo>
                  <a:cubicBezTo>
                    <a:pt x="244800" y="4491"/>
                    <a:pt x="244523" y="4916"/>
                    <a:pt x="244162" y="5265"/>
                  </a:cubicBezTo>
                  <a:close/>
                  <a:moveTo>
                    <a:pt x="77224" y="185510"/>
                  </a:moveTo>
                  <a:cubicBezTo>
                    <a:pt x="72275" y="187374"/>
                    <a:pt x="67757" y="190199"/>
                    <a:pt x="63936" y="193821"/>
                  </a:cubicBezTo>
                  <a:cubicBezTo>
                    <a:pt x="49883" y="221174"/>
                    <a:pt x="41576" y="251051"/>
                    <a:pt x="39516" y="281656"/>
                  </a:cubicBezTo>
                  <a:cubicBezTo>
                    <a:pt x="54645" y="269747"/>
                    <a:pt x="68060" y="257563"/>
                    <a:pt x="80448" y="246419"/>
                  </a:cubicBezTo>
                  <a:lnTo>
                    <a:pt x="86553" y="197770"/>
                  </a:lnTo>
                  <a:cubicBezTo>
                    <a:pt x="89459" y="190311"/>
                    <a:pt x="84776" y="185585"/>
                    <a:pt x="77224" y="185510"/>
                  </a:cubicBezTo>
                  <a:close/>
                  <a:moveTo>
                    <a:pt x="415111" y="203536"/>
                  </a:moveTo>
                  <a:cubicBezTo>
                    <a:pt x="401949" y="195927"/>
                    <a:pt x="388711" y="202746"/>
                    <a:pt x="378215" y="212574"/>
                  </a:cubicBezTo>
                  <a:cubicBezTo>
                    <a:pt x="347754" y="241405"/>
                    <a:pt x="343502" y="289039"/>
                    <a:pt x="346891" y="331271"/>
                  </a:cubicBezTo>
                  <a:cubicBezTo>
                    <a:pt x="346891" y="335307"/>
                    <a:pt x="349125" y="369503"/>
                    <a:pt x="360611" y="381976"/>
                  </a:cubicBezTo>
                  <a:cubicBezTo>
                    <a:pt x="374915" y="383229"/>
                    <a:pt x="386211" y="370030"/>
                    <a:pt x="395730" y="361681"/>
                  </a:cubicBezTo>
                  <a:cubicBezTo>
                    <a:pt x="400921" y="310211"/>
                    <a:pt x="407039" y="258741"/>
                    <a:pt x="416037" y="208224"/>
                  </a:cubicBezTo>
                  <a:close/>
                  <a:moveTo>
                    <a:pt x="566146" y="207698"/>
                  </a:moveTo>
                  <a:cubicBezTo>
                    <a:pt x="549725" y="213795"/>
                    <a:pt x="536837" y="226697"/>
                    <a:pt x="530887" y="242997"/>
                  </a:cubicBezTo>
                  <a:cubicBezTo>
                    <a:pt x="520125" y="285993"/>
                    <a:pt x="527207" y="334768"/>
                    <a:pt x="529618" y="378792"/>
                  </a:cubicBezTo>
                  <a:lnTo>
                    <a:pt x="533324" y="388219"/>
                  </a:lnTo>
                  <a:cubicBezTo>
                    <a:pt x="542615" y="387893"/>
                    <a:pt x="553784" y="376937"/>
                    <a:pt x="558899" y="370995"/>
                  </a:cubicBezTo>
                  <a:cubicBezTo>
                    <a:pt x="596556" y="329628"/>
                    <a:pt x="589969" y="272518"/>
                    <a:pt x="581871" y="223730"/>
                  </a:cubicBezTo>
                  <a:cubicBezTo>
                    <a:pt x="581224" y="219970"/>
                    <a:pt x="579333" y="203749"/>
                    <a:pt x="566158" y="207710"/>
                  </a:cubicBezTo>
                  <a:close/>
                </a:path>
              </a:pathLst>
            </a:custGeom>
            <a:solidFill>
              <a:srgbClr val="1D1D1B"/>
            </a:solidFill>
            <a:ln w="12664" cap="flat">
              <a:noFill/>
              <a:prstDash val="solid"/>
              <a:miter/>
            </a:ln>
          </p:spPr>
          <p:txBody>
            <a:bodyPr rtlCol="0" anchor="ctr"/>
            <a:lstStyle/>
            <a:p>
              <a:endParaRPr lang="en-US"/>
            </a:p>
          </p:txBody>
        </p:sp>
        <p:sp>
          <p:nvSpPr>
            <p:cNvPr id="118" name="Freeform 117">
              <a:extLst>
                <a:ext uri="{FF2B5EF4-FFF2-40B4-BE49-F238E27FC236}">
                  <a16:creationId xmlns:a16="http://schemas.microsoft.com/office/drawing/2014/main" id="{A0B59F43-8505-0B46-857F-3E952AE287D6}"/>
                </a:ext>
              </a:extLst>
            </p:cNvPr>
            <p:cNvSpPr/>
            <p:nvPr/>
          </p:nvSpPr>
          <p:spPr>
            <a:xfrm>
              <a:off x="7944028" y="412486"/>
              <a:ext cx="622096" cy="420416"/>
            </a:xfrm>
            <a:custGeom>
              <a:avLst/>
              <a:gdLst>
                <a:gd name="connsiteX0" fmla="*/ 244048 w 622096"/>
                <a:gd name="connsiteY0" fmla="*/ 5277 h 420416"/>
                <a:gd name="connsiteX1" fmla="*/ 190170 w 622096"/>
                <a:gd name="connsiteY1" fmla="*/ 115337 h 420416"/>
                <a:gd name="connsiteX2" fmla="*/ 166055 w 622096"/>
                <a:gd name="connsiteY2" fmla="*/ 372775 h 420416"/>
                <a:gd name="connsiteX3" fmla="*/ 174496 w 622096"/>
                <a:gd name="connsiteY3" fmla="*/ 380296 h 420416"/>
                <a:gd name="connsiteX4" fmla="*/ 219273 w 622096"/>
                <a:gd name="connsiteY4" fmla="*/ 341437 h 420416"/>
                <a:gd name="connsiteX5" fmla="*/ 302545 w 622096"/>
                <a:gd name="connsiteY5" fmla="*/ 23667 h 420416"/>
                <a:gd name="connsiteX6" fmla="*/ 333806 w 622096"/>
                <a:gd name="connsiteY6" fmla="*/ 514 h 420416"/>
                <a:gd name="connsiteX7" fmla="*/ 335633 w 622096"/>
                <a:gd name="connsiteY7" fmla="*/ 7095 h 420416"/>
                <a:gd name="connsiteX8" fmla="*/ 302964 w 622096"/>
                <a:gd name="connsiteY8" fmla="*/ 49013 h 420416"/>
                <a:gd name="connsiteX9" fmla="*/ 293445 w 622096"/>
                <a:gd name="connsiteY9" fmla="*/ 78835 h 420416"/>
                <a:gd name="connsiteX10" fmla="*/ 257717 w 622096"/>
                <a:gd name="connsiteY10" fmla="*/ 371772 h 420416"/>
                <a:gd name="connsiteX11" fmla="*/ 269927 w 622096"/>
                <a:gd name="connsiteY11" fmla="*/ 380296 h 420416"/>
                <a:gd name="connsiteX12" fmla="*/ 308980 w 622096"/>
                <a:gd name="connsiteY12" fmla="*/ 342239 h 420416"/>
                <a:gd name="connsiteX13" fmla="*/ 378228 w 622096"/>
                <a:gd name="connsiteY13" fmla="*/ 200690 h 420416"/>
                <a:gd name="connsiteX14" fmla="*/ 448161 w 622096"/>
                <a:gd name="connsiteY14" fmla="*/ 198284 h 420416"/>
                <a:gd name="connsiteX15" fmla="*/ 429681 w 622096"/>
                <a:gd name="connsiteY15" fmla="*/ 360202 h 420416"/>
                <a:gd name="connsiteX16" fmla="*/ 437030 w 622096"/>
                <a:gd name="connsiteY16" fmla="*/ 382766 h 420416"/>
                <a:gd name="connsiteX17" fmla="*/ 444645 w 622096"/>
                <a:gd name="connsiteY17" fmla="*/ 380961 h 420416"/>
                <a:gd name="connsiteX18" fmla="*/ 491339 w 622096"/>
                <a:gd name="connsiteY18" fmla="*/ 333590 h 420416"/>
                <a:gd name="connsiteX19" fmla="*/ 528362 w 622096"/>
                <a:gd name="connsiteY19" fmla="*/ 108092 h 420416"/>
                <a:gd name="connsiteX20" fmla="*/ 593332 w 622096"/>
                <a:gd name="connsiteY20" fmla="*/ 24369 h 420416"/>
                <a:gd name="connsiteX21" fmla="*/ 580031 w 622096"/>
                <a:gd name="connsiteY21" fmla="*/ 39574 h 420416"/>
                <a:gd name="connsiteX22" fmla="*/ 525455 w 622096"/>
                <a:gd name="connsiteY22" fmla="*/ 215808 h 420416"/>
                <a:gd name="connsiteX23" fmla="*/ 546295 w 622096"/>
                <a:gd name="connsiteY23" fmla="*/ 207560 h 420416"/>
                <a:gd name="connsiteX24" fmla="*/ 590083 w 622096"/>
                <a:gd name="connsiteY24" fmla="*/ 171420 h 420416"/>
                <a:gd name="connsiteX25" fmla="*/ 609717 w 622096"/>
                <a:gd name="connsiteY25" fmla="*/ 190324 h 420416"/>
                <a:gd name="connsiteX26" fmla="*/ 587443 w 622096"/>
                <a:gd name="connsiteY26" fmla="*/ 352167 h 420416"/>
                <a:gd name="connsiteX27" fmla="*/ 515835 w 622096"/>
                <a:gd name="connsiteY27" fmla="*/ 418842 h 420416"/>
                <a:gd name="connsiteX28" fmla="*/ 500604 w 622096"/>
                <a:gd name="connsiteY28" fmla="*/ 417338 h 420416"/>
                <a:gd name="connsiteX29" fmla="*/ 491986 w 622096"/>
                <a:gd name="connsiteY29" fmla="*/ 356003 h 420416"/>
                <a:gd name="connsiteX30" fmla="*/ 489169 w 622096"/>
                <a:gd name="connsiteY30" fmla="*/ 354097 h 420416"/>
                <a:gd name="connsiteX31" fmla="*/ 416824 w 622096"/>
                <a:gd name="connsiteY31" fmla="*/ 419983 h 420416"/>
                <a:gd name="connsiteX32" fmla="*/ 408359 w 622096"/>
                <a:gd name="connsiteY32" fmla="*/ 418040 h 420416"/>
                <a:gd name="connsiteX33" fmla="*/ 398307 w 622096"/>
                <a:gd name="connsiteY33" fmla="*/ 380434 h 420416"/>
                <a:gd name="connsiteX34" fmla="*/ 344137 w 622096"/>
                <a:gd name="connsiteY34" fmla="*/ 420246 h 420416"/>
                <a:gd name="connsiteX35" fmla="*/ 325454 w 622096"/>
                <a:gd name="connsiteY35" fmla="*/ 400014 h 420416"/>
                <a:gd name="connsiteX36" fmla="*/ 310681 w 622096"/>
                <a:gd name="connsiteY36" fmla="*/ 359036 h 420416"/>
                <a:gd name="connsiteX37" fmla="*/ 242144 w 622096"/>
                <a:gd name="connsiteY37" fmla="*/ 419331 h 420416"/>
                <a:gd name="connsiteX38" fmla="*/ 228183 w 622096"/>
                <a:gd name="connsiteY38" fmla="*/ 408864 h 420416"/>
                <a:gd name="connsiteX39" fmla="*/ 220009 w 622096"/>
                <a:gd name="connsiteY39" fmla="*/ 358222 h 420416"/>
                <a:gd name="connsiteX40" fmla="*/ 216202 w 622096"/>
                <a:gd name="connsiteY40" fmla="*/ 359149 h 420416"/>
                <a:gd name="connsiteX41" fmla="*/ 149607 w 622096"/>
                <a:gd name="connsiteY41" fmla="*/ 419469 h 420416"/>
                <a:gd name="connsiteX42" fmla="*/ 136470 w 622096"/>
                <a:gd name="connsiteY42" fmla="*/ 410920 h 420416"/>
                <a:gd name="connsiteX43" fmla="*/ 127586 w 622096"/>
                <a:gd name="connsiteY43" fmla="*/ 346188 h 420416"/>
                <a:gd name="connsiteX44" fmla="*/ 123778 w 622096"/>
                <a:gd name="connsiteY44" fmla="*/ 346188 h 420416"/>
                <a:gd name="connsiteX45" fmla="*/ 29616 w 622096"/>
                <a:gd name="connsiteY45" fmla="*/ 420309 h 420416"/>
                <a:gd name="connsiteX46" fmla="*/ 19298 w 622096"/>
                <a:gd name="connsiteY46" fmla="*/ 412713 h 420416"/>
                <a:gd name="connsiteX47" fmla="*/ 41090 w 622096"/>
                <a:gd name="connsiteY47" fmla="*/ 197431 h 420416"/>
                <a:gd name="connsiteX48" fmla="*/ 83177 w 622096"/>
                <a:gd name="connsiteY48" fmla="*/ 178829 h 420416"/>
                <a:gd name="connsiteX49" fmla="*/ 102380 w 622096"/>
                <a:gd name="connsiteY49" fmla="*/ 208287 h 420416"/>
                <a:gd name="connsiteX50" fmla="*/ 102100 w 622096"/>
                <a:gd name="connsiteY50" fmla="*/ 239199 h 420416"/>
                <a:gd name="connsiteX51" fmla="*/ 36368 w 622096"/>
                <a:gd name="connsiteY51" fmla="*/ 299506 h 420416"/>
                <a:gd name="connsiteX52" fmla="*/ 46002 w 622096"/>
                <a:gd name="connsiteY52" fmla="*/ 383906 h 420416"/>
                <a:gd name="connsiteX53" fmla="*/ 58427 w 622096"/>
                <a:gd name="connsiteY53" fmla="*/ 385724 h 420416"/>
                <a:gd name="connsiteX54" fmla="*/ 60166 w 622096"/>
                <a:gd name="connsiteY54" fmla="*/ 384044 h 420416"/>
                <a:gd name="connsiteX55" fmla="*/ 127891 w 622096"/>
                <a:gd name="connsiteY55" fmla="*/ 320866 h 420416"/>
                <a:gd name="connsiteX56" fmla="*/ 202240 w 622096"/>
                <a:gd name="connsiteY56" fmla="*/ 37681 h 420416"/>
                <a:gd name="connsiteX57" fmla="*/ 242956 w 622096"/>
                <a:gd name="connsiteY57" fmla="*/ 0 h 420416"/>
                <a:gd name="connsiteX58" fmla="*/ 244860 w 622096"/>
                <a:gd name="connsiteY58" fmla="*/ 4049 h 420416"/>
                <a:gd name="connsiteX59" fmla="*/ 244048 w 622096"/>
                <a:gd name="connsiteY59" fmla="*/ 5277 h 420416"/>
                <a:gd name="connsiteX60" fmla="*/ 77123 w 622096"/>
                <a:gd name="connsiteY60" fmla="*/ 185523 h 420416"/>
                <a:gd name="connsiteX61" fmla="*/ 63834 w 622096"/>
                <a:gd name="connsiteY61" fmla="*/ 193833 h 420416"/>
                <a:gd name="connsiteX62" fmla="*/ 39415 w 622096"/>
                <a:gd name="connsiteY62" fmla="*/ 281681 h 420416"/>
                <a:gd name="connsiteX63" fmla="*/ 80346 w 622096"/>
                <a:gd name="connsiteY63" fmla="*/ 246444 h 420416"/>
                <a:gd name="connsiteX64" fmla="*/ 86451 w 622096"/>
                <a:gd name="connsiteY64" fmla="*/ 197795 h 420416"/>
                <a:gd name="connsiteX65" fmla="*/ 77123 w 622096"/>
                <a:gd name="connsiteY65" fmla="*/ 185523 h 420416"/>
                <a:gd name="connsiteX66" fmla="*/ 415022 w 622096"/>
                <a:gd name="connsiteY66" fmla="*/ 203548 h 420416"/>
                <a:gd name="connsiteX67" fmla="*/ 378126 w 622096"/>
                <a:gd name="connsiteY67" fmla="*/ 212574 h 420416"/>
                <a:gd name="connsiteX68" fmla="*/ 346815 w 622096"/>
                <a:gd name="connsiteY68" fmla="*/ 331283 h 420416"/>
                <a:gd name="connsiteX69" fmla="*/ 360522 w 622096"/>
                <a:gd name="connsiteY69" fmla="*/ 382001 h 420416"/>
                <a:gd name="connsiteX70" fmla="*/ 395641 w 622096"/>
                <a:gd name="connsiteY70" fmla="*/ 361706 h 420416"/>
                <a:gd name="connsiteX71" fmla="*/ 415948 w 622096"/>
                <a:gd name="connsiteY71" fmla="*/ 208237 h 420416"/>
                <a:gd name="connsiteX72" fmla="*/ 566057 w 622096"/>
                <a:gd name="connsiteY72" fmla="*/ 207710 h 420416"/>
                <a:gd name="connsiteX73" fmla="*/ 530798 w 622096"/>
                <a:gd name="connsiteY73" fmla="*/ 243009 h 420416"/>
                <a:gd name="connsiteX74" fmla="*/ 529529 w 622096"/>
                <a:gd name="connsiteY74" fmla="*/ 378817 h 420416"/>
                <a:gd name="connsiteX75" fmla="*/ 533235 w 622096"/>
                <a:gd name="connsiteY75" fmla="*/ 388244 h 420416"/>
                <a:gd name="connsiteX76" fmla="*/ 558810 w 622096"/>
                <a:gd name="connsiteY76" fmla="*/ 371020 h 420416"/>
                <a:gd name="connsiteX77" fmla="*/ 581795 w 622096"/>
                <a:gd name="connsiteY77" fmla="*/ 223743 h 420416"/>
                <a:gd name="connsiteX78" fmla="*/ 566095 w 622096"/>
                <a:gd name="connsiteY78" fmla="*/ 207710 h 420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22096" h="420416">
                  <a:moveTo>
                    <a:pt x="244048" y="5277"/>
                  </a:moveTo>
                  <a:cubicBezTo>
                    <a:pt x="206061" y="28355"/>
                    <a:pt x="203738" y="76114"/>
                    <a:pt x="190170" y="115337"/>
                  </a:cubicBezTo>
                  <a:cubicBezTo>
                    <a:pt x="169609" y="194786"/>
                    <a:pt x="154633" y="286457"/>
                    <a:pt x="166055" y="372775"/>
                  </a:cubicBezTo>
                  <a:cubicBezTo>
                    <a:pt x="167605" y="376390"/>
                    <a:pt x="170696" y="379144"/>
                    <a:pt x="174496" y="380296"/>
                  </a:cubicBezTo>
                  <a:cubicBezTo>
                    <a:pt x="191129" y="369398"/>
                    <a:pt x="206191" y="356326"/>
                    <a:pt x="219273" y="341437"/>
                  </a:cubicBezTo>
                  <a:cubicBezTo>
                    <a:pt x="227853" y="228143"/>
                    <a:pt x="248757" y="118760"/>
                    <a:pt x="302545" y="23667"/>
                  </a:cubicBezTo>
                  <a:cubicBezTo>
                    <a:pt x="309829" y="12508"/>
                    <a:pt x="320920" y="4295"/>
                    <a:pt x="333806" y="514"/>
                  </a:cubicBezTo>
                  <a:cubicBezTo>
                    <a:pt x="336636" y="514"/>
                    <a:pt x="337613" y="5227"/>
                    <a:pt x="335633" y="7095"/>
                  </a:cubicBezTo>
                  <a:cubicBezTo>
                    <a:pt x="316443" y="14027"/>
                    <a:pt x="309780" y="30361"/>
                    <a:pt x="302964" y="49013"/>
                  </a:cubicBezTo>
                  <a:cubicBezTo>
                    <a:pt x="299197" y="58759"/>
                    <a:pt x="296018" y="68717"/>
                    <a:pt x="293445" y="78835"/>
                  </a:cubicBezTo>
                  <a:cubicBezTo>
                    <a:pt x="267185" y="170443"/>
                    <a:pt x="246358" y="270462"/>
                    <a:pt x="257717" y="371772"/>
                  </a:cubicBezTo>
                  <a:cubicBezTo>
                    <a:pt x="259570" y="376473"/>
                    <a:pt x="264241" y="382139"/>
                    <a:pt x="269927" y="380296"/>
                  </a:cubicBezTo>
                  <a:cubicBezTo>
                    <a:pt x="285184" y="370066"/>
                    <a:pt x="298419" y="357169"/>
                    <a:pt x="308980" y="342239"/>
                  </a:cubicBezTo>
                  <a:cubicBezTo>
                    <a:pt x="303214" y="285938"/>
                    <a:pt x="329984" y="231218"/>
                    <a:pt x="378228" y="200690"/>
                  </a:cubicBezTo>
                  <a:cubicBezTo>
                    <a:pt x="399780" y="188792"/>
                    <a:pt x="425822" y="187895"/>
                    <a:pt x="448161" y="198284"/>
                  </a:cubicBezTo>
                  <a:cubicBezTo>
                    <a:pt x="436742" y="251544"/>
                    <a:pt x="430553" y="305768"/>
                    <a:pt x="429681" y="360202"/>
                  </a:cubicBezTo>
                  <a:cubicBezTo>
                    <a:pt x="430316" y="366708"/>
                    <a:pt x="429529" y="377990"/>
                    <a:pt x="437030" y="382766"/>
                  </a:cubicBezTo>
                  <a:lnTo>
                    <a:pt x="444645" y="380961"/>
                  </a:lnTo>
                  <a:lnTo>
                    <a:pt x="491339" y="333590"/>
                  </a:lnTo>
                  <a:cubicBezTo>
                    <a:pt x="498791" y="257720"/>
                    <a:pt x="511158" y="182400"/>
                    <a:pt x="528362" y="108092"/>
                  </a:cubicBezTo>
                  <a:cubicBezTo>
                    <a:pt x="539048" y="74472"/>
                    <a:pt x="563963" y="27979"/>
                    <a:pt x="593332" y="24369"/>
                  </a:cubicBezTo>
                  <a:cubicBezTo>
                    <a:pt x="604171" y="33845"/>
                    <a:pt x="592228" y="28129"/>
                    <a:pt x="580031" y="39574"/>
                  </a:cubicBezTo>
                  <a:cubicBezTo>
                    <a:pt x="544722" y="77982"/>
                    <a:pt x="531725" y="152154"/>
                    <a:pt x="525455" y="215808"/>
                  </a:cubicBezTo>
                  <a:cubicBezTo>
                    <a:pt x="532702" y="217763"/>
                    <a:pt x="534073" y="216949"/>
                    <a:pt x="546295" y="207560"/>
                  </a:cubicBezTo>
                  <a:lnTo>
                    <a:pt x="590083" y="171420"/>
                  </a:lnTo>
                  <a:cubicBezTo>
                    <a:pt x="600465" y="170568"/>
                    <a:pt x="606011" y="182802"/>
                    <a:pt x="609717" y="190324"/>
                  </a:cubicBezTo>
                  <a:cubicBezTo>
                    <a:pt x="632177" y="244318"/>
                    <a:pt x="623681" y="306053"/>
                    <a:pt x="587443" y="352167"/>
                  </a:cubicBezTo>
                  <a:cubicBezTo>
                    <a:pt x="569021" y="379484"/>
                    <a:pt x="544530" y="402288"/>
                    <a:pt x="515835" y="418842"/>
                  </a:cubicBezTo>
                  <a:cubicBezTo>
                    <a:pt x="504412" y="422603"/>
                    <a:pt x="501340" y="418027"/>
                    <a:pt x="500604" y="417338"/>
                  </a:cubicBezTo>
                  <a:cubicBezTo>
                    <a:pt x="492189" y="406846"/>
                    <a:pt x="493674" y="378479"/>
                    <a:pt x="491986" y="356003"/>
                  </a:cubicBezTo>
                  <a:lnTo>
                    <a:pt x="489169" y="354097"/>
                  </a:lnTo>
                  <a:lnTo>
                    <a:pt x="416824" y="419983"/>
                  </a:lnTo>
                  <a:cubicBezTo>
                    <a:pt x="414946" y="419983"/>
                    <a:pt x="410021" y="421237"/>
                    <a:pt x="408359" y="418040"/>
                  </a:cubicBezTo>
                  <a:cubicBezTo>
                    <a:pt x="402734" y="406208"/>
                    <a:pt x="399327" y="393467"/>
                    <a:pt x="398307" y="380434"/>
                  </a:cubicBezTo>
                  <a:cubicBezTo>
                    <a:pt x="379269" y="391515"/>
                    <a:pt x="363112" y="409165"/>
                    <a:pt x="344137" y="420246"/>
                  </a:cubicBezTo>
                  <a:cubicBezTo>
                    <a:pt x="333730" y="421086"/>
                    <a:pt x="329046" y="408463"/>
                    <a:pt x="325454" y="400014"/>
                  </a:cubicBezTo>
                  <a:cubicBezTo>
                    <a:pt x="317319" y="379444"/>
                    <a:pt x="316570" y="374668"/>
                    <a:pt x="310681" y="359036"/>
                  </a:cubicBezTo>
                  <a:lnTo>
                    <a:pt x="242144" y="419331"/>
                  </a:lnTo>
                  <a:cubicBezTo>
                    <a:pt x="234529" y="423017"/>
                    <a:pt x="230137" y="414869"/>
                    <a:pt x="228183" y="408864"/>
                  </a:cubicBezTo>
                  <a:cubicBezTo>
                    <a:pt x="224332" y="392180"/>
                    <a:pt x="221602" y="375262"/>
                    <a:pt x="220009" y="358222"/>
                  </a:cubicBezTo>
                  <a:lnTo>
                    <a:pt x="216202" y="359149"/>
                  </a:lnTo>
                  <a:lnTo>
                    <a:pt x="149607" y="419469"/>
                  </a:lnTo>
                  <a:cubicBezTo>
                    <a:pt x="142550" y="421575"/>
                    <a:pt x="139986" y="418817"/>
                    <a:pt x="136470" y="410920"/>
                  </a:cubicBezTo>
                  <a:cubicBezTo>
                    <a:pt x="130416" y="397332"/>
                    <a:pt x="130696" y="366946"/>
                    <a:pt x="127586" y="346188"/>
                  </a:cubicBezTo>
                  <a:lnTo>
                    <a:pt x="123778" y="346188"/>
                  </a:lnTo>
                  <a:cubicBezTo>
                    <a:pt x="92404" y="370268"/>
                    <a:pt x="64722" y="401882"/>
                    <a:pt x="29616" y="420309"/>
                  </a:cubicBezTo>
                  <a:cubicBezTo>
                    <a:pt x="24895" y="421186"/>
                    <a:pt x="21151" y="416548"/>
                    <a:pt x="19298" y="412713"/>
                  </a:cubicBezTo>
                  <a:cubicBezTo>
                    <a:pt x="-11265" y="346839"/>
                    <a:pt x="-6619" y="252261"/>
                    <a:pt x="41090" y="197431"/>
                  </a:cubicBezTo>
                  <a:cubicBezTo>
                    <a:pt x="46839" y="191364"/>
                    <a:pt x="63859" y="170656"/>
                    <a:pt x="83177" y="178829"/>
                  </a:cubicBezTo>
                  <a:cubicBezTo>
                    <a:pt x="94066" y="182589"/>
                    <a:pt x="99181" y="191226"/>
                    <a:pt x="102380" y="208287"/>
                  </a:cubicBezTo>
                  <a:cubicBezTo>
                    <a:pt x="105640" y="218355"/>
                    <a:pt x="105542" y="229191"/>
                    <a:pt x="102100" y="239199"/>
                  </a:cubicBezTo>
                  <a:lnTo>
                    <a:pt x="36368" y="299506"/>
                  </a:lnTo>
                  <a:cubicBezTo>
                    <a:pt x="31849" y="327984"/>
                    <a:pt x="35177" y="357137"/>
                    <a:pt x="46002" y="383906"/>
                  </a:cubicBezTo>
                  <a:cubicBezTo>
                    <a:pt x="48926" y="387796"/>
                    <a:pt x="54488" y="388610"/>
                    <a:pt x="58427" y="385724"/>
                  </a:cubicBezTo>
                  <a:cubicBezTo>
                    <a:pt x="59086" y="385249"/>
                    <a:pt x="59671" y="384684"/>
                    <a:pt x="60166" y="384044"/>
                  </a:cubicBezTo>
                  <a:lnTo>
                    <a:pt x="127891" y="320866"/>
                  </a:lnTo>
                  <a:cubicBezTo>
                    <a:pt x="138235" y="220734"/>
                    <a:pt x="157082" y="123460"/>
                    <a:pt x="202240" y="37681"/>
                  </a:cubicBezTo>
                  <a:cubicBezTo>
                    <a:pt x="207584" y="27791"/>
                    <a:pt x="225314" y="752"/>
                    <a:pt x="242956" y="0"/>
                  </a:cubicBezTo>
                  <a:cubicBezTo>
                    <a:pt x="244613" y="600"/>
                    <a:pt x="245466" y="2412"/>
                    <a:pt x="244860" y="4049"/>
                  </a:cubicBezTo>
                  <a:cubicBezTo>
                    <a:pt x="244685" y="4513"/>
                    <a:pt x="244408" y="4933"/>
                    <a:pt x="244048" y="5277"/>
                  </a:cubicBezTo>
                  <a:close/>
                  <a:moveTo>
                    <a:pt x="77123" y="185523"/>
                  </a:moveTo>
                  <a:cubicBezTo>
                    <a:pt x="72174" y="187387"/>
                    <a:pt x="67656" y="190212"/>
                    <a:pt x="63834" y="193833"/>
                  </a:cubicBezTo>
                  <a:cubicBezTo>
                    <a:pt x="49780" y="221191"/>
                    <a:pt x="41473" y="251072"/>
                    <a:pt x="39415" y="281681"/>
                  </a:cubicBezTo>
                  <a:cubicBezTo>
                    <a:pt x="54543" y="269772"/>
                    <a:pt x="67959" y="257588"/>
                    <a:pt x="80346" y="246444"/>
                  </a:cubicBezTo>
                  <a:lnTo>
                    <a:pt x="86451" y="197795"/>
                  </a:lnTo>
                  <a:cubicBezTo>
                    <a:pt x="89383" y="190324"/>
                    <a:pt x="84738" y="185598"/>
                    <a:pt x="77123" y="185523"/>
                  </a:cubicBezTo>
                  <a:close/>
                  <a:moveTo>
                    <a:pt x="415022" y="203548"/>
                  </a:moveTo>
                  <a:cubicBezTo>
                    <a:pt x="401860" y="195939"/>
                    <a:pt x="388623" y="202759"/>
                    <a:pt x="378126" y="212574"/>
                  </a:cubicBezTo>
                  <a:cubicBezTo>
                    <a:pt x="347665" y="241405"/>
                    <a:pt x="343414" y="289039"/>
                    <a:pt x="346815" y="331283"/>
                  </a:cubicBezTo>
                  <a:cubicBezTo>
                    <a:pt x="346815" y="335320"/>
                    <a:pt x="349036" y="369528"/>
                    <a:pt x="360522" y="382001"/>
                  </a:cubicBezTo>
                  <a:cubicBezTo>
                    <a:pt x="374826" y="383255"/>
                    <a:pt x="386122" y="370055"/>
                    <a:pt x="395641" y="361706"/>
                  </a:cubicBezTo>
                  <a:cubicBezTo>
                    <a:pt x="400832" y="310224"/>
                    <a:pt x="406950" y="258754"/>
                    <a:pt x="415948" y="208237"/>
                  </a:cubicBezTo>
                  <a:close/>
                  <a:moveTo>
                    <a:pt x="566057" y="207710"/>
                  </a:moveTo>
                  <a:cubicBezTo>
                    <a:pt x="549631" y="213798"/>
                    <a:pt x="536740" y="226705"/>
                    <a:pt x="530798" y="243009"/>
                  </a:cubicBezTo>
                  <a:cubicBezTo>
                    <a:pt x="520036" y="286006"/>
                    <a:pt x="527118" y="334781"/>
                    <a:pt x="529529" y="378817"/>
                  </a:cubicBezTo>
                  <a:lnTo>
                    <a:pt x="533235" y="388244"/>
                  </a:lnTo>
                  <a:cubicBezTo>
                    <a:pt x="542526" y="387918"/>
                    <a:pt x="553695" y="376962"/>
                    <a:pt x="558810" y="371020"/>
                  </a:cubicBezTo>
                  <a:cubicBezTo>
                    <a:pt x="596467" y="329654"/>
                    <a:pt x="589880" y="272530"/>
                    <a:pt x="581795" y="223743"/>
                  </a:cubicBezTo>
                  <a:cubicBezTo>
                    <a:pt x="581160" y="219982"/>
                    <a:pt x="579257" y="203761"/>
                    <a:pt x="566095" y="207710"/>
                  </a:cubicBezTo>
                  <a:close/>
                </a:path>
              </a:pathLst>
            </a:custGeom>
            <a:solidFill>
              <a:srgbClr val="FFFFFF"/>
            </a:solidFill>
            <a:ln w="12664" cap="flat">
              <a:noFill/>
              <a:prstDash val="solid"/>
              <a:miter/>
            </a:ln>
          </p:spPr>
          <p:txBody>
            <a:bodyPr rtlCol="0" anchor="ctr"/>
            <a:lstStyle/>
            <a:p>
              <a:endParaRPr lang="en-US"/>
            </a:p>
          </p:txBody>
        </p:sp>
      </p:grpSp>
    </p:spTree>
    <p:extLst>
      <p:ext uri="{BB962C8B-B14F-4D97-AF65-F5344CB8AC3E}">
        <p14:creationId xmlns:p14="http://schemas.microsoft.com/office/powerpoint/2010/main" val="278594671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nodePh="1" p14:presetBounceEnd="50000">
                                      <p:stCondLst>
                                        <p:cond delay="0"/>
                                      </p:stCondLst>
                                      <p:endCondLst>
                                        <p:cond evt="begin" delay="0">
                                          <p:tn val="5"/>
                                        </p:cond>
                                      </p:endCondLst>
                                      <p:childTnLst>
                                        <p:set>
                                          <p:cBhvr>
                                            <p:cTn id="6" dur="1" fill="hold">
                                              <p:stCondLst>
                                                <p:cond delay="0"/>
                                              </p:stCondLst>
                                            </p:cTn>
                                            <p:tgtEl>
                                              <p:spTgt spid="17"/>
                                            </p:tgtEl>
                                            <p:attrNameLst>
                                              <p:attrName>style.visibility</p:attrName>
                                            </p:attrNameLst>
                                          </p:cBhvr>
                                          <p:to>
                                            <p:strVal val="visible"/>
                                          </p:to>
                                        </p:set>
                                        <p:anim calcmode="lin" valueType="num" p14:bounceEnd="50000">
                                          <p:cBhvr additive="base">
                                            <p:cTn id="7" dur="500" fill="hold"/>
                                            <p:tgtEl>
                                              <p:spTgt spid="1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nodePh="1" p14:presetBounceEnd="50000">
                                      <p:stCondLst>
                                        <p:cond delay="0"/>
                                      </p:stCondLst>
                                      <p:endCondLst>
                                        <p:cond evt="begin" delay="0">
                                          <p:tn val="9"/>
                                        </p:cond>
                                      </p:endCondLst>
                                      <p:childTnLst>
                                        <p:set>
                                          <p:cBhvr>
                                            <p:cTn id="10" dur="1" fill="hold">
                                              <p:stCondLst>
                                                <p:cond delay="0"/>
                                              </p:stCondLst>
                                            </p:cTn>
                                            <p:tgtEl>
                                              <p:spTgt spid="18"/>
                                            </p:tgtEl>
                                            <p:attrNameLst>
                                              <p:attrName>style.visibility</p:attrName>
                                            </p:attrNameLst>
                                          </p:cBhvr>
                                          <p:to>
                                            <p:strVal val="visible"/>
                                          </p:to>
                                        </p:set>
                                        <p:anim calcmode="lin" valueType="num" p14:bounceEnd="50000">
                                          <p:cBhvr additive="base">
                                            <p:cTn id="11" dur="500" fill="hold"/>
                                            <p:tgtEl>
                                              <p:spTgt spid="18"/>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nodePh="1">
                                      <p:stCondLst>
                                        <p:cond delay="0"/>
                                      </p:stCondLst>
                                      <p:endCondLst>
                                        <p:cond evt="begin" delay="0">
                                          <p:tn val="5"/>
                                        </p:cond>
                                      </p:end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0-#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nodePh="1">
                                      <p:stCondLst>
                                        <p:cond delay="0"/>
                                      </p:stCondLst>
                                      <p:endCondLst>
                                        <p:cond evt="begin" delay="0">
                                          <p:tn val="9"/>
                                        </p:cond>
                                      </p:end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1+#ppt_w/2"/>
                                              </p:val>
                                            </p:tav>
                                            <p:tav tm="100000">
                                              <p:val>
                                                <p:strVal val="#ppt_x"/>
                                              </p:val>
                                            </p:tav>
                                          </p:tavLst>
                                        </p:anim>
                                        <p:anim calcmode="lin" valueType="num">
                                          <p:cBhvr additive="base">
                                            <p:cTn id="12"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1CE86C-C1F0-4E6D-8DBF-60E0015A3598}"/>
              </a:ext>
            </a:extLst>
          </p:cNvPr>
          <p:cNvGraphicFramePr>
            <a:graphicFrameLocks noChangeAspect="1"/>
          </p:cNvGraphicFramePr>
          <p:nvPr userDrawn="1">
            <p:custDataLst>
              <p:tags r:id="rId1"/>
            </p:custDataLst>
            <p:extLst>
              <p:ext uri="{D42A27DB-BD31-4B8C-83A1-F6EECF244321}">
                <p14:modId xmlns:p14="http://schemas.microsoft.com/office/powerpoint/2010/main" val="2970111300"/>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C1CE86C-C1F0-4E6D-8DBF-60E0015A3598}"/>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sp>
        <p:nvSpPr>
          <p:cNvPr id="6" name="Graphic 2">
            <a:extLst>
              <a:ext uri="{FF2B5EF4-FFF2-40B4-BE49-F238E27FC236}">
                <a16:creationId xmlns:a16="http://schemas.microsoft.com/office/drawing/2014/main" id="{E82FEBF7-8B30-5241-AB57-E39FB4C14B18}"/>
              </a:ext>
            </a:extLst>
          </p:cNvPr>
          <p:cNvSpPr/>
          <p:nvPr userDrawn="1"/>
        </p:nvSpPr>
        <p:spPr>
          <a:xfrm>
            <a:off x="6460067" y="0"/>
            <a:ext cx="5731933" cy="4756786"/>
          </a:xfrm>
          <a:custGeom>
            <a:avLst/>
            <a:gdLst>
              <a:gd name="connsiteX0" fmla="*/ 7445899 w 7445898"/>
              <a:gd name="connsiteY0" fmla="*/ 0 h 6858311"/>
              <a:gd name="connsiteX1" fmla="*/ 814055 w 7445898"/>
              <a:gd name="connsiteY1" fmla="*/ 0 h 6858311"/>
              <a:gd name="connsiteX2" fmla="*/ 691476 w 7445898"/>
              <a:gd name="connsiteY2" fmla="*/ 70046 h 6858311"/>
              <a:gd name="connsiteX3" fmla="*/ 69433 w 7445898"/>
              <a:gd name="connsiteY3" fmla="*/ 678643 h 6858311"/>
              <a:gd name="connsiteX4" fmla="*/ 14093 w 7445898"/>
              <a:gd name="connsiteY4" fmla="*/ 1220462 h 6858311"/>
              <a:gd name="connsiteX5" fmla="*/ 1196590 w 7445898"/>
              <a:gd name="connsiteY5" fmla="*/ 2436198 h 6858311"/>
              <a:gd name="connsiteX6" fmla="*/ 1916738 w 7445898"/>
              <a:gd name="connsiteY6" fmla="*/ 2482043 h 6858311"/>
              <a:gd name="connsiteX7" fmla="*/ 3150397 w 7445898"/>
              <a:gd name="connsiteY7" fmla="*/ 3091829 h 6858311"/>
              <a:gd name="connsiteX8" fmla="*/ 4012367 w 7445898"/>
              <a:gd name="connsiteY8" fmla="*/ 4723248 h 6858311"/>
              <a:gd name="connsiteX9" fmla="*/ 5068468 w 7445898"/>
              <a:gd name="connsiteY9" fmla="*/ 6225771 h 6858311"/>
              <a:gd name="connsiteX10" fmla="*/ 6762342 w 7445898"/>
              <a:gd name="connsiteY10" fmla="*/ 6855353 h 6858311"/>
              <a:gd name="connsiteX11" fmla="*/ 7445899 w 7445898"/>
              <a:gd name="connsiteY11" fmla="*/ 6675706 h 68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45898" h="6858311">
                <a:moveTo>
                  <a:pt x="7445899" y="0"/>
                </a:moveTo>
                <a:lnTo>
                  <a:pt x="814055" y="0"/>
                </a:lnTo>
                <a:cubicBezTo>
                  <a:pt x="772956" y="22780"/>
                  <a:pt x="732096" y="46129"/>
                  <a:pt x="691476" y="70046"/>
                </a:cubicBezTo>
                <a:cubicBezTo>
                  <a:pt x="437089" y="220054"/>
                  <a:pt x="183450" y="406335"/>
                  <a:pt x="69433" y="678643"/>
                </a:cubicBezTo>
                <a:cubicBezTo>
                  <a:pt x="2750" y="851036"/>
                  <a:pt x="-16363" y="1038163"/>
                  <a:pt x="14093" y="1220462"/>
                </a:cubicBezTo>
                <a:cubicBezTo>
                  <a:pt x="99251" y="1818761"/>
                  <a:pt x="600495" y="2334263"/>
                  <a:pt x="1196590" y="2436198"/>
                </a:cubicBezTo>
                <a:cubicBezTo>
                  <a:pt x="1433845" y="2476815"/>
                  <a:pt x="1677297" y="2457475"/>
                  <a:pt x="1916738" y="2482043"/>
                </a:cubicBezTo>
                <a:cubicBezTo>
                  <a:pt x="2387473" y="2532139"/>
                  <a:pt x="2824896" y="2748353"/>
                  <a:pt x="3150397" y="3091829"/>
                </a:cubicBezTo>
                <a:cubicBezTo>
                  <a:pt x="3574268" y="3542460"/>
                  <a:pt x="3759732" y="4158656"/>
                  <a:pt x="4012367" y="4723248"/>
                </a:cubicBezTo>
                <a:cubicBezTo>
                  <a:pt x="4264419" y="5286494"/>
                  <a:pt x="4600948" y="5822741"/>
                  <a:pt x="5068468" y="6225771"/>
                </a:cubicBezTo>
                <a:cubicBezTo>
                  <a:pt x="5535988" y="6628800"/>
                  <a:pt x="6145756" y="6889261"/>
                  <a:pt x="6762342" y="6855353"/>
                </a:cubicBezTo>
                <a:cubicBezTo>
                  <a:pt x="7023697" y="6841023"/>
                  <a:pt x="7248596" y="6776961"/>
                  <a:pt x="7445899" y="6675706"/>
                </a:cubicBezTo>
                <a:close/>
              </a:path>
            </a:pathLst>
          </a:custGeom>
          <a:gradFill>
            <a:gsLst>
              <a:gs pos="0">
                <a:srgbClr val="9EC9DF"/>
              </a:gs>
              <a:gs pos="100000">
                <a:srgbClr val="1F6898"/>
              </a:gs>
            </a:gsLst>
            <a:lin ang="0" scaled="0"/>
          </a:gradFill>
          <a:ln w="7476" cap="flat">
            <a:noFill/>
            <a:prstDash val="solid"/>
            <a:miter/>
          </a:ln>
        </p:spPr>
        <p:txBody>
          <a:bodyPr anchor="ctr"/>
          <a:lstStyle/>
          <a:p>
            <a:pPr eaLnBrk="1" fontAlgn="auto" hangingPunct="1">
              <a:spcBef>
                <a:spcPts val="0"/>
              </a:spcBef>
              <a:spcAft>
                <a:spcPts val="0"/>
              </a:spcAft>
              <a:defRPr/>
            </a:pPr>
            <a:endParaRPr lang="en-US" sz="1404">
              <a:solidFill>
                <a:schemeClr val="bg1"/>
              </a:solidFill>
              <a:latin typeface="Avenir Next" panose="020B0503020202020204" pitchFamily="34" charset="0"/>
            </a:endParaRPr>
          </a:p>
        </p:txBody>
      </p:sp>
      <p:sp>
        <p:nvSpPr>
          <p:cNvPr id="9" name="Graphic 2">
            <a:extLst>
              <a:ext uri="{FF2B5EF4-FFF2-40B4-BE49-F238E27FC236}">
                <a16:creationId xmlns:a16="http://schemas.microsoft.com/office/drawing/2014/main" id="{53ED568B-E352-8A4B-8192-6693A71F34E3}"/>
              </a:ext>
            </a:extLst>
          </p:cNvPr>
          <p:cNvSpPr/>
          <p:nvPr userDrawn="1"/>
        </p:nvSpPr>
        <p:spPr>
          <a:xfrm rot="10800000">
            <a:off x="0" y="3514726"/>
            <a:ext cx="3166533" cy="2910840"/>
          </a:xfrm>
          <a:custGeom>
            <a:avLst/>
            <a:gdLst>
              <a:gd name="connsiteX0" fmla="*/ 7445899 w 7445898"/>
              <a:gd name="connsiteY0" fmla="*/ 0 h 6858311"/>
              <a:gd name="connsiteX1" fmla="*/ 814055 w 7445898"/>
              <a:gd name="connsiteY1" fmla="*/ 0 h 6858311"/>
              <a:gd name="connsiteX2" fmla="*/ 691476 w 7445898"/>
              <a:gd name="connsiteY2" fmla="*/ 70046 h 6858311"/>
              <a:gd name="connsiteX3" fmla="*/ 69433 w 7445898"/>
              <a:gd name="connsiteY3" fmla="*/ 678643 h 6858311"/>
              <a:gd name="connsiteX4" fmla="*/ 14093 w 7445898"/>
              <a:gd name="connsiteY4" fmla="*/ 1220462 h 6858311"/>
              <a:gd name="connsiteX5" fmla="*/ 1196590 w 7445898"/>
              <a:gd name="connsiteY5" fmla="*/ 2436198 h 6858311"/>
              <a:gd name="connsiteX6" fmla="*/ 1916738 w 7445898"/>
              <a:gd name="connsiteY6" fmla="*/ 2482043 h 6858311"/>
              <a:gd name="connsiteX7" fmla="*/ 3150397 w 7445898"/>
              <a:gd name="connsiteY7" fmla="*/ 3091829 h 6858311"/>
              <a:gd name="connsiteX8" fmla="*/ 4012367 w 7445898"/>
              <a:gd name="connsiteY8" fmla="*/ 4723248 h 6858311"/>
              <a:gd name="connsiteX9" fmla="*/ 5068468 w 7445898"/>
              <a:gd name="connsiteY9" fmla="*/ 6225771 h 6858311"/>
              <a:gd name="connsiteX10" fmla="*/ 6762342 w 7445898"/>
              <a:gd name="connsiteY10" fmla="*/ 6855353 h 6858311"/>
              <a:gd name="connsiteX11" fmla="*/ 7445899 w 7445898"/>
              <a:gd name="connsiteY11" fmla="*/ 6675706 h 68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45898" h="6858311">
                <a:moveTo>
                  <a:pt x="7445899" y="0"/>
                </a:moveTo>
                <a:lnTo>
                  <a:pt x="814055" y="0"/>
                </a:lnTo>
                <a:cubicBezTo>
                  <a:pt x="772956" y="22780"/>
                  <a:pt x="732096" y="46129"/>
                  <a:pt x="691476" y="70046"/>
                </a:cubicBezTo>
                <a:cubicBezTo>
                  <a:pt x="437089" y="220054"/>
                  <a:pt x="183450" y="406335"/>
                  <a:pt x="69433" y="678643"/>
                </a:cubicBezTo>
                <a:cubicBezTo>
                  <a:pt x="2750" y="851036"/>
                  <a:pt x="-16363" y="1038163"/>
                  <a:pt x="14093" y="1220462"/>
                </a:cubicBezTo>
                <a:cubicBezTo>
                  <a:pt x="99251" y="1818761"/>
                  <a:pt x="600495" y="2334263"/>
                  <a:pt x="1196590" y="2436198"/>
                </a:cubicBezTo>
                <a:cubicBezTo>
                  <a:pt x="1433845" y="2476815"/>
                  <a:pt x="1677297" y="2457475"/>
                  <a:pt x="1916738" y="2482043"/>
                </a:cubicBezTo>
                <a:cubicBezTo>
                  <a:pt x="2387473" y="2532139"/>
                  <a:pt x="2824896" y="2748353"/>
                  <a:pt x="3150397" y="3091829"/>
                </a:cubicBezTo>
                <a:cubicBezTo>
                  <a:pt x="3574268" y="3542460"/>
                  <a:pt x="3759732" y="4158656"/>
                  <a:pt x="4012367" y="4723248"/>
                </a:cubicBezTo>
                <a:cubicBezTo>
                  <a:pt x="4264419" y="5286494"/>
                  <a:pt x="4600948" y="5822741"/>
                  <a:pt x="5068468" y="6225771"/>
                </a:cubicBezTo>
                <a:cubicBezTo>
                  <a:pt x="5535988" y="6628800"/>
                  <a:pt x="6145756" y="6889261"/>
                  <a:pt x="6762342" y="6855353"/>
                </a:cubicBezTo>
                <a:cubicBezTo>
                  <a:pt x="7023697" y="6841023"/>
                  <a:pt x="7248596" y="6776961"/>
                  <a:pt x="7445899" y="6675706"/>
                </a:cubicBezTo>
                <a:close/>
              </a:path>
            </a:pathLst>
          </a:custGeom>
          <a:gradFill flip="none" rotWithShape="1">
            <a:gsLst>
              <a:gs pos="0">
                <a:srgbClr val="9EC9DF">
                  <a:alpha val="38000"/>
                </a:srgbClr>
              </a:gs>
              <a:gs pos="100000">
                <a:srgbClr val="1F6898">
                  <a:alpha val="46000"/>
                </a:srgbClr>
              </a:gs>
            </a:gsLst>
            <a:lin ang="5400000" scaled="1"/>
            <a:tileRect/>
          </a:gradFill>
          <a:ln w="7476" cap="flat">
            <a:noFill/>
            <a:prstDash val="solid"/>
            <a:miter/>
          </a:ln>
        </p:spPr>
        <p:txBody>
          <a:bodyPr anchor="ctr"/>
          <a:lstStyle/>
          <a:p>
            <a:pPr eaLnBrk="1" fontAlgn="auto" hangingPunct="1">
              <a:spcBef>
                <a:spcPts val="0"/>
              </a:spcBef>
              <a:spcAft>
                <a:spcPts val="0"/>
              </a:spcAft>
              <a:defRPr/>
            </a:pPr>
            <a:endParaRPr lang="en-US" sz="1404">
              <a:solidFill>
                <a:schemeClr val="bg1"/>
              </a:solidFill>
              <a:latin typeface="Avenir Next" panose="020B0503020202020204" pitchFamily="34" charset="0"/>
            </a:endParaRPr>
          </a:p>
        </p:txBody>
      </p:sp>
      <p:sp>
        <p:nvSpPr>
          <p:cNvPr id="7" name="Google Shape;124;p20"/>
          <p:cNvSpPr txBox="1">
            <a:spLocks noGrp="1"/>
          </p:cNvSpPr>
          <p:nvPr>
            <p:ph type="title"/>
          </p:nvPr>
        </p:nvSpPr>
        <p:spPr>
          <a:xfrm>
            <a:off x="3362433" y="1932400"/>
            <a:ext cx="5467200" cy="1976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4800" b="1" i="0">
                <a:solidFill>
                  <a:schemeClr val="bg1"/>
                </a:solidFill>
                <a:latin typeface="+mj-lt"/>
              </a:defRPr>
            </a:lvl1pPr>
            <a:lvl2pPr lvl="1" algn="r" rtl="0">
              <a:spcBef>
                <a:spcPts val="0"/>
              </a:spcBef>
              <a:spcAft>
                <a:spcPts val="0"/>
              </a:spcAft>
              <a:buSzPts val="4200"/>
              <a:buNone/>
              <a:defRPr sz="5600"/>
            </a:lvl2pPr>
            <a:lvl3pPr lvl="2" algn="r" rtl="0">
              <a:spcBef>
                <a:spcPts val="0"/>
              </a:spcBef>
              <a:spcAft>
                <a:spcPts val="0"/>
              </a:spcAft>
              <a:buSzPts val="4200"/>
              <a:buNone/>
              <a:defRPr sz="5600"/>
            </a:lvl3pPr>
            <a:lvl4pPr lvl="3" algn="r" rtl="0">
              <a:spcBef>
                <a:spcPts val="0"/>
              </a:spcBef>
              <a:spcAft>
                <a:spcPts val="0"/>
              </a:spcAft>
              <a:buSzPts val="4200"/>
              <a:buNone/>
              <a:defRPr sz="5600"/>
            </a:lvl4pPr>
            <a:lvl5pPr lvl="4" algn="r" rtl="0">
              <a:spcBef>
                <a:spcPts val="0"/>
              </a:spcBef>
              <a:spcAft>
                <a:spcPts val="0"/>
              </a:spcAft>
              <a:buSzPts val="4200"/>
              <a:buNone/>
              <a:defRPr sz="5600"/>
            </a:lvl5pPr>
            <a:lvl6pPr lvl="5" algn="r" rtl="0">
              <a:spcBef>
                <a:spcPts val="0"/>
              </a:spcBef>
              <a:spcAft>
                <a:spcPts val="0"/>
              </a:spcAft>
              <a:buSzPts val="4200"/>
              <a:buNone/>
              <a:defRPr sz="5600"/>
            </a:lvl6pPr>
            <a:lvl7pPr lvl="6" algn="r" rtl="0">
              <a:spcBef>
                <a:spcPts val="0"/>
              </a:spcBef>
              <a:spcAft>
                <a:spcPts val="0"/>
              </a:spcAft>
              <a:buSzPts val="4200"/>
              <a:buNone/>
              <a:defRPr sz="5600"/>
            </a:lvl7pPr>
            <a:lvl8pPr lvl="7" algn="r" rtl="0">
              <a:spcBef>
                <a:spcPts val="0"/>
              </a:spcBef>
              <a:spcAft>
                <a:spcPts val="0"/>
              </a:spcAft>
              <a:buSzPts val="4200"/>
              <a:buNone/>
              <a:defRPr sz="5600"/>
            </a:lvl8pPr>
            <a:lvl9pPr lvl="8" algn="r" rtl="0">
              <a:spcBef>
                <a:spcPts val="0"/>
              </a:spcBef>
              <a:spcAft>
                <a:spcPts val="0"/>
              </a:spcAft>
              <a:buSzPts val="4200"/>
              <a:buNone/>
              <a:defRPr sz="5600"/>
            </a:lvl9pPr>
          </a:lstStyle>
          <a:p>
            <a:endParaRPr dirty="0"/>
          </a:p>
        </p:txBody>
      </p:sp>
      <p:sp>
        <p:nvSpPr>
          <p:cNvPr id="8" name="Google Shape;125;p20"/>
          <p:cNvSpPr txBox="1">
            <a:spLocks noGrp="1"/>
          </p:cNvSpPr>
          <p:nvPr>
            <p:ph type="subTitle" idx="1"/>
          </p:nvPr>
        </p:nvSpPr>
        <p:spPr>
          <a:xfrm>
            <a:off x="3541667" y="3908802"/>
            <a:ext cx="5108800" cy="101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867" b="0" i="0">
                <a:solidFill>
                  <a:schemeClr val="bg1"/>
                </a:solidFill>
                <a:latin typeface="+mn-lt"/>
              </a:defRPr>
            </a:lvl1pPr>
            <a:lvl2pPr lvl="1" rtl="0">
              <a:lnSpc>
                <a:spcPct val="100000"/>
              </a:lnSpc>
              <a:spcBef>
                <a:spcPts val="0"/>
              </a:spcBef>
              <a:spcAft>
                <a:spcPts val="0"/>
              </a:spcAft>
              <a:buSzPts val="2100"/>
              <a:buNone/>
              <a:defRPr sz="2800"/>
            </a:lvl2pPr>
            <a:lvl3pPr lvl="2" rtl="0">
              <a:lnSpc>
                <a:spcPct val="100000"/>
              </a:lnSpc>
              <a:spcBef>
                <a:spcPts val="0"/>
              </a:spcBef>
              <a:spcAft>
                <a:spcPts val="0"/>
              </a:spcAft>
              <a:buSzPts val="2100"/>
              <a:buNone/>
              <a:defRPr sz="2800"/>
            </a:lvl3pPr>
            <a:lvl4pPr lvl="3" rtl="0">
              <a:lnSpc>
                <a:spcPct val="100000"/>
              </a:lnSpc>
              <a:spcBef>
                <a:spcPts val="0"/>
              </a:spcBef>
              <a:spcAft>
                <a:spcPts val="0"/>
              </a:spcAft>
              <a:buSzPts val="2100"/>
              <a:buNone/>
              <a:defRPr sz="2800"/>
            </a:lvl4pPr>
            <a:lvl5pPr lvl="4" rtl="0">
              <a:lnSpc>
                <a:spcPct val="100000"/>
              </a:lnSpc>
              <a:spcBef>
                <a:spcPts val="0"/>
              </a:spcBef>
              <a:spcAft>
                <a:spcPts val="0"/>
              </a:spcAft>
              <a:buSzPts val="2100"/>
              <a:buNone/>
              <a:defRPr sz="2800"/>
            </a:lvl5pPr>
            <a:lvl6pPr lvl="5" rtl="0">
              <a:lnSpc>
                <a:spcPct val="100000"/>
              </a:lnSpc>
              <a:spcBef>
                <a:spcPts val="0"/>
              </a:spcBef>
              <a:spcAft>
                <a:spcPts val="0"/>
              </a:spcAft>
              <a:buSzPts val="2100"/>
              <a:buNone/>
              <a:defRPr sz="2800"/>
            </a:lvl6pPr>
            <a:lvl7pPr lvl="6" rtl="0">
              <a:lnSpc>
                <a:spcPct val="100000"/>
              </a:lnSpc>
              <a:spcBef>
                <a:spcPts val="0"/>
              </a:spcBef>
              <a:spcAft>
                <a:spcPts val="0"/>
              </a:spcAft>
              <a:buSzPts val="2100"/>
              <a:buNone/>
              <a:defRPr sz="2800"/>
            </a:lvl7pPr>
            <a:lvl8pPr lvl="7" rtl="0">
              <a:lnSpc>
                <a:spcPct val="100000"/>
              </a:lnSpc>
              <a:spcBef>
                <a:spcPts val="0"/>
              </a:spcBef>
              <a:spcAft>
                <a:spcPts val="0"/>
              </a:spcAft>
              <a:buSzPts val="2100"/>
              <a:buNone/>
              <a:defRPr sz="2800"/>
            </a:lvl8pPr>
            <a:lvl9pPr lvl="8" rtl="0">
              <a:lnSpc>
                <a:spcPct val="100000"/>
              </a:lnSpc>
              <a:spcBef>
                <a:spcPts val="0"/>
              </a:spcBef>
              <a:spcAft>
                <a:spcPts val="0"/>
              </a:spcAft>
              <a:buSzPts val="2100"/>
              <a:buNone/>
              <a:defRPr sz="2800"/>
            </a:lvl9pPr>
          </a:lstStyle>
          <a:p>
            <a:endParaRPr/>
          </a:p>
        </p:txBody>
      </p:sp>
      <p:sp>
        <p:nvSpPr>
          <p:cNvPr id="17" name="Picture Placeholder 14"/>
          <p:cNvSpPr>
            <a:spLocks noGrp="1"/>
          </p:cNvSpPr>
          <p:nvPr>
            <p:ph type="pic" sz="quarter" idx="10"/>
          </p:nvPr>
        </p:nvSpPr>
        <p:spPr>
          <a:xfrm>
            <a:off x="275167" y="3909061"/>
            <a:ext cx="2891367" cy="2152650"/>
          </a:xfrm>
          <a:prstGeom prst="rect">
            <a:avLst/>
          </a:prstGeom>
        </p:spPr>
        <p:txBody>
          <a:bodyPr/>
          <a:lstStyle>
            <a:lvl1pPr>
              <a:defRPr sz="2400" b="0" i="0">
                <a:solidFill>
                  <a:schemeClr val="bg1"/>
                </a:solidFill>
                <a:latin typeface="+mn-lt"/>
              </a:defRPr>
            </a:lvl1pPr>
          </a:lstStyle>
          <a:p>
            <a:pPr lvl="0"/>
            <a:endParaRPr lang="en-US" noProof="0"/>
          </a:p>
        </p:txBody>
      </p:sp>
      <p:sp>
        <p:nvSpPr>
          <p:cNvPr id="18" name="Picture Placeholder 14"/>
          <p:cNvSpPr>
            <a:spLocks noGrp="1"/>
          </p:cNvSpPr>
          <p:nvPr>
            <p:ph type="pic" sz="quarter" idx="11"/>
          </p:nvPr>
        </p:nvSpPr>
        <p:spPr>
          <a:xfrm>
            <a:off x="8975551" y="4016713"/>
            <a:ext cx="2891367" cy="2152650"/>
          </a:xfrm>
          <a:prstGeom prst="rect">
            <a:avLst/>
          </a:prstGeom>
        </p:spPr>
        <p:txBody>
          <a:bodyPr/>
          <a:lstStyle>
            <a:lvl1pPr>
              <a:defRPr sz="2400" b="0" i="0">
                <a:solidFill>
                  <a:schemeClr val="bg1"/>
                </a:solidFill>
                <a:latin typeface="+mn-lt"/>
              </a:defRPr>
            </a:lvl1pPr>
          </a:lstStyle>
          <a:p>
            <a:pPr lvl="0"/>
            <a:endParaRPr lang="en-US" noProof="0"/>
          </a:p>
        </p:txBody>
      </p:sp>
      <p:grpSp>
        <p:nvGrpSpPr>
          <p:cNvPr id="55" name="Graphic 100">
            <a:extLst>
              <a:ext uri="{FF2B5EF4-FFF2-40B4-BE49-F238E27FC236}">
                <a16:creationId xmlns:a16="http://schemas.microsoft.com/office/drawing/2014/main" id="{9FF51FFB-4AB0-1843-922A-B477E9F940B4}"/>
              </a:ext>
            </a:extLst>
          </p:cNvPr>
          <p:cNvGrpSpPr/>
          <p:nvPr userDrawn="1"/>
        </p:nvGrpSpPr>
        <p:grpSpPr>
          <a:xfrm>
            <a:off x="10148267" y="340999"/>
            <a:ext cx="1483475" cy="886834"/>
            <a:chOff x="7611200" y="284166"/>
            <a:chExt cx="1112606" cy="739028"/>
          </a:xfrm>
        </p:grpSpPr>
        <p:sp>
          <p:nvSpPr>
            <p:cNvPr id="103" name="Freeform 102">
              <a:extLst>
                <a:ext uri="{FF2B5EF4-FFF2-40B4-BE49-F238E27FC236}">
                  <a16:creationId xmlns:a16="http://schemas.microsoft.com/office/drawing/2014/main" id="{B271766A-F8F6-5543-A216-867A88525D8C}"/>
                </a:ext>
              </a:extLst>
            </p:cNvPr>
            <p:cNvSpPr/>
            <p:nvPr/>
          </p:nvSpPr>
          <p:spPr>
            <a:xfrm>
              <a:off x="8065090" y="981314"/>
              <a:ext cx="184529" cy="41880"/>
            </a:xfrm>
            <a:custGeom>
              <a:avLst/>
              <a:gdLst>
                <a:gd name="connsiteX0" fmla="*/ 0 w 184529"/>
                <a:gd name="connsiteY0" fmla="*/ 0 h 41880"/>
                <a:gd name="connsiteX1" fmla="*/ 184529 w 184529"/>
                <a:gd name="connsiteY1" fmla="*/ 0 h 41880"/>
                <a:gd name="connsiteX2" fmla="*/ 184529 w 184529"/>
                <a:gd name="connsiteY2" fmla="*/ 41880 h 41880"/>
                <a:gd name="connsiteX3" fmla="*/ 0 w 184529"/>
                <a:gd name="connsiteY3" fmla="*/ 41880 h 41880"/>
              </a:gdLst>
              <a:ahLst/>
              <a:cxnLst>
                <a:cxn ang="0">
                  <a:pos x="connsiteX0" y="connsiteY0"/>
                </a:cxn>
                <a:cxn ang="0">
                  <a:pos x="connsiteX1" y="connsiteY1"/>
                </a:cxn>
                <a:cxn ang="0">
                  <a:pos x="connsiteX2" y="connsiteY2"/>
                </a:cxn>
                <a:cxn ang="0">
                  <a:pos x="connsiteX3" y="connsiteY3"/>
                </a:cxn>
              </a:cxnLst>
              <a:rect l="l" t="t" r="r" b="b"/>
              <a:pathLst>
                <a:path w="184529" h="41880">
                  <a:moveTo>
                    <a:pt x="0" y="0"/>
                  </a:moveTo>
                  <a:lnTo>
                    <a:pt x="184529" y="0"/>
                  </a:lnTo>
                  <a:lnTo>
                    <a:pt x="184529" y="41880"/>
                  </a:lnTo>
                  <a:lnTo>
                    <a:pt x="0" y="41880"/>
                  </a:lnTo>
                  <a:close/>
                </a:path>
              </a:pathLst>
            </a:custGeom>
            <a:solidFill>
              <a:srgbClr val="1D1D1B"/>
            </a:solidFill>
            <a:ln w="12664" cap="flat">
              <a:noFill/>
              <a:prstDash val="solid"/>
              <a:miter/>
            </a:ln>
          </p:spPr>
          <p:txBody>
            <a:bodyPr rtlCol="0" anchor="ctr"/>
            <a:lstStyle/>
            <a:p>
              <a:endParaRPr lang="en-US"/>
            </a:p>
          </p:txBody>
        </p:sp>
        <p:sp>
          <p:nvSpPr>
            <p:cNvPr id="104" name="Freeform 103">
              <a:extLst>
                <a:ext uri="{FF2B5EF4-FFF2-40B4-BE49-F238E27FC236}">
                  <a16:creationId xmlns:a16="http://schemas.microsoft.com/office/drawing/2014/main" id="{C873108A-4C19-6C46-A466-05B9871B63D0}"/>
                </a:ext>
              </a:extLst>
            </p:cNvPr>
            <p:cNvSpPr/>
            <p:nvPr/>
          </p:nvSpPr>
          <p:spPr>
            <a:xfrm>
              <a:off x="8065090" y="284175"/>
              <a:ext cx="184529" cy="41880"/>
            </a:xfrm>
            <a:custGeom>
              <a:avLst/>
              <a:gdLst>
                <a:gd name="connsiteX0" fmla="*/ 0 w 184529"/>
                <a:gd name="connsiteY0" fmla="*/ 0 h 41880"/>
                <a:gd name="connsiteX1" fmla="*/ 184529 w 184529"/>
                <a:gd name="connsiteY1" fmla="*/ 0 h 41880"/>
                <a:gd name="connsiteX2" fmla="*/ 184529 w 184529"/>
                <a:gd name="connsiteY2" fmla="*/ 41880 h 41880"/>
                <a:gd name="connsiteX3" fmla="*/ 0 w 184529"/>
                <a:gd name="connsiteY3" fmla="*/ 41880 h 41880"/>
              </a:gdLst>
              <a:ahLst/>
              <a:cxnLst>
                <a:cxn ang="0">
                  <a:pos x="connsiteX0" y="connsiteY0"/>
                </a:cxn>
                <a:cxn ang="0">
                  <a:pos x="connsiteX1" y="connsiteY1"/>
                </a:cxn>
                <a:cxn ang="0">
                  <a:pos x="connsiteX2" y="connsiteY2"/>
                </a:cxn>
                <a:cxn ang="0">
                  <a:pos x="connsiteX3" y="connsiteY3"/>
                </a:cxn>
              </a:cxnLst>
              <a:rect l="l" t="t" r="r" b="b"/>
              <a:pathLst>
                <a:path w="184529" h="41880">
                  <a:moveTo>
                    <a:pt x="0" y="0"/>
                  </a:moveTo>
                  <a:lnTo>
                    <a:pt x="184529" y="0"/>
                  </a:lnTo>
                  <a:lnTo>
                    <a:pt x="184529" y="41880"/>
                  </a:lnTo>
                  <a:lnTo>
                    <a:pt x="0" y="41880"/>
                  </a:lnTo>
                  <a:close/>
                </a:path>
              </a:pathLst>
            </a:custGeom>
            <a:solidFill>
              <a:srgbClr val="1D1D1B"/>
            </a:solidFill>
            <a:ln w="12664" cap="flat">
              <a:noFill/>
              <a:prstDash val="solid"/>
              <a:miter/>
            </a:ln>
          </p:spPr>
          <p:txBody>
            <a:bodyPr rtlCol="0" anchor="ctr"/>
            <a:lstStyle/>
            <a:p>
              <a:endParaRPr lang="en-US"/>
            </a:p>
          </p:txBody>
        </p:sp>
        <p:sp>
          <p:nvSpPr>
            <p:cNvPr id="105" name="Freeform 104">
              <a:extLst>
                <a:ext uri="{FF2B5EF4-FFF2-40B4-BE49-F238E27FC236}">
                  <a16:creationId xmlns:a16="http://schemas.microsoft.com/office/drawing/2014/main" id="{14AFCA75-00D5-C341-9441-2184CCB035CB}"/>
                </a:ext>
              </a:extLst>
            </p:cNvPr>
            <p:cNvSpPr/>
            <p:nvPr/>
          </p:nvSpPr>
          <p:spPr>
            <a:xfrm>
              <a:off x="7611200" y="284166"/>
              <a:ext cx="928953" cy="738998"/>
            </a:xfrm>
            <a:custGeom>
              <a:avLst/>
              <a:gdLst>
                <a:gd name="connsiteX0" fmla="*/ 835856 w 928953"/>
                <a:gd name="connsiteY0" fmla="*/ 129348 h 738998"/>
                <a:gd name="connsiteX1" fmla="*/ 928952 w 928953"/>
                <a:gd name="connsiteY1" fmla="*/ 373724 h 738998"/>
                <a:gd name="connsiteX2" fmla="*/ 687905 w 928953"/>
                <a:gd name="connsiteY2" fmla="*/ 707088 h 738998"/>
                <a:gd name="connsiteX3" fmla="*/ 422261 w 928953"/>
                <a:gd name="connsiteY3" fmla="*/ 738739 h 738998"/>
                <a:gd name="connsiteX4" fmla="*/ 59346 w 928953"/>
                <a:gd name="connsiteY4" fmla="*/ 566442 h 738998"/>
                <a:gd name="connsiteX5" fmla="*/ 36221 w 928953"/>
                <a:gd name="connsiteY5" fmla="*/ 210589 h 738998"/>
                <a:gd name="connsiteX6" fmla="*/ 317565 w 928953"/>
                <a:gd name="connsiteY6" fmla="*/ 11729 h 738998"/>
                <a:gd name="connsiteX7" fmla="*/ 681889 w 928953"/>
                <a:gd name="connsiteY7" fmla="*/ 31485 h 738998"/>
                <a:gd name="connsiteX8" fmla="*/ 835856 w 928953"/>
                <a:gd name="connsiteY8" fmla="*/ 129348 h 73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953" h="738998">
                  <a:moveTo>
                    <a:pt x="835856" y="129348"/>
                  </a:moveTo>
                  <a:cubicBezTo>
                    <a:pt x="896114" y="196814"/>
                    <a:pt x="929236" y="283759"/>
                    <a:pt x="928952" y="373724"/>
                  </a:cubicBezTo>
                  <a:cubicBezTo>
                    <a:pt x="925917" y="523314"/>
                    <a:pt x="830184" y="655711"/>
                    <a:pt x="687905" y="707088"/>
                  </a:cubicBezTo>
                  <a:cubicBezTo>
                    <a:pt x="605509" y="733926"/>
                    <a:pt x="513834" y="740469"/>
                    <a:pt x="422261" y="738739"/>
                  </a:cubicBezTo>
                  <a:cubicBezTo>
                    <a:pt x="276874" y="734728"/>
                    <a:pt x="140410" y="684838"/>
                    <a:pt x="59346" y="566442"/>
                  </a:cubicBezTo>
                  <a:cubicBezTo>
                    <a:pt x="-7731" y="467563"/>
                    <a:pt x="-21426" y="316651"/>
                    <a:pt x="36221" y="210589"/>
                  </a:cubicBezTo>
                  <a:cubicBezTo>
                    <a:pt x="85377" y="102522"/>
                    <a:pt x="197486" y="29968"/>
                    <a:pt x="317565" y="11729"/>
                  </a:cubicBezTo>
                  <a:cubicBezTo>
                    <a:pt x="438958" y="-8966"/>
                    <a:pt x="563521" y="-2211"/>
                    <a:pt x="681889" y="31485"/>
                  </a:cubicBezTo>
                  <a:cubicBezTo>
                    <a:pt x="740531" y="51203"/>
                    <a:pt x="793392" y="84802"/>
                    <a:pt x="835856" y="129348"/>
                  </a:cubicBezTo>
                  <a:close/>
                </a:path>
              </a:pathLst>
            </a:custGeom>
            <a:solidFill>
              <a:srgbClr val="1D1D1B"/>
            </a:solidFill>
            <a:ln w="12664" cap="flat">
              <a:noFill/>
              <a:prstDash val="solid"/>
              <a:miter/>
            </a:ln>
          </p:spPr>
          <p:txBody>
            <a:bodyPr rtlCol="0" anchor="ctr"/>
            <a:lstStyle/>
            <a:p>
              <a:endParaRPr lang="en-US"/>
            </a:p>
          </p:txBody>
        </p:sp>
        <p:sp>
          <p:nvSpPr>
            <p:cNvPr id="106" name="Freeform 105">
              <a:extLst>
                <a:ext uri="{FF2B5EF4-FFF2-40B4-BE49-F238E27FC236}">
                  <a16:creationId xmlns:a16="http://schemas.microsoft.com/office/drawing/2014/main" id="{A82649A4-FEDB-3F4A-A929-46A4EA42F0B2}"/>
                </a:ext>
              </a:extLst>
            </p:cNvPr>
            <p:cNvSpPr/>
            <p:nvPr/>
          </p:nvSpPr>
          <p:spPr>
            <a:xfrm>
              <a:off x="7648818" y="292586"/>
              <a:ext cx="513653" cy="722735"/>
            </a:xfrm>
            <a:custGeom>
              <a:avLst/>
              <a:gdLst>
                <a:gd name="connsiteX0" fmla="*/ 501893 w 513653"/>
                <a:gd name="connsiteY0" fmla="*/ 722736 h 722735"/>
                <a:gd name="connsiteX1" fmla="*/ 419052 w 513653"/>
                <a:gd name="connsiteY1" fmla="*/ 722736 h 722735"/>
                <a:gd name="connsiteX2" fmla="*/ 0 w 513653"/>
                <a:gd name="connsiteY2" fmla="*/ 361368 h 722735"/>
                <a:gd name="connsiteX3" fmla="*/ 419052 w 513653"/>
                <a:gd name="connsiteY3" fmla="*/ 0 h 722735"/>
                <a:gd name="connsiteX4" fmla="*/ 491524 w 513653"/>
                <a:gd name="connsiteY4" fmla="*/ 0 h 722735"/>
                <a:gd name="connsiteX5" fmla="*/ 497075 w 513653"/>
                <a:gd name="connsiteY5" fmla="*/ 6964 h 722735"/>
                <a:gd name="connsiteX6" fmla="*/ 491524 w 513653"/>
                <a:gd name="connsiteY6" fmla="*/ 12448 h 722735"/>
                <a:gd name="connsiteX7" fmla="*/ 82841 w 513653"/>
                <a:gd name="connsiteY7" fmla="*/ 361368 h 722735"/>
                <a:gd name="connsiteX8" fmla="*/ 491524 w 513653"/>
                <a:gd name="connsiteY8" fmla="*/ 710301 h 722735"/>
                <a:gd name="connsiteX9" fmla="*/ 502502 w 513653"/>
                <a:gd name="connsiteY9" fmla="*/ 710150 h 722735"/>
                <a:gd name="connsiteX10" fmla="*/ 507985 w 513653"/>
                <a:gd name="connsiteY10" fmla="*/ 710226 h 722735"/>
                <a:gd name="connsiteX11" fmla="*/ 513617 w 513653"/>
                <a:gd name="connsiteY11" fmla="*/ 717127 h 722735"/>
                <a:gd name="connsiteX12" fmla="*/ 508214 w 513653"/>
                <a:gd name="connsiteY12" fmla="*/ 722661 h 722735"/>
                <a:gd name="connsiteX13" fmla="*/ 501893 w 513653"/>
                <a:gd name="connsiteY13" fmla="*/ 722736 h 722735"/>
                <a:gd name="connsiteX14" fmla="*/ 372219 w 513653"/>
                <a:gd name="connsiteY14" fmla="*/ 14754 h 722735"/>
                <a:gd name="connsiteX15" fmla="*/ 12603 w 513653"/>
                <a:gd name="connsiteY15" fmla="*/ 361368 h 722735"/>
                <a:gd name="connsiteX16" fmla="*/ 372219 w 513653"/>
                <a:gd name="connsiteY16" fmla="*/ 707994 h 722735"/>
                <a:gd name="connsiteX17" fmla="*/ 70187 w 513653"/>
                <a:gd name="connsiteY17" fmla="*/ 361368 h 722735"/>
                <a:gd name="connsiteX18" fmla="*/ 372219 w 513653"/>
                <a:gd name="connsiteY18" fmla="*/ 14754 h 72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3653" h="722735">
                  <a:moveTo>
                    <a:pt x="501893" y="722736"/>
                  </a:moveTo>
                  <a:lnTo>
                    <a:pt x="419052" y="722736"/>
                  </a:lnTo>
                  <a:cubicBezTo>
                    <a:pt x="187981" y="722736"/>
                    <a:pt x="0" y="560679"/>
                    <a:pt x="0" y="361368"/>
                  </a:cubicBezTo>
                  <a:cubicBezTo>
                    <a:pt x="0" y="162056"/>
                    <a:pt x="187981" y="0"/>
                    <a:pt x="419052" y="0"/>
                  </a:cubicBezTo>
                  <a:lnTo>
                    <a:pt x="491524" y="0"/>
                  </a:lnTo>
                  <a:cubicBezTo>
                    <a:pt x="495004" y="409"/>
                    <a:pt x="497490" y="3527"/>
                    <a:pt x="497075" y="6964"/>
                  </a:cubicBezTo>
                  <a:cubicBezTo>
                    <a:pt x="496730" y="9839"/>
                    <a:pt x="494434" y="12106"/>
                    <a:pt x="491524" y="12448"/>
                  </a:cubicBezTo>
                  <a:cubicBezTo>
                    <a:pt x="266151" y="12448"/>
                    <a:pt x="82841" y="168976"/>
                    <a:pt x="82841" y="361368"/>
                  </a:cubicBezTo>
                  <a:cubicBezTo>
                    <a:pt x="82841" y="553760"/>
                    <a:pt x="266190" y="710301"/>
                    <a:pt x="491524" y="710301"/>
                  </a:cubicBezTo>
                  <a:cubicBezTo>
                    <a:pt x="495192" y="710301"/>
                    <a:pt x="498872" y="710301"/>
                    <a:pt x="502502" y="710150"/>
                  </a:cubicBezTo>
                  <a:cubicBezTo>
                    <a:pt x="504622" y="710213"/>
                    <a:pt x="506462" y="710326"/>
                    <a:pt x="507985" y="710226"/>
                  </a:cubicBezTo>
                  <a:cubicBezTo>
                    <a:pt x="511470" y="710595"/>
                    <a:pt x="513991" y="713685"/>
                    <a:pt x="513617" y="717127"/>
                  </a:cubicBezTo>
                  <a:cubicBezTo>
                    <a:pt x="513306" y="719974"/>
                    <a:pt x="511082" y="722252"/>
                    <a:pt x="508214" y="722661"/>
                  </a:cubicBezTo>
                  <a:cubicBezTo>
                    <a:pt x="506107" y="722736"/>
                    <a:pt x="504025" y="722736"/>
                    <a:pt x="501893" y="722736"/>
                  </a:cubicBezTo>
                  <a:close/>
                  <a:moveTo>
                    <a:pt x="372219" y="14754"/>
                  </a:moveTo>
                  <a:cubicBezTo>
                    <a:pt x="170086" y="34760"/>
                    <a:pt x="12603" y="182577"/>
                    <a:pt x="12603" y="361368"/>
                  </a:cubicBezTo>
                  <a:cubicBezTo>
                    <a:pt x="12603" y="540159"/>
                    <a:pt x="170098" y="687988"/>
                    <a:pt x="372219" y="707994"/>
                  </a:cubicBezTo>
                  <a:cubicBezTo>
                    <a:pt x="197818" y="663757"/>
                    <a:pt x="70187" y="525104"/>
                    <a:pt x="70187" y="361368"/>
                  </a:cubicBezTo>
                  <a:cubicBezTo>
                    <a:pt x="70187" y="197632"/>
                    <a:pt x="197818" y="58991"/>
                    <a:pt x="372219" y="14754"/>
                  </a:cubicBezTo>
                  <a:close/>
                </a:path>
              </a:pathLst>
            </a:custGeom>
            <a:solidFill>
              <a:srgbClr val="FFFFFF"/>
            </a:solidFill>
            <a:ln w="12664" cap="flat">
              <a:noFill/>
              <a:prstDash val="solid"/>
              <a:miter/>
            </a:ln>
          </p:spPr>
          <p:txBody>
            <a:bodyPr rtlCol="0" anchor="ctr"/>
            <a:lstStyle/>
            <a:p>
              <a:endParaRPr lang="en-US"/>
            </a:p>
          </p:txBody>
        </p:sp>
        <p:sp>
          <p:nvSpPr>
            <p:cNvPr id="107" name="Freeform 106">
              <a:extLst>
                <a:ext uri="{FF2B5EF4-FFF2-40B4-BE49-F238E27FC236}">
                  <a16:creationId xmlns:a16="http://schemas.microsoft.com/office/drawing/2014/main" id="{39C41067-5CB6-1641-B328-941C2B7CFFF0}"/>
                </a:ext>
              </a:extLst>
            </p:cNvPr>
            <p:cNvSpPr/>
            <p:nvPr/>
          </p:nvSpPr>
          <p:spPr>
            <a:xfrm>
              <a:off x="7725312" y="298816"/>
              <a:ext cx="426223" cy="710288"/>
            </a:xfrm>
            <a:custGeom>
              <a:avLst/>
              <a:gdLst>
                <a:gd name="connsiteX0" fmla="*/ 38 w 426223"/>
                <a:gd name="connsiteY0" fmla="*/ 355138 h 710288"/>
                <a:gd name="connsiteX1" fmla="*/ 415067 w 426223"/>
                <a:gd name="connsiteY1" fmla="*/ 710288 h 710288"/>
                <a:gd name="connsiteX2" fmla="*/ 426223 w 426223"/>
                <a:gd name="connsiteY2" fmla="*/ 710138 h 710288"/>
                <a:gd name="connsiteX3" fmla="*/ 22427 w 426223"/>
                <a:gd name="connsiteY3" fmla="*/ 355138 h 710288"/>
                <a:gd name="connsiteX4" fmla="*/ 426185 w 426223"/>
                <a:gd name="connsiteY4" fmla="*/ 125 h 710288"/>
                <a:gd name="connsiteX5" fmla="*/ 415029 w 426223"/>
                <a:gd name="connsiteY5" fmla="*/ 0 h 710288"/>
                <a:gd name="connsiteX6" fmla="*/ 0 w 426223"/>
                <a:gd name="connsiteY6" fmla="*/ 355138 h 71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223" h="710288">
                  <a:moveTo>
                    <a:pt x="38" y="355138"/>
                  </a:moveTo>
                  <a:cubicBezTo>
                    <a:pt x="38" y="551178"/>
                    <a:pt x="185951" y="710288"/>
                    <a:pt x="415067" y="710288"/>
                  </a:cubicBezTo>
                  <a:cubicBezTo>
                    <a:pt x="418798" y="710288"/>
                    <a:pt x="422530" y="710288"/>
                    <a:pt x="426223" y="710138"/>
                  </a:cubicBezTo>
                  <a:cubicBezTo>
                    <a:pt x="202323" y="705124"/>
                    <a:pt x="22427" y="547956"/>
                    <a:pt x="22427" y="355138"/>
                  </a:cubicBezTo>
                  <a:cubicBezTo>
                    <a:pt x="22427" y="162320"/>
                    <a:pt x="202285" y="5202"/>
                    <a:pt x="426185" y="125"/>
                  </a:cubicBezTo>
                  <a:cubicBezTo>
                    <a:pt x="422492" y="50"/>
                    <a:pt x="418760" y="0"/>
                    <a:pt x="415029" y="0"/>
                  </a:cubicBezTo>
                  <a:cubicBezTo>
                    <a:pt x="185951" y="0"/>
                    <a:pt x="0" y="159111"/>
                    <a:pt x="0" y="355138"/>
                  </a:cubicBezTo>
                  <a:close/>
                </a:path>
              </a:pathLst>
            </a:custGeom>
            <a:solidFill>
              <a:srgbClr val="FFFFFF"/>
            </a:solidFill>
            <a:ln w="12664" cap="flat">
              <a:noFill/>
              <a:prstDash val="solid"/>
              <a:miter/>
            </a:ln>
          </p:spPr>
          <p:txBody>
            <a:bodyPr rtlCol="0" anchor="ctr"/>
            <a:lstStyle/>
            <a:p>
              <a:endParaRPr lang="en-US"/>
            </a:p>
          </p:txBody>
        </p:sp>
        <p:sp>
          <p:nvSpPr>
            <p:cNvPr id="108" name="Freeform 107">
              <a:extLst>
                <a:ext uri="{FF2B5EF4-FFF2-40B4-BE49-F238E27FC236}">
                  <a16:creationId xmlns:a16="http://schemas.microsoft.com/office/drawing/2014/main" id="{7BF88B26-C2F5-E349-82AB-7C9D397DB6AC}"/>
                </a:ext>
              </a:extLst>
            </p:cNvPr>
            <p:cNvSpPr/>
            <p:nvPr/>
          </p:nvSpPr>
          <p:spPr>
            <a:xfrm>
              <a:off x="7722216" y="295708"/>
              <a:ext cx="429383" cy="716505"/>
            </a:xfrm>
            <a:custGeom>
              <a:avLst/>
              <a:gdLst>
                <a:gd name="connsiteX0" fmla="*/ 418164 w 429383"/>
                <a:gd name="connsiteY0" fmla="*/ 716506 h 716505"/>
                <a:gd name="connsiteX1" fmla="*/ 0 w 429383"/>
                <a:gd name="connsiteY1" fmla="*/ 360503 h 716505"/>
                <a:gd name="connsiteX2" fmla="*/ 0 w 429383"/>
                <a:gd name="connsiteY2" fmla="*/ 360503 h 716505"/>
                <a:gd name="connsiteX3" fmla="*/ 0 w 429383"/>
                <a:gd name="connsiteY3" fmla="*/ 358247 h 716505"/>
                <a:gd name="connsiteX4" fmla="*/ 418126 w 429383"/>
                <a:gd name="connsiteY4" fmla="*/ 0 h 716505"/>
                <a:gd name="connsiteX5" fmla="*/ 429345 w 429383"/>
                <a:gd name="connsiteY5" fmla="*/ 125 h 716505"/>
                <a:gd name="connsiteX6" fmla="*/ 429345 w 429383"/>
                <a:gd name="connsiteY6" fmla="*/ 6393 h 716505"/>
                <a:gd name="connsiteX7" fmla="*/ 145527 w 429383"/>
                <a:gd name="connsiteY7" fmla="*/ 112667 h 716505"/>
                <a:gd name="connsiteX8" fmla="*/ 28659 w 429383"/>
                <a:gd name="connsiteY8" fmla="*/ 358247 h 716505"/>
                <a:gd name="connsiteX9" fmla="*/ 145539 w 429383"/>
                <a:gd name="connsiteY9" fmla="*/ 603851 h 716505"/>
                <a:gd name="connsiteX10" fmla="*/ 429383 w 429383"/>
                <a:gd name="connsiteY10" fmla="*/ 710150 h 716505"/>
                <a:gd name="connsiteX11" fmla="*/ 429383 w 429383"/>
                <a:gd name="connsiteY11" fmla="*/ 716343 h 716505"/>
                <a:gd name="connsiteX12" fmla="*/ 418164 w 429383"/>
                <a:gd name="connsiteY12" fmla="*/ 716506 h 716505"/>
                <a:gd name="connsiteX13" fmla="*/ 6244 w 429383"/>
                <a:gd name="connsiteY13" fmla="*/ 356354 h 716505"/>
                <a:gd name="connsiteX14" fmla="*/ 6244 w 429383"/>
                <a:gd name="connsiteY14" fmla="*/ 358259 h 716505"/>
                <a:gd name="connsiteX15" fmla="*/ 294252 w 429383"/>
                <a:gd name="connsiteY15" fmla="*/ 694042 h 716505"/>
                <a:gd name="connsiteX16" fmla="*/ 141338 w 429383"/>
                <a:gd name="connsiteY16" fmla="*/ 608502 h 716505"/>
                <a:gd name="connsiteX17" fmla="*/ 22376 w 429383"/>
                <a:gd name="connsiteY17" fmla="*/ 358247 h 716505"/>
                <a:gd name="connsiteX18" fmla="*/ 141351 w 429383"/>
                <a:gd name="connsiteY18" fmla="*/ 108017 h 716505"/>
                <a:gd name="connsiteX19" fmla="*/ 294391 w 429383"/>
                <a:gd name="connsiteY19" fmla="*/ 22438 h 716505"/>
                <a:gd name="connsiteX20" fmla="*/ 6244 w 429383"/>
                <a:gd name="connsiteY20" fmla="*/ 356354 h 71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9383" h="716505">
                  <a:moveTo>
                    <a:pt x="418164" y="716506"/>
                  </a:moveTo>
                  <a:cubicBezTo>
                    <a:pt x="188438" y="716506"/>
                    <a:pt x="1409" y="557006"/>
                    <a:pt x="0" y="360503"/>
                  </a:cubicBezTo>
                  <a:lnTo>
                    <a:pt x="0" y="360503"/>
                  </a:lnTo>
                  <a:lnTo>
                    <a:pt x="0" y="358247"/>
                  </a:lnTo>
                  <a:cubicBezTo>
                    <a:pt x="-38" y="160715"/>
                    <a:pt x="187550" y="0"/>
                    <a:pt x="418126" y="0"/>
                  </a:cubicBezTo>
                  <a:cubicBezTo>
                    <a:pt x="421933" y="0"/>
                    <a:pt x="425627" y="0"/>
                    <a:pt x="429345" y="125"/>
                  </a:cubicBezTo>
                  <a:lnTo>
                    <a:pt x="429345" y="6393"/>
                  </a:lnTo>
                  <a:cubicBezTo>
                    <a:pt x="324993" y="7564"/>
                    <a:pt x="224437" y="45217"/>
                    <a:pt x="145527" y="112667"/>
                  </a:cubicBezTo>
                  <a:cubicBezTo>
                    <a:pt x="72436" y="173976"/>
                    <a:pt x="29812" y="263544"/>
                    <a:pt x="28659" y="358247"/>
                  </a:cubicBezTo>
                  <a:cubicBezTo>
                    <a:pt x="29815" y="452958"/>
                    <a:pt x="72442" y="542534"/>
                    <a:pt x="145539" y="603851"/>
                  </a:cubicBezTo>
                  <a:cubicBezTo>
                    <a:pt x="224451" y="671320"/>
                    <a:pt x="325018" y="708982"/>
                    <a:pt x="429383" y="710150"/>
                  </a:cubicBezTo>
                  <a:lnTo>
                    <a:pt x="429383" y="716343"/>
                  </a:lnTo>
                  <a:cubicBezTo>
                    <a:pt x="425715" y="716506"/>
                    <a:pt x="421933" y="716506"/>
                    <a:pt x="418164" y="716506"/>
                  </a:cubicBezTo>
                  <a:close/>
                  <a:moveTo>
                    <a:pt x="6244" y="356354"/>
                  </a:moveTo>
                  <a:lnTo>
                    <a:pt x="6244" y="358259"/>
                  </a:lnTo>
                  <a:cubicBezTo>
                    <a:pt x="6244" y="515515"/>
                    <a:pt x="127466" y="649003"/>
                    <a:pt x="294252" y="694042"/>
                  </a:cubicBezTo>
                  <a:cubicBezTo>
                    <a:pt x="237836" y="676287"/>
                    <a:pt x="185767" y="647159"/>
                    <a:pt x="141338" y="608502"/>
                  </a:cubicBezTo>
                  <a:cubicBezTo>
                    <a:pt x="66896" y="546008"/>
                    <a:pt x="23508" y="454733"/>
                    <a:pt x="22376" y="358247"/>
                  </a:cubicBezTo>
                  <a:cubicBezTo>
                    <a:pt x="23520" y="261766"/>
                    <a:pt x="66912" y="170503"/>
                    <a:pt x="141351" y="108017"/>
                  </a:cubicBezTo>
                  <a:cubicBezTo>
                    <a:pt x="185811" y="69329"/>
                    <a:pt x="237927" y="40186"/>
                    <a:pt x="294391" y="22438"/>
                  </a:cubicBezTo>
                  <a:cubicBezTo>
                    <a:pt x="128215" y="67264"/>
                    <a:pt x="7209" y="199901"/>
                    <a:pt x="6244" y="356354"/>
                  </a:cubicBezTo>
                  <a:close/>
                </a:path>
              </a:pathLst>
            </a:custGeom>
            <a:solidFill>
              <a:srgbClr val="FFFFFF"/>
            </a:solidFill>
            <a:ln w="12664" cap="flat">
              <a:noFill/>
              <a:prstDash val="solid"/>
              <a:miter/>
            </a:ln>
          </p:spPr>
          <p:txBody>
            <a:bodyPr rtlCol="0" anchor="ctr"/>
            <a:lstStyle/>
            <a:p>
              <a:endParaRPr lang="en-US"/>
            </a:p>
          </p:txBody>
        </p:sp>
        <p:sp>
          <p:nvSpPr>
            <p:cNvPr id="109" name="Freeform 108">
              <a:extLst>
                <a:ext uri="{FF2B5EF4-FFF2-40B4-BE49-F238E27FC236}">
                  <a16:creationId xmlns:a16="http://schemas.microsoft.com/office/drawing/2014/main" id="{2DBC0D26-1274-DF49-A215-9D8E4086A50C}"/>
                </a:ext>
              </a:extLst>
            </p:cNvPr>
            <p:cNvSpPr/>
            <p:nvPr/>
          </p:nvSpPr>
          <p:spPr>
            <a:xfrm>
              <a:off x="7734489" y="466915"/>
              <a:ext cx="600154" cy="22200"/>
            </a:xfrm>
            <a:custGeom>
              <a:avLst/>
              <a:gdLst>
                <a:gd name="connsiteX0" fmla="*/ 600154 w 600154"/>
                <a:gd name="connsiteY0" fmla="*/ 11094 h 22200"/>
                <a:gd name="connsiteX1" fmla="*/ 300065 w 600154"/>
                <a:gd name="connsiteY1" fmla="*/ 22200 h 22200"/>
                <a:gd name="connsiteX2" fmla="*/ 0 w 600154"/>
                <a:gd name="connsiteY2" fmla="*/ 11094 h 22200"/>
                <a:gd name="connsiteX3" fmla="*/ 300065 w 600154"/>
                <a:gd name="connsiteY3" fmla="*/ 0 h 22200"/>
                <a:gd name="connsiteX4" fmla="*/ 600154 w 600154"/>
                <a:gd name="connsiteY4" fmla="*/ 11094 h 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54" h="22200">
                  <a:moveTo>
                    <a:pt x="600154" y="11094"/>
                  </a:moveTo>
                  <a:cubicBezTo>
                    <a:pt x="600154" y="17198"/>
                    <a:pt x="465708" y="22200"/>
                    <a:pt x="300065" y="22200"/>
                  </a:cubicBezTo>
                  <a:cubicBezTo>
                    <a:pt x="134421" y="22200"/>
                    <a:pt x="0" y="17186"/>
                    <a:pt x="0" y="11094"/>
                  </a:cubicBezTo>
                  <a:cubicBezTo>
                    <a:pt x="0" y="5002"/>
                    <a:pt x="134434" y="0"/>
                    <a:pt x="300065" y="0"/>
                  </a:cubicBezTo>
                  <a:cubicBezTo>
                    <a:pt x="465695" y="0"/>
                    <a:pt x="600154" y="4964"/>
                    <a:pt x="600154" y="11094"/>
                  </a:cubicBezTo>
                  <a:close/>
                </a:path>
              </a:pathLst>
            </a:custGeom>
            <a:solidFill>
              <a:srgbClr val="FFFFFF"/>
            </a:solidFill>
            <a:ln w="12664" cap="flat">
              <a:noFill/>
              <a:prstDash val="solid"/>
              <a:miter/>
            </a:ln>
          </p:spPr>
          <p:txBody>
            <a:bodyPr rtlCol="0" anchor="ctr"/>
            <a:lstStyle/>
            <a:p>
              <a:endParaRPr lang="en-US"/>
            </a:p>
          </p:txBody>
        </p:sp>
        <p:sp>
          <p:nvSpPr>
            <p:cNvPr id="110" name="Freeform 109">
              <a:extLst>
                <a:ext uri="{FF2B5EF4-FFF2-40B4-BE49-F238E27FC236}">
                  <a16:creationId xmlns:a16="http://schemas.microsoft.com/office/drawing/2014/main" id="{F5025588-F1A6-AD41-BE08-23AB0B04B5EC}"/>
                </a:ext>
              </a:extLst>
            </p:cNvPr>
            <p:cNvSpPr/>
            <p:nvPr/>
          </p:nvSpPr>
          <p:spPr>
            <a:xfrm>
              <a:off x="7731341" y="463844"/>
              <a:ext cx="606437" cy="28405"/>
            </a:xfrm>
            <a:custGeom>
              <a:avLst/>
              <a:gdLst>
                <a:gd name="connsiteX0" fmla="*/ 303212 w 606437"/>
                <a:gd name="connsiteY0" fmla="*/ 28405 h 28405"/>
                <a:gd name="connsiteX1" fmla="*/ 90938 w 606437"/>
                <a:gd name="connsiteY1" fmla="*/ 25146 h 28405"/>
                <a:gd name="connsiteX2" fmla="*/ 0 w 606437"/>
                <a:gd name="connsiteY2" fmla="*/ 14203 h 28405"/>
                <a:gd name="connsiteX3" fmla="*/ 90951 w 606437"/>
                <a:gd name="connsiteY3" fmla="*/ 3272 h 28405"/>
                <a:gd name="connsiteX4" fmla="*/ 303212 w 606437"/>
                <a:gd name="connsiteY4" fmla="*/ 0 h 28405"/>
                <a:gd name="connsiteX5" fmla="*/ 515486 w 606437"/>
                <a:gd name="connsiteY5" fmla="*/ 3259 h 28405"/>
                <a:gd name="connsiteX6" fmla="*/ 606437 w 606437"/>
                <a:gd name="connsiteY6" fmla="*/ 14203 h 28405"/>
                <a:gd name="connsiteX7" fmla="*/ 515486 w 606437"/>
                <a:gd name="connsiteY7" fmla="*/ 25146 h 28405"/>
                <a:gd name="connsiteX8" fmla="*/ 303212 w 606437"/>
                <a:gd name="connsiteY8" fmla="*/ 28405 h 28405"/>
                <a:gd name="connsiteX9" fmla="*/ 14799 w 606437"/>
                <a:gd name="connsiteY9" fmla="*/ 14165 h 28405"/>
                <a:gd name="connsiteX10" fmla="*/ 303212 w 606437"/>
                <a:gd name="connsiteY10" fmla="*/ 22162 h 28405"/>
                <a:gd name="connsiteX11" fmla="*/ 591803 w 606437"/>
                <a:gd name="connsiteY11" fmla="*/ 14152 h 28405"/>
                <a:gd name="connsiteX12" fmla="*/ 303212 w 606437"/>
                <a:gd name="connsiteY12" fmla="*/ 6167 h 28405"/>
                <a:gd name="connsiteX13" fmla="*/ 14799 w 606437"/>
                <a:gd name="connsiteY13" fmla="*/ 14165 h 2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437" h="28405">
                  <a:moveTo>
                    <a:pt x="303212" y="28405"/>
                  </a:moveTo>
                  <a:cubicBezTo>
                    <a:pt x="223176" y="28405"/>
                    <a:pt x="147786" y="27252"/>
                    <a:pt x="90938" y="25146"/>
                  </a:cubicBezTo>
                  <a:cubicBezTo>
                    <a:pt x="0" y="21761"/>
                    <a:pt x="0" y="18088"/>
                    <a:pt x="0" y="14203"/>
                  </a:cubicBezTo>
                  <a:cubicBezTo>
                    <a:pt x="0" y="10317"/>
                    <a:pt x="0" y="6681"/>
                    <a:pt x="90951" y="3272"/>
                  </a:cubicBezTo>
                  <a:cubicBezTo>
                    <a:pt x="147786" y="1166"/>
                    <a:pt x="223164" y="0"/>
                    <a:pt x="303212" y="0"/>
                  </a:cubicBezTo>
                  <a:cubicBezTo>
                    <a:pt x="383261" y="0"/>
                    <a:pt x="458753" y="1166"/>
                    <a:pt x="515486" y="3259"/>
                  </a:cubicBezTo>
                  <a:cubicBezTo>
                    <a:pt x="606437" y="6619"/>
                    <a:pt x="606437" y="10304"/>
                    <a:pt x="606437" y="14203"/>
                  </a:cubicBezTo>
                  <a:cubicBezTo>
                    <a:pt x="606437" y="18101"/>
                    <a:pt x="606437" y="21724"/>
                    <a:pt x="515486" y="25146"/>
                  </a:cubicBezTo>
                  <a:cubicBezTo>
                    <a:pt x="458677" y="27214"/>
                    <a:pt x="383286" y="28405"/>
                    <a:pt x="303212" y="28405"/>
                  </a:cubicBezTo>
                  <a:close/>
                  <a:moveTo>
                    <a:pt x="14799" y="14165"/>
                  </a:moveTo>
                  <a:cubicBezTo>
                    <a:pt x="47455" y="18314"/>
                    <a:pt x="158028" y="22162"/>
                    <a:pt x="303212" y="22162"/>
                  </a:cubicBezTo>
                  <a:cubicBezTo>
                    <a:pt x="448650" y="22162"/>
                    <a:pt x="559337" y="18302"/>
                    <a:pt x="591803" y="14152"/>
                  </a:cubicBezTo>
                  <a:cubicBezTo>
                    <a:pt x="560073" y="10016"/>
                    <a:pt x="452978" y="6167"/>
                    <a:pt x="303212" y="6167"/>
                  </a:cubicBezTo>
                  <a:cubicBezTo>
                    <a:pt x="158016" y="6167"/>
                    <a:pt x="47455" y="10016"/>
                    <a:pt x="14799" y="14165"/>
                  </a:cubicBezTo>
                  <a:close/>
                </a:path>
              </a:pathLst>
            </a:custGeom>
            <a:solidFill>
              <a:srgbClr val="FFFFFF"/>
            </a:solidFill>
            <a:ln w="12664" cap="flat">
              <a:noFill/>
              <a:prstDash val="solid"/>
              <a:miter/>
            </a:ln>
          </p:spPr>
          <p:txBody>
            <a:bodyPr rtlCol="0" anchor="ctr"/>
            <a:lstStyle/>
            <a:p>
              <a:endParaRPr lang="en-US"/>
            </a:p>
          </p:txBody>
        </p:sp>
        <p:sp>
          <p:nvSpPr>
            <p:cNvPr id="111" name="Freeform 110">
              <a:extLst>
                <a:ext uri="{FF2B5EF4-FFF2-40B4-BE49-F238E27FC236}">
                  <a16:creationId xmlns:a16="http://schemas.microsoft.com/office/drawing/2014/main" id="{A848AAFE-0E13-E544-908F-200E93BDCC5B}"/>
                </a:ext>
              </a:extLst>
            </p:cNvPr>
            <p:cNvSpPr/>
            <p:nvPr/>
          </p:nvSpPr>
          <p:spPr>
            <a:xfrm>
              <a:off x="7744744" y="835014"/>
              <a:ext cx="600116" cy="22200"/>
            </a:xfrm>
            <a:custGeom>
              <a:avLst/>
              <a:gdLst>
                <a:gd name="connsiteX0" fmla="*/ 600116 w 600116"/>
                <a:gd name="connsiteY0" fmla="*/ 11081 h 22200"/>
                <a:gd name="connsiteX1" fmla="*/ 300065 w 600116"/>
                <a:gd name="connsiteY1" fmla="*/ 22200 h 22200"/>
                <a:gd name="connsiteX2" fmla="*/ 0 w 600116"/>
                <a:gd name="connsiteY2" fmla="*/ 11081 h 22200"/>
                <a:gd name="connsiteX3" fmla="*/ 300065 w 600116"/>
                <a:gd name="connsiteY3" fmla="*/ 0 h 22200"/>
                <a:gd name="connsiteX4" fmla="*/ 600116 w 600116"/>
                <a:gd name="connsiteY4" fmla="*/ 11081 h 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16" h="22200">
                  <a:moveTo>
                    <a:pt x="600116" y="11081"/>
                  </a:moveTo>
                  <a:cubicBezTo>
                    <a:pt x="600116" y="17236"/>
                    <a:pt x="465708" y="22200"/>
                    <a:pt x="300065" y="22200"/>
                  </a:cubicBezTo>
                  <a:cubicBezTo>
                    <a:pt x="134421" y="22200"/>
                    <a:pt x="0" y="17186"/>
                    <a:pt x="0" y="11081"/>
                  </a:cubicBezTo>
                  <a:cubicBezTo>
                    <a:pt x="0" y="4977"/>
                    <a:pt x="134434" y="0"/>
                    <a:pt x="300065" y="0"/>
                  </a:cubicBezTo>
                  <a:cubicBezTo>
                    <a:pt x="465695" y="0"/>
                    <a:pt x="600116" y="5014"/>
                    <a:pt x="600116" y="11081"/>
                  </a:cubicBezTo>
                  <a:close/>
                </a:path>
              </a:pathLst>
            </a:custGeom>
            <a:solidFill>
              <a:srgbClr val="FFFFFF"/>
            </a:solidFill>
            <a:ln w="12664" cap="flat">
              <a:noFill/>
              <a:prstDash val="solid"/>
              <a:miter/>
            </a:ln>
          </p:spPr>
          <p:txBody>
            <a:bodyPr rtlCol="0" anchor="ctr"/>
            <a:lstStyle/>
            <a:p>
              <a:endParaRPr lang="en-US"/>
            </a:p>
          </p:txBody>
        </p:sp>
        <p:sp>
          <p:nvSpPr>
            <p:cNvPr id="112" name="Freeform 111">
              <a:extLst>
                <a:ext uri="{FF2B5EF4-FFF2-40B4-BE49-F238E27FC236}">
                  <a16:creationId xmlns:a16="http://schemas.microsoft.com/office/drawing/2014/main" id="{890C4341-3D96-984D-BEE3-07506F620EC5}"/>
                </a:ext>
              </a:extLst>
            </p:cNvPr>
            <p:cNvSpPr/>
            <p:nvPr/>
          </p:nvSpPr>
          <p:spPr>
            <a:xfrm>
              <a:off x="7741596" y="831918"/>
              <a:ext cx="606398" cy="28392"/>
            </a:xfrm>
            <a:custGeom>
              <a:avLst/>
              <a:gdLst>
                <a:gd name="connsiteX0" fmla="*/ 303212 w 606398"/>
                <a:gd name="connsiteY0" fmla="*/ 28393 h 28392"/>
                <a:gd name="connsiteX1" fmla="*/ 90938 w 606398"/>
                <a:gd name="connsiteY1" fmla="*/ 25121 h 28392"/>
                <a:gd name="connsiteX2" fmla="*/ 0 w 606398"/>
                <a:gd name="connsiteY2" fmla="*/ 14177 h 28392"/>
                <a:gd name="connsiteX3" fmla="*/ 90951 w 606398"/>
                <a:gd name="connsiteY3" fmla="*/ 3247 h 28392"/>
                <a:gd name="connsiteX4" fmla="*/ 303212 w 606398"/>
                <a:gd name="connsiteY4" fmla="*/ 0 h 28392"/>
                <a:gd name="connsiteX5" fmla="*/ 515473 w 606398"/>
                <a:gd name="connsiteY5" fmla="*/ 3259 h 28392"/>
                <a:gd name="connsiteX6" fmla="*/ 606399 w 606398"/>
                <a:gd name="connsiteY6" fmla="*/ 14177 h 28392"/>
                <a:gd name="connsiteX7" fmla="*/ 515473 w 606398"/>
                <a:gd name="connsiteY7" fmla="*/ 25146 h 28392"/>
                <a:gd name="connsiteX8" fmla="*/ 303212 w 606398"/>
                <a:gd name="connsiteY8" fmla="*/ 28393 h 28392"/>
                <a:gd name="connsiteX9" fmla="*/ 14672 w 606398"/>
                <a:gd name="connsiteY9" fmla="*/ 14165 h 28392"/>
                <a:gd name="connsiteX10" fmla="*/ 303212 w 606398"/>
                <a:gd name="connsiteY10" fmla="*/ 22200 h 28392"/>
                <a:gd name="connsiteX11" fmla="*/ 591740 w 606398"/>
                <a:gd name="connsiteY11" fmla="*/ 14203 h 28392"/>
                <a:gd name="connsiteX12" fmla="*/ 303212 w 606398"/>
                <a:gd name="connsiteY12" fmla="*/ 6192 h 28392"/>
                <a:gd name="connsiteX13" fmla="*/ 14672 w 606398"/>
                <a:gd name="connsiteY13" fmla="*/ 14165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398" h="28392">
                  <a:moveTo>
                    <a:pt x="303212" y="28393"/>
                  </a:moveTo>
                  <a:cubicBezTo>
                    <a:pt x="223138" y="28393"/>
                    <a:pt x="147760" y="27239"/>
                    <a:pt x="90938" y="25121"/>
                  </a:cubicBezTo>
                  <a:cubicBezTo>
                    <a:pt x="0" y="21749"/>
                    <a:pt x="0" y="18063"/>
                    <a:pt x="0" y="14177"/>
                  </a:cubicBezTo>
                  <a:cubicBezTo>
                    <a:pt x="0" y="10292"/>
                    <a:pt x="0" y="6656"/>
                    <a:pt x="90951" y="3247"/>
                  </a:cubicBezTo>
                  <a:cubicBezTo>
                    <a:pt x="147697" y="1153"/>
                    <a:pt x="223087" y="0"/>
                    <a:pt x="303212" y="0"/>
                  </a:cubicBezTo>
                  <a:cubicBezTo>
                    <a:pt x="383337" y="0"/>
                    <a:pt x="458600" y="1153"/>
                    <a:pt x="515473" y="3259"/>
                  </a:cubicBezTo>
                  <a:cubicBezTo>
                    <a:pt x="606399" y="6619"/>
                    <a:pt x="606399" y="10292"/>
                    <a:pt x="606399" y="14177"/>
                  </a:cubicBezTo>
                  <a:cubicBezTo>
                    <a:pt x="606399" y="18063"/>
                    <a:pt x="606399" y="21774"/>
                    <a:pt x="515473" y="25146"/>
                  </a:cubicBezTo>
                  <a:cubicBezTo>
                    <a:pt x="458804" y="27239"/>
                    <a:pt x="383426" y="28393"/>
                    <a:pt x="303212" y="28393"/>
                  </a:cubicBezTo>
                  <a:close/>
                  <a:moveTo>
                    <a:pt x="14672" y="14165"/>
                  </a:moveTo>
                  <a:cubicBezTo>
                    <a:pt x="47164" y="18327"/>
                    <a:pt x="157825" y="22200"/>
                    <a:pt x="303212" y="22200"/>
                  </a:cubicBezTo>
                  <a:cubicBezTo>
                    <a:pt x="452978" y="22200"/>
                    <a:pt x="559984" y="18339"/>
                    <a:pt x="591740" y="14203"/>
                  </a:cubicBezTo>
                  <a:cubicBezTo>
                    <a:pt x="559274" y="10053"/>
                    <a:pt x="448599" y="6192"/>
                    <a:pt x="303212" y="6192"/>
                  </a:cubicBezTo>
                  <a:cubicBezTo>
                    <a:pt x="153497" y="6192"/>
                    <a:pt x="46453" y="10066"/>
                    <a:pt x="14672" y="14165"/>
                  </a:cubicBezTo>
                  <a:close/>
                </a:path>
              </a:pathLst>
            </a:custGeom>
            <a:solidFill>
              <a:srgbClr val="FFFFFF"/>
            </a:solidFill>
            <a:ln w="12664" cap="flat">
              <a:noFill/>
              <a:prstDash val="solid"/>
              <a:miter/>
            </a:ln>
          </p:spPr>
          <p:txBody>
            <a:bodyPr rtlCol="0" anchor="ctr"/>
            <a:lstStyle/>
            <a:p>
              <a:endParaRPr lang="en-US"/>
            </a:p>
          </p:txBody>
        </p:sp>
        <p:sp>
          <p:nvSpPr>
            <p:cNvPr id="113" name="Freeform 112">
              <a:extLst>
                <a:ext uri="{FF2B5EF4-FFF2-40B4-BE49-F238E27FC236}">
                  <a16:creationId xmlns:a16="http://schemas.microsoft.com/office/drawing/2014/main" id="{475ACACF-947C-D74F-A08D-13330E78FEA5}"/>
                </a:ext>
              </a:extLst>
            </p:cNvPr>
            <p:cNvSpPr/>
            <p:nvPr/>
          </p:nvSpPr>
          <p:spPr>
            <a:xfrm>
              <a:off x="7680662" y="649366"/>
              <a:ext cx="600141" cy="22187"/>
            </a:xfrm>
            <a:custGeom>
              <a:avLst/>
              <a:gdLst>
                <a:gd name="connsiteX0" fmla="*/ 600142 w 600141"/>
                <a:gd name="connsiteY0" fmla="*/ 11081 h 22187"/>
                <a:gd name="connsiteX1" fmla="*/ 300065 w 600141"/>
                <a:gd name="connsiteY1" fmla="*/ 22187 h 22187"/>
                <a:gd name="connsiteX2" fmla="*/ 0 w 600141"/>
                <a:gd name="connsiteY2" fmla="*/ 11081 h 22187"/>
                <a:gd name="connsiteX3" fmla="*/ 300065 w 600141"/>
                <a:gd name="connsiteY3" fmla="*/ 0 h 22187"/>
                <a:gd name="connsiteX4" fmla="*/ 600142 w 600141"/>
                <a:gd name="connsiteY4" fmla="*/ 11081 h 22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41" h="22187">
                  <a:moveTo>
                    <a:pt x="600142" y="11081"/>
                  </a:moveTo>
                  <a:cubicBezTo>
                    <a:pt x="600142" y="17211"/>
                    <a:pt x="465708" y="22187"/>
                    <a:pt x="300065" y="22187"/>
                  </a:cubicBezTo>
                  <a:cubicBezTo>
                    <a:pt x="134421" y="22187"/>
                    <a:pt x="0" y="17173"/>
                    <a:pt x="0" y="11081"/>
                  </a:cubicBezTo>
                  <a:cubicBezTo>
                    <a:pt x="0" y="4989"/>
                    <a:pt x="134434" y="0"/>
                    <a:pt x="300065" y="0"/>
                  </a:cubicBezTo>
                  <a:cubicBezTo>
                    <a:pt x="465695" y="0"/>
                    <a:pt x="600142" y="5014"/>
                    <a:pt x="600142" y="11081"/>
                  </a:cubicBezTo>
                  <a:close/>
                </a:path>
              </a:pathLst>
            </a:custGeom>
            <a:solidFill>
              <a:srgbClr val="FFFFFF"/>
            </a:solidFill>
            <a:ln w="12664" cap="flat">
              <a:noFill/>
              <a:prstDash val="solid"/>
              <a:miter/>
            </a:ln>
          </p:spPr>
          <p:txBody>
            <a:bodyPr rtlCol="0" anchor="ctr"/>
            <a:lstStyle/>
            <a:p>
              <a:endParaRPr lang="en-US"/>
            </a:p>
          </p:txBody>
        </p:sp>
        <p:sp>
          <p:nvSpPr>
            <p:cNvPr id="114" name="Freeform 113">
              <a:extLst>
                <a:ext uri="{FF2B5EF4-FFF2-40B4-BE49-F238E27FC236}">
                  <a16:creationId xmlns:a16="http://schemas.microsoft.com/office/drawing/2014/main" id="{EE6B08DE-D55C-C94A-93E4-5C13256DA178}"/>
                </a:ext>
              </a:extLst>
            </p:cNvPr>
            <p:cNvSpPr/>
            <p:nvPr/>
          </p:nvSpPr>
          <p:spPr>
            <a:xfrm>
              <a:off x="7677514" y="646257"/>
              <a:ext cx="606424" cy="28392"/>
            </a:xfrm>
            <a:custGeom>
              <a:avLst/>
              <a:gdLst>
                <a:gd name="connsiteX0" fmla="*/ 303212 w 606424"/>
                <a:gd name="connsiteY0" fmla="*/ 28392 h 28392"/>
                <a:gd name="connsiteX1" fmla="*/ 90938 w 606424"/>
                <a:gd name="connsiteY1" fmla="*/ 25121 h 28392"/>
                <a:gd name="connsiteX2" fmla="*/ 0 w 606424"/>
                <a:gd name="connsiteY2" fmla="*/ 14190 h 28392"/>
                <a:gd name="connsiteX3" fmla="*/ 90951 w 606424"/>
                <a:gd name="connsiteY3" fmla="*/ 3259 h 28392"/>
                <a:gd name="connsiteX4" fmla="*/ 303212 w 606424"/>
                <a:gd name="connsiteY4" fmla="*/ 0 h 28392"/>
                <a:gd name="connsiteX5" fmla="*/ 515486 w 606424"/>
                <a:gd name="connsiteY5" fmla="*/ 3272 h 28392"/>
                <a:gd name="connsiteX6" fmla="*/ 606424 w 606424"/>
                <a:gd name="connsiteY6" fmla="*/ 14190 h 28392"/>
                <a:gd name="connsiteX7" fmla="*/ 515486 w 606424"/>
                <a:gd name="connsiteY7" fmla="*/ 25133 h 28392"/>
                <a:gd name="connsiteX8" fmla="*/ 303212 w 606424"/>
                <a:gd name="connsiteY8" fmla="*/ 28392 h 28392"/>
                <a:gd name="connsiteX9" fmla="*/ 14812 w 606424"/>
                <a:gd name="connsiteY9" fmla="*/ 14190 h 28392"/>
                <a:gd name="connsiteX10" fmla="*/ 303212 w 606424"/>
                <a:gd name="connsiteY10" fmla="*/ 22188 h 28392"/>
                <a:gd name="connsiteX11" fmla="*/ 591740 w 606424"/>
                <a:gd name="connsiteY11" fmla="*/ 14215 h 28392"/>
                <a:gd name="connsiteX12" fmla="*/ 303212 w 606424"/>
                <a:gd name="connsiteY12" fmla="*/ 6205 h 28392"/>
                <a:gd name="connsiteX13" fmla="*/ 14812 w 606424"/>
                <a:gd name="connsiteY13" fmla="*/ 14190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424" h="28392">
                  <a:moveTo>
                    <a:pt x="303212" y="28392"/>
                  </a:moveTo>
                  <a:cubicBezTo>
                    <a:pt x="223176" y="28392"/>
                    <a:pt x="147786" y="27227"/>
                    <a:pt x="90938" y="25121"/>
                  </a:cubicBezTo>
                  <a:cubicBezTo>
                    <a:pt x="0" y="21749"/>
                    <a:pt x="0" y="18076"/>
                    <a:pt x="0" y="14190"/>
                  </a:cubicBezTo>
                  <a:cubicBezTo>
                    <a:pt x="0" y="10304"/>
                    <a:pt x="0" y="6669"/>
                    <a:pt x="90951" y="3259"/>
                  </a:cubicBezTo>
                  <a:cubicBezTo>
                    <a:pt x="147748" y="1153"/>
                    <a:pt x="223138" y="0"/>
                    <a:pt x="303212" y="0"/>
                  </a:cubicBezTo>
                  <a:cubicBezTo>
                    <a:pt x="383286" y="0"/>
                    <a:pt x="458575" y="1166"/>
                    <a:pt x="515486" y="3272"/>
                  </a:cubicBezTo>
                  <a:cubicBezTo>
                    <a:pt x="606424" y="6644"/>
                    <a:pt x="606424" y="10304"/>
                    <a:pt x="606424" y="14190"/>
                  </a:cubicBezTo>
                  <a:cubicBezTo>
                    <a:pt x="606424" y="18076"/>
                    <a:pt x="606424" y="21774"/>
                    <a:pt x="515486" y="25133"/>
                  </a:cubicBezTo>
                  <a:cubicBezTo>
                    <a:pt x="458740" y="27239"/>
                    <a:pt x="383362" y="28392"/>
                    <a:pt x="303212" y="28392"/>
                  </a:cubicBezTo>
                  <a:close/>
                  <a:moveTo>
                    <a:pt x="14812" y="14190"/>
                  </a:moveTo>
                  <a:cubicBezTo>
                    <a:pt x="47481" y="18339"/>
                    <a:pt x="158041" y="22188"/>
                    <a:pt x="303212" y="22188"/>
                  </a:cubicBezTo>
                  <a:cubicBezTo>
                    <a:pt x="452914" y="22188"/>
                    <a:pt x="559933" y="18339"/>
                    <a:pt x="591740" y="14215"/>
                  </a:cubicBezTo>
                  <a:cubicBezTo>
                    <a:pt x="559210" y="10053"/>
                    <a:pt x="448561" y="6205"/>
                    <a:pt x="303212" y="6205"/>
                  </a:cubicBezTo>
                  <a:cubicBezTo>
                    <a:pt x="157863" y="6205"/>
                    <a:pt x="47481" y="10041"/>
                    <a:pt x="14812" y="14190"/>
                  </a:cubicBezTo>
                  <a:close/>
                </a:path>
              </a:pathLst>
            </a:custGeom>
            <a:solidFill>
              <a:srgbClr val="FFFFFF"/>
            </a:solidFill>
            <a:ln w="12664" cap="flat">
              <a:noFill/>
              <a:prstDash val="solid"/>
              <a:miter/>
            </a:ln>
          </p:spPr>
          <p:txBody>
            <a:bodyPr rtlCol="0" anchor="ctr"/>
            <a:lstStyle/>
            <a:p>
              <a:endParaRPr lang="en-US"/>
            </a:p>
          </p:txBody>
        </p:sp>
        <p:sp>
          <p:nvSpPr>
            <p:cNvPr id="115" name="Freeform 114">
              <a:extLst>
                <a:ext uri="{FF2B5EF4-FFF2-40B4-BE49-F238E27FC236}">
                  <a16:creationId xmlns:a16="http://schemas.microsoft.com/office/drawing/2014/main" id="{CF71F180-FDDE-6241-BF83-DD418E179248}"/>
                </a:ext>
              </a:extLst>
            </p:cNvPr>
            <p:cNvSpPr/>
            <p:nvPr/>
          </p:nvSpPr>
          <p:spPr>
            <a:xfrm>
              <a:off x="7794847" y="284166"/>
              <a:ext cx="928959" cy="738994"/>
            </a:xfrm>
            <a:custGeom>
              <a:avLst/>
              <a:gdLst>
                <a:gd name="connsiteX0" fmla="*/ 835862 w 928959"/>
                <a:gd name="connsiteY0" fmla="*/ 129348 h 738994"/>
                <a:gd name="connsiteX1" fmla="*/ 928958 w 928959"/>
                <a:gd name="connsiteY1" fmla="*/ 373724 h 738994"/>
                <a:gd name="connsiteX2" fmla="*/ 687886 w 928959"/>
                <a:gd name="connsiteY2" fmla="*/ 707075 h 738994"/>
                <a:gd name="connsiteX3" fmla="*/ 422255 w 928959"/>
                <a:gd name="connsiteY3" fmla="*/ 738739 h 738994"/>
                <a:gd name="connsiteX4" fmla="*/ 59340 w 928959"/>
                <a:gd name="connsiteY4" fmla="*/ 566442 h 738994"/>
                <a:gd name="connsiteX5" fmla="*/ 36227 w 928959"/>
                <a:gd name="connsiteY5" fmla="*/ 210589 h 738994"/>
                <a:gd name="connsiteX6" fmla="*/ 317571 w 928959"/>
                <a:gd name="connsiteY6" fmla="*/ 11729 h 738994"/>
                <a:gd name="connsiteX7" fmla="*/ 681946 w 928959"/>
                <a:gd name="connsiteY7" fmla="*/ 31485 h 738994"/>
                <a:gd name="connsiteX8" fmla="*/ 835862 w 928959"/>
                <a:gd name="connsiteY8" fmla="*/ 129348 h 73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959" h="738994">
                  <a:moveTo>
                    <a:pt x="835862" y="129348"/>
                  </a:moveTo>
                  <a:cubicBezTo>
                    <a:pt x="896115" y="196817"/>
                    <a:pt x="929237" y="283760"/>
                    <a:pt x="928958" y="373724"/>
                  </a:cubicBezTo>
                  <a:cubicBezTo>
                    <a:pt x="925921" y="523318"/>
                    <a:pt x="830175" y="655713"/>
                    <a:pt x="687886" y="707075"/>
                  </a:cubicBezTo>
                  <a:cubicBezTo>
                    <a:pt x="605502" y="733913"/>
                    <a:pt x="513828" y="740457"/>
                    <a:pt x="422255" y="738739"/>
                  </a:cubicBezTo>
                  <a:cubicBezTo>
                    <a:pt x="276855" y="734716"/>
                    <a:pt x="140403" y="684838"/>
                    <a:pt x="59340" y="566442"/>
                  </a:cubicBezTo>
                  <a:cubicBezTo>
                    <a:pt x="-7725" y="467563"/>
                    <a:pt x="-21432" y="316650"/>
                    <a:pt x="36227" y="210589"/>
                  </a:cubicBezTo>
                  <a:cubicBezTo>
                    <a:pt x="85422" y="102522"/>
                    <a:pt x="197479" y="29968"/>
                    <a:pt x="317571" y="11729"/>
                  </a:cubicBezTo>
                  <a:cubicBezTo>
                    <a:pt x="438981" y="-8966"/>
                    <a:pt x="563560" y="-2211"/>
                    <a:pt x="681946" y="31485"/>
                  </a:cubicBezTo>
                  <a:cubicBezTo>
                    <a:pt x="740568" y="51213"/>
                    <a:pt x="793411" y="84811"/>
                    <a:pt x="835862" y="129348"/>
                  </a:cubicBezTo>
                  <a:close/>
                </a:path>
              </a:pathLst>
            </a:custGeom>
            <a:solidFill>
              <a:srgbClr val="CA0538"/>
            </a:solidFill>
            <a:ln w="12664" cap="flat">
              <a:noFill/>
              <a:prstDash val="solid"/>
              <a:miter/>
            </a:ln>
          </p:spPr>
          <p:txBody>
            <a:bodyPr rtlCol="0" anchor="ctr"/>
            <a:lstStyle/>
            <a:p>
              <a:endParaRPr lang="en-US"/>
            </a:p>
          </p:txBody>
        </p:sp>
        <p:sp>
          <p:nvSpPr>
            <p:cNvPr id="116" name="Freeform 115">
              <a:extLst>
                <a:ext uri="{FF2B5EF4-FFF2-40B4-BE49-F238E27FC236}">
                  <a16:creationId xmlns:a16="http://schemas.microsoft.com/office/drawing/2014/main" id="{F46A7005-4EF7-544A-88E4-5D12002AEF5D}"/>
                </a:ext>
              </a:extLst>
            </p:cNvPr>
            <p:cNvSpPr/>
            <p:nvPr/>
          </p:nvSpPr>
          <p:spPr>
            <a:xfrm>
              <a:off x="7833276" y="310649"/>
              <a:ext cx="674105" cy="476179"/>
            </a:xfrm>
            <a:custGeom>
              <a:avLst/>
              <a:gdLst>
                <a:gd name="connsiteX0" fmla="*/ 674105 w 674105"/>
                <a:gd name="connsiteY0" fmla="*/ 47259 h 476179"/>
                <a:gd name="connsiteX1" fmla="*/ 53199 w 674105"/>
                <a:gd name="connsiteY1" fmla="*/ 164301 h 476179"/>
                <a:gd name="connsiteX2" fmla="*/ 23043 w 674105"/>
                <a:gd name="connsiteY2" fmla="*/ 476180 h 476179"/>
                <a:gd name="connsiteX3" fmla="*/ 674105 w 674105"/>
                <a:gd name="connsiteY3" fmla="*/ 47259 h 476179"/>
              </a:gdLst>
              <a:ahLst/>
              <a:cxnLst>
                <a:cxn ang="0">
                  <a:pos x="connsiteX0" y="connsiteY0"/>
                </a:cxn>
                <a:cxn ang="0">
                  <a:pos x="connsiteX1" y="connsiteY1"/>
                </a:cxn>
                <a:cxn ang="0">
                  <a:pos x="connsiteX2" y="connsiteY2"/>
                </a:cxn>
                <a:cxn ang="0">
                  <a:pos x="connsiteX3" y="connsiteY3"/>
                </a:cxn>
              </a:cxnLst>
              <a:rect l="l" t="t" r="r" b="b"/>
              <a:pathLst>
                <a:path w="674105" h="476179">
                  <a:moveTo>
                    <a:pt x="674105" y="47259"/>
                  </a:moveTo>
                  <a:cubicBezTo>
                    <a:pt x="674105" y="47259"/>
                    <a:pt x="245737" y="-115976"/>
                    <a:pt x="53199" y="164301"/>
                  </a:cubicBezTo>
                  <a:cubicBezTo>
                    <a:pt x="-45202" y="307555"/>
                    <a:pt x="23043" y="476180"/>
                    <a:pt x="23043" y="476180"/>
                  </a:cubicBezTo>
                  <a:cubicBezTo>
                    <a:pt x="23043" y="476180"/>
                    <a:pt x="9323" y="-76226"/>
                    <a:pt x="674105" y="47259"/>
                  </a:cubicBezTo>
                  <a:close/>
                </a:path>
              </a:pathLst>
            </a:custGeom>
            <a:solidFill>
              <a:srgbClr val="FFFFFF"/>
            </a:solidFill>
            <a:ln w="12664" cap="flat">
              <a:noFill/>
              <a:prstDash val="solid"/>
              <a:miter/>
            </a:ln>
          </p:spPr>
          <p:txBody>
            <a:bodyPr rtlCol="0" anchor="ctr"/>
            <a:lstStyle/>
            <a:p>
              <a:endParaRPr lang="en-US"/>
            </a:p>
          </p:txBody>
        </p:sp>
        <p:sp>
          <p:nvSpPr>
            <p:cNvPr id="117" name="Freeform 116">
              <a:extLst>
                <a:ext uri="{FF2B5EF4-FFF2-40B4-BE49-F238E27FC236}">
                  <a16:creationId xmlns:a16="http://schemas.microsoft.com/office/drawing/2014/main" id="{D5F28A02-635F-344C-863F-935130290EBC}"/>
                </a:ext>
              </a:extLst>
            </p:cNvPr>
            <p:cNvSpPr/>
            <p:nvPr/>
          </p:nvSpPr>
          <p:spPr>
            <a:xfrm>
              <a:off x="7952138" y="416172"/>
              <a:ext cx="622117" cy="420341"/>
            </a:xfrm>
            <a:custGeom>
              <a:avLst/>
              <a:gdLst>
                <a:gd name="connsiteX0" fmla="*/ 244162 w 622117"/>
                <a:gd name="connsiteY0" fmla="*/ 5265 h 420341"/>
                <a:gd name="connsiteX1" fmla="*/ 190234 w 622117"/>
                <a:gd name="connsiteY1" fmla="*/ 115337 h 420341"/>
                <a:gd name="connsiteX2" fmla="*/ 166119 w 622117"/>
                <a:gd name="connsiteY2" fmla="*/ 372750 h 420341"/>
                <a:gd name="connsiteX3" fmla="*/ 174546 w 622117"/>
                <a:gd name="connsiteY3" fmla="*/ 380271 h 420341"/>
                <a:gd name="connsiteX4" fmla="*/ 219273 w 622117"/>
                <a:gd name="connsiteY4" fmla="*/ 341336 h 420341"/>
                <a:gd name="connsiteX5" fmla="*/ 302545 w 622117"/>
                <a:gd name="connsiteY5" fmla="*/ 23617 h 420341"/>
                <a:gd name="connsiteX6" fmla="*/ 333806 w 622117"/>
                <a:gd name="connsiteY6" fmla="*/ 464 h 420341"/>
                <a:gd name="connsiteX7" fmla="*/ 335633 w 622117"/>
                <a:gd name="connsiteY7" fmla="*/ 7032 h 420341"/>
                <a:gd name="connsiteX8" fmla="*/ 302964 w 622117"/>
                <a:gd name="connsiteY8" fmla="*/ 48950 h 420341"/>
                <a:gd name="connsiteX9" fmla="*/ 293445 w 622117"/>
                <a:gd name="connsiteY9" fmla="*/ 78772 h 420341"/>
                <a:gd name="connsiteX10" fmla="*/ 257717 w 622117"/>
                <a:gd name="connsiteY10" fmla="*/ 371697 h 420341"/>
                <a:gd name="connsiteX11" fmla="*/ 269927 w 622117"/>
                <a:gd name="connsiteY11" fmla="*/ 380221 h 420341"/>
                <a:gd name="connsiteX12" fmla="*/ 308980 w 622117"/>
                <a:gd name="connsiteY12" fmla="*/ 342176 h 420341"/>
                <a:gd name="connsiteX13" fmla="*/ 378228 w 622117"/>
                <a:gd name="connsiteY13" fmla="*/ 200628 h 420341"/>
                <a:gd name="connsiteX14" fmla="*/ 448161 w 622117"/>
                <a:gd name="connsiteY14" fmla="*/ 198221 h 420341"/>
                <a:gd name="connsiteX15" fmla="*/ 429681 w 622117"/>
                <a:gd name="connsiteY15" fmla="*/ 360127 h 420341"/>
                <a:gd name="connsiteX16" fmla="*/ 437030 w 622117"/>
                <a:gd name="connsiteY16" fmla="*/ 382690 h 420341"/>
                <a:gd name="connsiteX17" fmla="*/ 444645 w 622117"/>
                <a:gd name="connsiteY17" fmla="*/ 380885 h 420341"/>
                <a:gd name="connsiteX18" fmla="*/ 491339 w 622117"/>
                <a:gd name="connsiteY18" fmla="*/ 333527 h 420341"/>
                <a:gd name="connsiteX19" fmla="*/ 528362 w 622117"/>
                <a:gd name="connsiteY19" fmla="*/ 108054 h 420341"/>
                <a:gd name="connsiteX20" fmla="*/ 593332 w 622117"/>
                <a:gd name="connsiteY20" fmla="*/ 24331 h 420341"/>
                <a:gd name="connsiteX21" fmla="*/ 580031 w 622117"/>
                <a:gd name="connsiteY21" fmla="*/ 39536 h 420341"/>
                <a:gd name="connsiteX22" fmla="*/ 525455 w 622117"/>
                <a:gd name="connsiteY22" fmla="*/ 215770 h 420341"/>
                <a:gd name="connsiteX23" fmla="*/ 546295 w 622117"/>
                <a:gd name="connsiteY23" fmla="*/ 207522 h 420341"/>
                <a:gd name="connsiteX24" fmla="*/ 590083 w 622117"/>
                <a:gd name="connsiteY24" fmla="*/ 171383 h 420341"/>
                <a:gd name="connsiteX25" fmla="*/ 609717 w 622117"/>
                <a:gd name="connsiteY25" fmla="*/ 190299 h 420341"/>
                <a:gd name="connsiteX26" fmla="*/ 587481 w 622117"/>
                <a:gd name="connsiteY26" fmla="*/ 352167 h 420341"/>
                <a:gd name="connsiteX27" fmla="*/ 515873 w 622117"/>
                <a:gd name="connsiteY27" fmla="*/ 418817 h 420341"/>
                <a:gd name="connsiteX28" fmla="*/ 500642 w 622117"/>
                <a:gd name="connsiteY28" fmla="*/ 417313 h 420341"/>
                <a:gd name="connsiteX29" fmla="*/ 492024 w 622117"/>
                <a:gd name="connsiteY29" fmla="*/ 355990 h 420341"/>
                <a:gd name="connsiteX30" fmla="*/ 489207 w 622117"/>
                <a:gd name="connsiteY30" fmla="*/ 354085 h 420341"/>
                <a:gd name="connsiteX31" fmla="*/ 416862 w 622117"/>
                <a:gd name="connsiteY31" fmla="*/ 419958 h 420341"/>
                <a:gd name="connsiteX32" fmla="*/ 408397 w 622117"/>
                <a:gd name="connsiteY32" fmla="*/ 418015 h 420341"/>
                <a:gd name="connsiteX33" fmla="*/ 398345 w 622117"/>
                <a:gd name="connsiteY33" fmla="*/ 380409 h 420341"/>
                <a:gd name="connsiteX34" fmla="*/ 344175 w 622117"/>
                <a:gd name="connsiteY34" fmla="*/ 420221 h 420341"/>
                <a:gd name="connsiteX35" fmla="*/ 325493 w 622117"/>
                <a:gd name="connsiteY35" fmla="*/ 399989 h 420341"/>
                <a:gd name="connsiteX36" fmla="*/ 310719 w 622117"/>
                <a:gd name="connsiteY36" fmla="*/ 359011 h 420341"/>
                <a:gd name="connsiteX37" fmla="*/ 242182 w 622117"/>
                <a:gd name="connsiteY37" fmla="*/ 419306 h 420341"/>
                <a:gd name="connsiteX38" fmla="*/ 228221 w 622117"/>
                <a:gd name="connsiteY38" fmla="*/ 408852 h 420341"/>
                <a:gd name="connsiteX39" fmla="*/ 220047 w 622117"/>
                <a:gd name="connsiteY39" fmla="*/ 358222 h 420341"/>
                <a:gd name="connsiteX40" fmla="*/ 216240 w 622117"/>
                <a:gd name="connsiteY40" fmla="*/ 359124 h 420341"/>
                <a:gd name="connsiteX41" fmla="*/ 149607 w 622117"/>
                <a:gd name="connsiteY41" fmla="*/ 419406 h 420341"/>
                <a:gd name="connsiteX42" fmla="*/ 136470 w 622117"/>
                <a:gd name="connsiteY42" fmla="*/ 410857 h 420341"/>
                <a:gd name="connsiteX43" fmla="*/ 127586 w 622117"/>
                <a:gd name="connsiteY43" fmla="*/ 346138 h 420341"/>
                <a:gd name="connsiteX44" fmla="*/ 123778 w 622117"/>
                <a:gd name="connsiteY44" fmla="*/ 346138 h 420341"/>
                <a:gd name="connsiteX45" fmla="*/ 29616 w 622117"/>
                <a:gd name="connsiteY45" fmla="*/ 420234 h 420341"/>
                <a:gd name="connsiteX46" fmla="*/ 19298 w 622117"/>
                <a:gd name="connsiteY46" fmla="*/ 412637 h 420341"/>
                <a:gd name="connsiteX47" fmla="*/ 41090 w 622117"/>
                <a:gd name="connsiteY47" fmla="*/ 197368 h 420341"/>
                <a:gd name="connsiteX48" fmla="*/ 83177 w 622117"/>
                <a:gd name="connsiteY48" fmla="*/ 178766 h 420341"/>
                <a:gd name="connsiteX49" fmla="*/ 102367 w 622117"/>
                <a:gd name="connsiteY49" fmla="*/ 208224 h 420341"/>
                <a:gd name="connsiteX50" fmla="*/ 102100 w 622117"/>
                <a:gd name="connsiteY50" fmla="*/ 239136 h 420341"/>
                <a:gd name="connsiteX51" fmla="*/ 36368 w 622117"/>
                <a:gd name="connsiteY51" fmla="*/ 299443 h 420341"/>
                <a:gd name="connsiteX52" fmla="*/ 46167 w 622117"/>
                <a:gd name="connsiteY52" fmla="*/ 383831 h 420341"/>
                <a:gd name="connsiteX53" fmla="*/ 58592 w 622117"/>
                <a:gd name="connsiteY53" fmla="*/ 385649 h 420341"/>
                <a:gd name="connsiteX54" fmla="*/ 60331 w 622117"/>
                <a:gd name="connsiteY54" fmla="*/ 383969 h 420341"/>
                <a:gd name="connsiteX55" fmla="*/ 127954 w 622117"/>
                <a:gd name="connsiteY55" fmla="*/ 320866 h 420341"/>
                <a:gd name="connsiteX56" fmla="*/ 202291 w 622117"/>
                <a:gd name="connsiteY56" fmla="*/ 37681 h 420341"/>
                <a:gd name="connsiteX57" fmla="*/ 243007 w 622117"/>
                <a:gd name="connsiteY57" fmla="*/ 0 h 420341"/>
                <a:gd name="connsiteX58" fmla="*/ 244974 w 622117"/>
                <a:gd name="connsiteY58" fmla="*/ 4024 h 420341"/>
                <a:gd name="connsiteX59" fmla="*/ 244162 w 622117"/>
                <a:gd name="connsiteY59" fmla="*/ 5265 h 420341"/>
                <a:gd name="connsiteX60" fmla="*/ 77224 w 622117"/>
                <a:gd name="connsiteY60" fmla="*/ 185510 h 420341"/>
                <a:gd name="connsiteX61" fmla="*/ 63936 w 622117"/>
                <a:gd name="connsiteY61" fmla="*/ 193821 h 420341"/>
                <a:gd name="connsiteX62" fmla="*/ 39516 w 622117"/>
                <a:gd name="connsiteY62" fmla="*/ 281656 h 420341"/>
                <a:gd name="connsiteX63" fmla="*/ 80448 w 622117"/>
                <a:gd name="connsiteY63" fmla="*/ 246419 h 420341"/>
                <a:gd name="connsiteX64" fmla="*/ 86553 w 622117"/>
                <a:gd name="connsiteY64" fmla="*/ 197770 h 420341"/>
                <a:gd name="connsiteX65" fmla="*/ 77224 w 622117"/>
                <a:gd name="connsiteY65" fmla="*/ 185510 h 420341"/>
                <a:gd name="connsiteX66" fmla="*/ 415111 w 622117"/>
                <a:gd name="connsiteY66" fmla="*/ 203536 h 420341"/>
                <a:gd name="connsiteX67" fmla="*/ 378215 w 622117"/>
                <a:gd name="connsiteY67" fmla="*/ 212574 h 420341"/>
                <a:gd name="connsiteX68" fmla="*/ 346891 w 622117"/>
                <a:gd name="connsiteY68" fmla="*/ 331271 h 420341"/>
                <a:gd name="connsiteX69" fmla="*/ 360611 w 622117"/>
                <a:gd name="connsiteY69" fmla="*/ 381976 h 420341"/>
                <a:gd name="connsiteX70" fmla="*/ 395730 w 622117"/>
                <a:gd name="connsiteY70" fmla="*/ 361681 h 420341"/>
                <a:gd name="connsiteX71" fmla="*/ 416037 w 622117"/>
                <a:gd name="connsiteY71" fmla="*/ 208224 h 420341"/>
                <a:gd name="connsiteX72" fmla="*/ 566146 w 622117"/>
                <a:gd name="connsiteY72" fmla="*/ 207698 h 420341"/>
                <a:gd name="connsiteX73" fmla="*/ 530887 w 622117"/>
                <a:gd name="connsiteY73" fmla="*/ 242997 h 420341"/>
                <a:gd name="connsiteX74" fmla="*/ 529618 w 622117"/>
                <a:gd name="connsiteY74" fmla="*/ 378792 h 420341"/>
                <a:gd name="connsiteX75" fmla="*/ 533324 w 622117"/>
                <a:gd name="connsiteY75" fmla="*/ 388219 h 420341"/>
                <a:gd name="connsiteX76" fmla="*/ 558899 w 622117"/>
                <a:gd name="connsiteY76" fmla="*/ 370995 h 420341"/>
                <a:gd name="connsiteX77" fmla="*/ 581871 w 622117"/>
                <a:gd name="connsiteY77" fmla="*/ 223730 h 420341"/>
                <a:gd name="connsiteX78" fmla="*/ 566158 w 622117"/>
                <a:gd name="connsiteY78" fmla="*/ 207710 h 4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22117" h="420341">
                  <a:moveTo>
                    <a:pt x="244162" y="5265"/>
                  </a:moveTo>
                  <a:cubicBezTo>
                    <a:pt x="206086" y="28342"/>
                    <a:pt x="203801" y="76089"/>
                    <a:pt x="190234" y="115337"/>
                  </a:cubicBezTo>
                  <a:cubicBezTo>
                    <a:pt x="169685" y="194774"/>
                    <a:pt x="154696" y="286444"/>
                    <a:pt x="166119" y="372750"/>
                  </a:cubicBezTo>
                  <a:cubicBezTo>
                    <a:pt x="167666" y="376363"/>
                    <a:pt x="170752" y="379115"/>
                    <a:pt x="174546" y="380271"/>
                  </a:cubicBezTo>
                  <a:cubicBezTo>
                    <a:pt x="191170" y="369352"/>
                    <a:pt x="206217" y="356253"/>
                    <a:pt x="219273" y="341336"/>
                  </a:cubicBezTo>
                  <a:cubicBezTo>
                    <a:pt x="227904" y="228092"/>
                    <a:pt x="248807" y="118709"/>
                    <a:pt x="302545" y="23617"/>
                  </a:cubicBezTo>
                  <a:cubicBezTo>
                    <a:pt x="309823" y="12451"/>
                    <a:pt x="320916" y="4236"/>
                    <a:pt x="333806" y="464"/>
                  </a:cubicBezTo>
                  <a:cubicBezTo>
                    <a:pt x="336636" y="464"/>
                    <a:pt x="337613" y="5165"/>
                    <a:pt x="335633" y="7032"/>
                  </a:cubicBezTo>
                  <a:cubicBezTo>
                    <a:pt x="316443" y="13977"/>
                    <a:pt x="309780" y="30298"/>
                    <a:pt x="302964" y="48950"/>
                  </a:cubicBezTo>
                  <a:cubicBezTo>
                    <a:pt x="299197" y="58697"/>
                    <a:pt x="296018" y="68655"/>
                    <a:pt x="293445" y="78772"/>
                  </a:cubicBezTo>
                  <a:cubicBezTo>
                    <a:pt x="267185" y="170380"/>
                    <a:pt x="246358" y="270399"/>
                    <a:pt x="257717" y="371697"/>
                  </a:cubicBezTo>
                  <a:cubicBezTo>
                    <a:pt x="259570" y="376398"/>
                    <a:pt x="264241" y="382064"/>
                    <a:pt x="269927" y="380221"/>
                  </a:cubicBezTo>
                  <a:cubicBezTo>
                    <a:pt x="285184" y="369996"/>
                    <a:pt x="298419" y="357102"/>
                    <a:pt x="308980" y="342176"/>
                  </a:cubicBezTo>
                  <a:cubicBezTo>
                    <a:pt x="303214" y="285875"/>
                    <a:pt x="329984" y="231155"/>
                    <a:pt x="378228" y="200628"/>
                  </a:cubicBezTo>
                  <a:cubicBezTo>
                    <a:pt x="399780" y="188729"/>
                    <a:pt x="425822" y="187833"/>
                    <a:pt x="448161" y="198221"/>
                  </a:cubicBezTo>
                  <a:cubicBezTo>
                    <a:pt x="436742" y="251477"/>
                    <a:pt x="430553" y="305697"/>
                    <a:pt x="429681" y="360127"/>
                  </a:cubicBezTo>
                  <a:cubicBezTo>
                    <a:pt x="430316" y="366633"/>
                    <a:pt x="429529" y="377915"/>
                    <a:pt x="437030" y="382690"/>
                  </a:cubicBezTo>
                  <a:lnTo>
                    <a:pt x="444645" y="380885"/>
                  </a:lnTo>
                  <a:lnTo>
                    <a:pt x="491339" y="333527"/>
                  </a:lnTo>
                  <a:cubicBezTo>
                    <a:pt x="498793" y="257666"/>
                    <a:pt x="511159" y="182354"/>
                    <a:pt x="528362" y="108054"/>
                  </a:cubicBezTo>
                  <a:cubicBezTo>
                    <a:pt x="539048" y="74435"/>
                    <a:pt x="563899" y="27954"/>
                    <a:pt x="593332" y="24331"/>
                  </a:cubicBezTo>
                  <a:cubicBezTo>
                    <a:pt x="604171" y="33808"/>
                    <a:pt x="592228" y="28092"/>
                    <a:pt x="580031" y="39536"/>
                  </a:cubicBezTo>
                  <a:cubicBezTo>
                    <a:pt x="544722" y="77957"/>
                    <a:pt x="531725" y="152116"/>
                    <a:pt x="525455" y="215770"/>
                  </a:cubicBezTo>
                  <a:cubicBezTo>
                    <a:pt x="532702" y="217738"/>
                    <a:pt x="534073" y="216911"/>
                    <a:pt x="546295" y="207522"/>
                  </a:cubicBezTo>
                  <a:lnTo>
                    <a:pt x="590083" y="171383"/>
                  </a:lnTo>
                  <a:cubicBezTo>
                    <a:pt x="600465" y="170530"/>
                    <a:pt x="606011" y="182765"/>
                    <a:pt x="609717" y="190299"/>
                  </a:cubicBezTo>
                  <a:cubicBezTo>
                    <a:pt x="632199" y="244293"/>
                    <a:pt x="623715" y="306041"/>
                    <a:pt x="587481" y="352167"/>
                  </a:cubicBezTo>
                  <a:cubicBezTo>
                    <a:pt x="569051" y="379470"/>
                    <a:pt x="544562" y="402266"/>
                    <a:pt x="515873" y="418817"/>
                  </a:cubicBezTo>
                  <a:cubicBezTo>
                    <a:pt x="504450" y="422578"/>
                    <a:pt x="501378" y="418002"/>
                    <a:pt x="500642" y="417313"/>
                  </a:cubicBezTo>
                  <a:cubicBezTo>
                    <a:pt x="492227" y="406833"/>
                    <a:pt x="493712" y="378454"/>
                    <a:pt x="492024" y="355990"/>
                  </a:cubicBezTo>
                  <a:lnTo>
                    <a:pt x="489207" y="354085"/>
                  </a:lnTo>
                  <a:lnTo>
                    <a:pt x="416862" y="419958"/>
                  </a:lnTo>
                  <a:cubicBezTo>
                    <a:pt x="414984" y="419958"/>
                    <a:pt x="410059" y="421211"/>
                    <a:pt x="408397" y="418015"/>
                  </a:cubicBezTo>
                  <a:cubicBezTo>
                    <a:pt x="402772" y="406183"/>
                    <a:pt x="399365" y="393442"/>
                    <a:pt x="398345" y="380409"/>
                  </a:cubicBezTo>
                  <a:cubicBezTo>
                    <a:pt x="379307" y="391490"/>
                    <a:pt x="363150" y="409140"/>
                    <a:pt x="344175" y="420221"/>
                  </a:cubicBezTo>
                  <a:cubicBezTo>
                    <a:pt x="333768" y="421061"/>
                    <a:pt x="329084" y="408438"/>
                    <a:pt x="325493" y="399989"/>
                  </a:cubicBezTo>
                  <a:cubicBezTo>
                    <a:pt x="317357" y="379419"/>
                    <a:pt x="316608" y="374655"/>
                    <a:pt x="310719" y="359011"/>
                  </a:cubicBezTo>
                  <a:lnTo>
                    <a:pt x="242182" y="419306"/>
                  </a:lnTo>
                  <a:cubicBezTo>
                    <a:pt x="234567" y="423067"/>
                    <a:pt x="230176" y="414844"/>
                    <a:pt x="228221" y="408852"/>
                  </a:cubicBezTo>
                  <a:cubicBezTo>
                    <a:pt x="224377" y="392170"/>
                    <a:pt x="221646" y="375257"/>
                    <a:pt x="220047" y="358222"/>
                  </a:cubicBezTo>
                  <a:lnTo>
                    <a:pt x="216240" y="359124"/>
                  </a:lnTo>
                  <a:lnTo>
                    <a:pt x="149607" y="419406"/>
                  </a:lnTo>
                  <a:cubicBezTo>
                    <a:pt x="142550" y="421512"/>
                    <a:pt x="139986" y="418755"/>
                    <a:pt x="136470" y="410857"/>
                  </a:cubicBezTo>
                  <a:cubicBezTo>
                    <a:pt x="130416" y="397269"/>
                    <a:pt x="130696" y="366883"/>
                    <a:pt x="127586" y="346138"/>
                  </a:cubicBezTo>
                  <a:lnTo>
                    <a:pt x="123778" y="346138"/>
                  </a:lnTo>
                  <a:cubicBezTo>
                    <a:pt x="92404" y="370193"/>
                    <a:pt x="64722" y="401807"/>
                    <a:pt x="29616" y="420234"/>
                  </a:cubicBezTo>
                  <a:cubicBezTo>
                    <a:pt x="24895" y="421111"/>
                    <a:pt x="21151" y="416473"/>
                    <a:pt x="19298" y="412637"/>
                  </a:cubicBezTo>
                  <a:cubicBezTo>
                    <a:pt x="-11265" y="346777"/>
                    <a:pt x="-6619" y="252185"/>
                    <a:pt x="41090" y="197368"/>
                  </a:cubicBezTo>
                  <a:cubicBezTo>
                    <a:pt x="46839" y="191301"/>
                    <a:pt x="63859" y="170593"/>
                    <a:pt x="83177" y="178766"/>
                  </a:cubicBezTo>
                  <a:cubicBezTo>
                    <a:pt x="94066" y="182527"/>
                    <a:pt x="99169" y="191163"/>
                    <a:pt x="102367" y="208224"/>
                  </a:cubicBezTo>
                  <a:cubicBezTo>
                    <a:pt x="105644" y="218289"/>
                    <a:pt x="105550" y="229128"/>
                    <a:pt x="102100" y="239136"/>
                  </a:cubicBezTo>
                  <a:lnTo>
                    <a:pt x="36368" y="299443"/>
                  </a:lnTo>
                  <a:cubicBezTo>
                    <a:pt x="31891" y="327931"/>
                    <a:pt x="35276" y="357085"/>
                    <a:pt x="46167" y="383831"/>
                  </a:cubicBezTo>
                  <a:cubicBezTo>
                    <a:pt x="49091" y="387721"/>
                    <a:pt x="54653" y="388534"/>
                    <a:pt x="58592" y="385649"/>
                  </a:cubicBezTo>
                  <a:cubicBezTo>
                    <a:pt x="59251" y="385174"/>
                    <a:pt x="59836" y="384608"/>
                    <a:pt x="60331" y="383969"/>
                  </a:cubicBezTo>
                  <a:lnTo>
                    <a:pt x="127954" y="320866"/>
                  </a:lnTo>
                  <a:cubicBezTo>
                    <a:pt x="138298" y="220734"/>
                    <a:pt x="157146" y="123460"/>
                    <a:pt x="202291" y="37681"/>
                  </a:cubicBezTo>
                  <a:cubicBezTo>
                    <a:pt x="207634" y="27791"/>
                    <a:pt x="225365" y="752"/>
                    <a:pt x="243007" y="0"/>
                  </a:cubicBezTo>
                  <a:cubicBezTo>
                    <a:pt x="244671" y="580"/>
                    <a:pt x="245549" y="2377"/>
                    <a:pt x="244974" y="4024"/>
                  </a:cubicBezTo>
                  <a:cubicBezTo>
                    <a:pt x="244800" y="4491"/>
                    <a:pt x="244523" y="4916"/>
                    <a:pt x="244162" y="5265"/>
                  </a:cubicBezTo>
                  <a:close/>
                  <a:moveTo>
                    <a:pt x="77224" y="185510"/>
                  </a:moveTo>
                  <a:cubicBezTo>
                    <a:pt x="72275" y="187374"/>
                    <a:pt x="67757" y="190199"/>
                    <a:pt x="63936" y="193821"/>
                  </a:cubicBezTo>
                  <a:cubicBezTo>
                    <a:pt x="49883" y="221174"/>
                    <a:pt x="41576" y="251051"/>
                    <a:pt x="39516" y="281656"/>
                  </a:cubicBezTo>
                  <a:cubicBezTo>
                    <a:pt x="54645" y="269747"/>
                    <a:pt x="68060" y="257563"/>
                    <a:pt x="80448" y="246419"/>
                  </a:cubicBezTo>
                  <a:lnTo>
                    <a:pt x="86553" y="197770"/>
                  </a:lnTo>
                  <a:cubicBezTo>
                    <a:pt x="89459" y="190311"/>
                    <a:pt x="84776" y="185585"/>
                    <a:pt x="77224" y="185510"/>
                  </a:cubicBezTo>
                  <a:close/>
                  <a:moveTo>
                    <a:pt x="415111" y="203536"/>
                  </a:moveTo>
                  <a:cubicBezTo>
                    <a:pt x="401949" y="195927"/>
                    <a:pt x="388711" y="202746"/>
                    <a:pt x="378215" y="212574"/>
                  </a:cubicBezTo>
                  <a:cubicBezTo>
                    <a:pt x="347754" y="241405"/>
                    <a:pt x="343502" y="289039"/>
                    <a:pt x="346891" y="331271"/>
                  </a:cubicBezTo>
                  <a:cubicBezTo>
                    <a:pt x="346891" y="335307"/>
                    <a:pt x="349125" y="369503"/>
                    <a:pt x="360611" y="381976"/>
                  </a:cubicBezTo>
                  <a:cubicBezTo>
                    <a:pt x="374915" y="383229"/>
                    <a:pt x="386211" y="370030"/>
                    <a:pt x="395730" y="361681"/>
                  </a:cubicBezTo>
                  <a:cubicBezTo>
                    <a:pt x="400921" y="310211"/>
                    <a:pt x="407039" y="258741"/>
                    <a:pt x="416037" y="208224"/>
                  </a:cubicBezTo>
                  <a:close/>
                  <a:moveTo>
                    <a:pt x="566146" y="207698"/>
                  </a:moveTo>
                  <a:cubicBezTo>
                    <a:pt x="549725" y="213795"/>
                    <a:pt x="536837" y="226697"/>
                    <a:pt x="530887" y="242997"/>
                  </a:cubicBezTo>
                  <a:cubicBezTo>
                    <a:pt x="520125" y="285993"/>
                    <a:pt x="527207" y="334768"/>
                    <a:pt x="529618" y="378792"/>
                  </a:cubicBezTo>
                  <a:lnTo>
                    <a:pt x="533324" y="388219"/>
                  </a:lnTo>
                  <a:cubicBezTo>
                    <a:pt x="542615" y="387893"/>
                    <a:pt x="553784" y="376937"/>
                    <a:pt x="558899" y="370995"/>
                  </a:cubicBezTo>
                  <a:cubicBezTo>
                    <a:pt x="596556" y="329628"/>
                    <a:pt x="589969" y="272518"/>
                    <a:pt x="581871" y="223730"/>
                  </a:cubicBezTo>
                  <a:cubicBezTo>
                    <a:pt x="581224" y="219970"/>
                    <a:pt x="579333" y="203749"/>
                    <a:pt x="566158" y="207710"/>
                  </a:cubicBezTo>
                  <a:close/>
                </a:path>
              </a:pathLst>
            </a:custGeom>
            <a:solidFill>
              <a:srgbClr val="1D1D1B"/>
            </a:solidFill>
            <a:ln w="12664" cap="flat">
              <a:noFill/>
              <a:prstDash val="solid"/>
              <a:miter/>
            </a:ln>
          </p:spPr>
          <p:txBody>
            <a:bodyPr rtlCol="0" anchor="ctr"/>
            <a:lstStyle/>
            <a:p>
              <a:endParaRPr lang="en-US"/>
            </a:p>
          </p:txBody>
        </p:sp>
        <p:sp>
          <p:nvSpPr>
            <p:cNvPr id="118" name="Freeform 117">
              <a:extLst>
                <a:ext uri="{FF2B5EF4-FFF2-40B4-BE49-F238E27FC236}">
                  <a16:creationId xmlns:a16="http://schemas.microsoft.com/office/drawing/2014/main" id="{A0B59F43-8505-0B46-857F-3E952AE287D6}"/>
                </a:ext>
              </a:extLst>
            </p:cNvPr>
            <p:cNvSpPr/>
            <p:nvPr/>
          </p:nvSpPr>
          <p:spPr>
            <a:xfrm>
              <a:off x="7944028" y="412486"/>
              <a:ext cx="622096" cy="420416"/>
            </a:xfrm>
            <a:custGeom>
              <a:avLst/>
              <a:gdLst>
                <a:gd name="connsiteX0" fmla="*/ 244048 w 622096"/>
                <a:gd name="connsiteY0" fmla="*/ 5277 h 420416"/>
                <a:gd name="connsiteX1" fmla="*/ 190170 w 622096"/>
                <a:gd name="connsiteY1" fmla="*/ 115337 h 420416"/>
                <a:gd name="connsiteX2" fmla="*/ 166055 w 622096"/>
                <a:gd name="connsiteY2" fmla="*/ 372775 h 420416"/>
                <a:gd name="connsiteX3" fmla="*/ 174496 w 622096"/>
                <a:gd name="connsiteY3" fmla="*/ 380296 h 420416"/>
                <a:gd name="connsiteX4" fmla="*/ 219273 w 622096"/>
                <a:gd name="connsiteY4" fmla="*/ 341437 h 420416"/>
                <a:gd name="connsiteX5" fmla="*/ 302545 w 622096"/>
                <a:gd name="connsiteY5" fmla="*/ 23667 h 420416"/>
                <a:gd name="connsiteX6" fmla="*/ 333806 w 622096"/>
                <a:gd name="connsiteY6" fmla="*/ 514 h 420416"/>
                <a:gd name="connsiteX7" fmla="*/ 335633 w 622096"/>
                <a:gd name="connsiteY7" fmla="*/ 7095 h 420416"/>
                <a:gd name="connsiteX8" fmla="*/ 302964 w 622096"/>
                <a:gd name="connsiteY8" fmla="*/ 49013 h 420416"/>
                <a:gd name="connsiteX9" fmla="*/ 293445 w 622096"/>
                <a:gd name="connsiteY9" fmla="*/ 78835 h 420416"/>
                <a:gd name="connsiteX10" fmla="*/ 257717 w 622096"/>
                <a:gd name="connsiteY10" fmla="*/ 371772 h 420416"/>
                <a:gd name="connsiteX11" fmla="*/ 269927 w 622096"/>
                <a:gd name="connsiteY11" fmla="*/ 380296 h 420416"/>
                <a:gd name="connsiteX12" fmla="*/ 308980 w 622096"/>
                <a:gd name="connsiteY12" fmla="*/ 342239 h 420416"/>
                <a:gd name="connsiteX13" fmla="*/ 378228 w 622096"/>
                <a:gd name="connsiteY13" fmla="*/ 200690 h 420416"/>
                <a:gd name="connsiteX14" fmla="*/ 448161 w 622096"/>
                <a:gd name="connsiteY14" fmla="*/ 198284 h 420416"/>
                <a:gd name="connsiteX15" fmla="*/ 429681 w 622096"/>
                <a:gd name="connsiteY15" fmla="*/ 360202 h 420416"/>
                <a:gd name="connsiteX16" fmla="*/ 437030 w 622096"/>
                <a:gd name="connsiteY16" fmla="*/ 382766 h 420416"/>
                <a:gd name="connsiteX17" fmla="*/ 444645 w 622096"/>
                <a:gd name="connsiteY17" fmla="*/ 380961 h 420416"/>
                <a:gd name="connsiteX18" fmla="*/ 491339 w 622096"/>
                <a:gd name="connsiteY18" fmla="*/ 333590 h 420416"/>
                <a:gd name="connsiteX19" fmla="*/ 528362 w 622096"/>
                <a:gd name="connsiteY19" fmla="*/ 108092 h 420416"/>
                <a:gd name="connsiteX20" fmla="*/ 593332 w 622096"/>
                <a:gd name="connsiteY20" fmla="*/ 24369 h 420416"/>
                <a:gd name="connsiteX21" fmla="*/ 580031 w 622096"/>
                <a:gd name="connsiteY21" fmla="*/ 39574 h 420416"/>
                <a:gd name="connsiteX22" fmla="*/ 525455 w 622096"/>
                <a:gd name="connsiteY22" fmla="*/ 215808 h 420416"/>
                <a:gd name="connsiteX23" fmla="*/ 546295 w 622096"/>
                <a:gd name="connsiteY23" fmla="*/ 207560 h 420416"/>
                <a:gd name="connsiteX24" fmla="*/ 590083 w 622096"/>
                <a:gd name="connsiteY24" fmla="*/ 171420 h 420416"/>
                <a:gd name="connsiteX25" fmla="*/ 609717 w 622096"/>
                <a:gd name="connsiteY25" fmla="*/ 190324 h 420416"/>
                <a:gd name="connsiteX26" fmla="*/ 587443 w 622096"/>
                <a:gd name="connsiteY26" fmla="*/ 352167 h 420416"/>
                <a:gd name="connsiteX27" fmla="*/ 515835 w 622096"/>
                <a:gd name="connsiteY27" fmla="*/ 418842 h 420416"/>
                <a:gd name="connsiteX28" fmla="*/ 500604 w 622096"/>
                <a:gd name="connsiteY28" fmla="*/ 417338 h 420416"/>
                <a:gd name="connsiteX29" fmla="*/ 491986 w 622096"/>
                <a:gd name="connsiteY29" fmla="*/ 356003 h 420416"/>
                <a:gd name="connsiteX30" fmla="*/ 489169 w 622096"/>
                <a:gd name="connsiteY30" fmla="*/ 354097 h 420416"/>
                <a:gd name="connsiteX31" fmla="*/ 416824 w 622096"/>
                <a:gd name="connsiteY31" fmla="*/ 419983 h 420416"/>
                <a:gd name="connsiteX32" fmla="*/ 408359 w 622096"/>
                <a:gd name="connsiteY32" fmla="*/ 418040 h 420416"/>
                <a:gd name="connsiteX33" fmla="*/ 398307 w 622096"/>
                <a:gd name="connsiteY33" fmla="*/ 380434 h 420416"/>
                <a:gd name="connsiteX34" fmla="*/ 344137 w 622096"/>
                <a:gd name="connsiteY34" fmla="*/ 420246 h 420416"/>
                <a:gd name="connsiteX35" fmla="*/ 325454 w 622096"/>
                <a:gd name="connsiteY35" fmla="*/ 400014 h 420416"/>
                <a:gd name="connsiteX36" fmla="*/ 310681 w 622096"/>
                <a:gd name="connsiteY36" fmla="*/ 359036 h 420416"/>
                <a:gd name="connsiteX37" fmla="*/ 242144 w 622096"/>
                <a:gd name="connsiteY37" fmla="*/ 419331 h 420416"/>
                <a:gd name="connsiteX38" fmla="*/ 228183 w 622096"/>
                <a:gd name="connsiteY38" fmla="*/ 408864 h 420416"/>
                <a:gd name="connsiteX39" fmla="*/ 220009 w 622096"/>
                <a:gd name="connsiteY39" fmla="*/ 358222 h 420416"/>
                <a:gd name="connsiteX40" fmla="*/ 216202 w 622096"/>
                <a:gd name="connsiteY40" fmla="*/ 359149 h 420416"/>
                <a:gd name="connsiteX41" fmla="*/ 149607 w 622096"/>
                <a:gd name="connsiteY41" fmla="*/ 419469 h 420416"/>
                <a:gd name="connsiteX42" fmla="*/ 136470 w 622096"/>
                <a:gd name="connsiteY42" fmla="*/ 410920 h 420416"/>
                <a:gd name="connsiteX43" fmla="*/ 127586 w 622096"/>
                <a:gd name="connsiteY43" fmla="*/ 346188 h 420416"/>
                <a:gd name="connsiteX44" fmla="*/ 123778 w 622096"/>
                <a:gd name="connsiteY44" fmla="*/ 346188 h 420416"/>
                <a:gd name="connsiteX45" fmla="*/ 29616 w 622096"/>
                <a:gd name="connsiteY45" fmla="*/ 420309 h 420416"/>
                <a:gd name="connsiteX46" fmla="*/ 19298 w 622096"/>
                <a:gd name="connsiteY46" fmla="*/ 412713 h 420416"/>
                <a:gd name="connsiteX47" fmla="*/ 41090 w 622096"/>
                <a:gd name="connsiteY47" fmla="*/ 197431 h 420416"/>
                <a:gd name="connsiteX48" fmla="*/ 83177 w 622096"/>
                <a:gd name="connsiteY48" fmla="*/ 178829 h 420416"/>
                <a:gd name="connsiteX49" fmla="*/ 102380 w 622096"/>
                <a:gd name="connsiteY49" fmla="*/ 208287 h 420416"/>
                <a:gd name="connsiteX50" fmla="*/ 102100 w 622096"/>
                <a:gd name="connsiteY50" fmla="*/ 239199 h 420416"/>
                <a:gd name="connsiteX51" fmla="*/ 36368 w 622096"/>
                <a:gd name="connsiteY51" fmla="*/ 299506 h 420416"/>
                <a:gd name="connsiteX52" fmla="*/ 46002 w 622096"/>
                <a:gd name="connsiteY52" fmla="*/ 383906 h 420416"/>
                <a:gd name="connsiteX53" fmla="*/ 58427 w 622096"/>
                <a:gd name="connsiteY53" fmla="*/ 385724 h 420416"/>
                <a:gd name="connsiteX54" fmla="*/ 60166 w 622096"/>
                <a:gd name="connsiteY54" fmla="*/ 384044 h 420416"/>
                <a:gd name="connsiteX55" fmla="*/ 127891 w 622096"/>
                <a:gd name="connsiteY55" fmla="*/ 320866 h 420416"/>
                <a:gd name="connsiteX56" fmla="*/ 202240 w 622096"/>
                <a:gd name="connsiteY56" fmla="*/ 37681 h 420416"/>
                <a:gd name="connsiteX57" fmla="*/ 242956 w 622096"/>
                <a:gd name="connsiteY57" fmla="*/ 0 h 420416"/>
                <a:gd name="connsiteX58" fmla="*/ 244860 w 622096"/>
                <a:gd name="connsiteY58" fmla="*/ 4049 h 420416"/>
                <a:gd name="connsiteX59" fmla="*/ 244048 w 622096"/>
                <a:gd name="connsiteY59" fmla="*/ 5277 h 420416"/>
                <a:gd name="connsiteX60" fmla="*/ 77123 w 622096"/>
                <a:gd name="connsiteY60" fmla="*/ 185523 h 420416"/>
                <a:gd name="connsiteX61" fmla="*/ 63834 w 622096"/>
                <a:gd name="connsiteY61" fmla="*/ 193833 h 420416"/>
                <a:gd name="connsiteX62" fmla="*/ 39415 w 622096"/>
                <a:gd name="connsiteY62" fmla="*/ 281681 h 420416"/>
                <a:gd name="connsiteX63" fmla="*/ 80346 w 622096"/>
                <a:gd name="connsiteY63" fmla="*/ 246444 h 420416"/>
                <a:gd name="connsiteX64" fmla="*/ 86451 w 622096"/>
                <a:gd name="connsiteY64" fmla="*/ 197795 h 420416"/>
                <a:gd name="connsiteX65" fmla="*/ 77123 w 622096"/>
                <a:gd name="connsiteY65" fmla="*/ 185523 h 420416"/>
                <a:gd name="connsiteX66" fmla="*/ 415022 w 622096"/>
                <a:gd name="connsiteY66" fmla="*/ 203548 h 420416"/>
                <a:gd name="connsiteX67" fmla="*/ 378126 w 622096"/>
                <a:gd name="connsiteY67" fmla="*/ 212574 h 420416"/>
                <a:gd name="connsiteX68" fmla="*/ 346815 w 622096"/>
                <a:gd name="connsiteY68" fmla="*/ 331283 h 420416"/>
                <a:gd name="connsiteX69" fmla="*/ 360522 w 622096"/>
                <a:gd name="connsiteY69" fmla="*/ 382001 h 420416"/>
                <a:gd name="connsiteX70" fmla="*/ 395641 w 622096"/>
                <a:gd name="connsiteY70" fmla="*/ 361706 h 420416"/>
                <a:gd name="connsiteX71" fmla="*/ 415948 w 622096"/>
                <a:gd name="connsiteY71" fmla="*/ 208237 h 420416"/>
                <a:gd name="connsiteX72" fmla="*/ 566057 w 622096"/>
                <a:gd name="connsiteY72" fmla="*/ 207710 h 420416"/>
                <a:gd name="connsiteX73" fmla="*/ 530798 w 622096"/>
                <a:gd name="connsiteY73" fmla="*/ 243009 h 420416"/>
                <a:gd name="connsiteX74" fmla="*/ 529529 w 622096"/>
                <a:gd name="connsiteY74" fmla="*/ 378817 h 420416"/>
                <a:gd name="connsiteX75" fmla="*/ 533235 w 622096"/>
                <a:gd name="connsiteY75" fmla="*/ 388244 h 420416"/>
                <a:gd name="connsiteX76" fmla="*/ 558810 w 622096"/>
                <a:gd name="connsiteY76" fmla="*/ 371020 h 420416"/>
                <a:gd name="connsiteX77" fmla="*/ 581795 w 622096"/>
                <a:gd name="connsiteY77" fmla="*/ 223743 h 420416"/>
                <a:gd name="connsiteX78" fmla="*/ 566095 w 622096"/>
                <a:gd name="connsiteY78" fmla="*/ 207710 h 420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22096" h="420416">
                  <a:moveTo>
                    <a:pt x="244048" y="5277"/>
                  </a:moveTo>
                  <a:cubicBezTo>
                    <a:pt x="206061" y="28355"/>
                    <a:pt x="203738" y="76114"/>
                    <a:pt x="190170" y="115337"/>
                  </a:cubicBezTo>
                  <a:cubicBezTo>
                    <a:pt x="169609" y="194786"/>
                    <a:pt x="154633" y="286457"/>
                    <a:pt x="166055" y="372775"/>
                  </a:cubicBezTo>
                  <a:cubicBezTo>
                    <a:pt x="167605" y="376390"/>
                    <a:pt x="170696" y="379144"/>
                    <a:pt x="174496" y="380296"/>
                  </a:cubicBezTo>
                  <a:cubicBezTo>
                    <a:pt x="191129" y="369398"/>
                    <a:pt x="206191" y="356326"/>
                    <a:pt x="219273" y="341437"/>
                  </a:cubicBezTo>
                  <a:cubicBezTo>
                    <a:pt x="227853" y="228143"/>
                    <a:pt x="248757" y="118760"/>
                    <a:pt x="302545" y="23667"/>
                  </a:cubicBezTo>
                  <a:cubicBezTo>
                    <a:pt x="309829" y="12508"/>
                    <a:pt x="320920" y="4295"/>
                    <a:pt x="333806" y="514"/>
                  </a:cubicBezTo>
                  <a:cubicBezTo>
                    <a:pt x="336636" y="514"/>
                    <a:pt x="337613" y="5227"/>
                    <a:pt x="335633" y="7095"/>
                  </a:cubicBezTo>
                  <a:cubicBezTo>
                    <a:pt x="316443" y="14027"/>
                    <a:pt x="309780" y="30361"/>
                    <a:pt x="302964" y="49013"/>
                  </a:cubicBezTo>
                  <a:cubicBezTo>
                    <a:pt x="299197" y="58759"/>
                    <a:pt x="296018" y="68717"/>
                    <a:pt x="293445" y="78835"/>
                  </a:cubicBezTo>
                  <a:cubicBezTo>
                    <a:pt x="267185" y="170443"/>
                    <a:pt x="246358" y="270462"/>
                    <a:pt x="257717" y="371772"/>
                  </a:cubicBezTo>
                  <a:cubicBezTo>
                    <a:pt x="259570" y="376473"/>
                    <a:pt x="264241" y="382139"/>
                    <a:pt x="269927" y="380296"/>
                  </a:cubicBezTo>
                  <a:cubicBezTo>
                    <a:pt x="285184" y="370066"/>
                    <a:pt x="298419" y="357169"/>
                    <a:pt x="308980" y="342239"/>
                  </a:cubicBezTo>
                  <a:cubicBezTo>
                    <a:pt x="303214" y="285938"/>
                    <a:pt x="329984" y="231218"/>
                    <a:pt x="378228" y="200690"/>
                  </a:cubicBezTo>
                  <a:cubicBezTo>
                    <a:pt x="399780" y="188792"/>
                    <a:pt x="425822" y="187895"/>
                    <a:pt x="448161" y="198284"/>
                  </a:cubicBezTo>
                  <a:cubicBezTo>
                    <a:pt x="436742" y="251544"/>
                    <a:pt x="430553" y="305768"/>
                    <a:pt x="429681" y="360202"/>
                  </a:cubicBezTo>
                  <a:cubicBezTo>
                    <a:pt x="430316" y="366708"/>
                    <a:pt x="429529" y="377990"/>
                    <a:pt x="437030" y="382766"/>
                  </a:cubicBezTo>
                  <a:lnTo>
                    <a:pt x="444645" y="380961"/>
                  </a:lnTo>
                  <a:lnTo>
                    <a:pt x="491339" y="333590"/>
                  </a:lnTo>
                  <a:cubicBezTo>
                    <a:pt x="498791" y="257720"/>
                    <a:pt x="511158" y="182400"/>
                    <a:pt x="528362" y="108092"/>
                  </a:cubicBezTo>
                  <a:cubicBezTo>
                    <a:pt x="539048" y="74472"/>
                    <a:pt x="563963" y="27979"/>
                    <a:pt x="593332" y="24369"/>
                  </a:cubicBezTo>
                  <a:cubicBezTo>
                    <a:pt x="604171" y="33845"/>
                    <a:pt x="592228" y="28129"/>
                    <a:pt x="580031" y="39574"/>
                  </a:cubicBezTo>
                  <a:cubicBezTo>
                    <a:pt x="544722" y="77982"/>
                    <a:pt x="531725" y="152154"/>
                    <a:pt x="525455" y="215808"/>
                  </a:cubicBezTo>
                  <a:cubicBezTo>
                    <a:pt x="532702" y="217763"/>
                    <a:pt x="534073" y="216949"/>
                    <a:pt x="546295" y="207560"/>
                  </a:cubicBezTo>
                  <a:lnTo>
                    <a:pt x="590083" y="171420"/>
                  </a:lnTo>
                  <a:cubicBezTo>
                    <a:pt x="600465" y="170568"/>
                    <a:pt x="606011" y="182802"/>
                    <a:pt x="609717" y="190324"/>
                  </a:cubicBezTo>
                  <a:cubicBezTo>
                    <a:pt x="632177" y="244318"/>
                    <a:pt x="623681" y="306053"/>
                    <a:pt x="587443" y="352167"/>
                  </a:cubicBezTo>
                  <a:cubicBezTo>
                    <a:pt x="569021" y="379484"/>
                    <a:pt x="544530" y="402288"/>
                    <a:pt x="515835" y="418842"/>
                  </a:cubicBezTo>
                  <a:cubicBezTo>
                    <a:pt x="504412" y="422603"/>
                    <a:pt x="501340" y="418027"/>
                    <a:pt x="500604" y="417338"/>
                  </a:cubicBezTo>
                  <a:cubicBezTo>
                    <a:pt x="492189" y="406846"/>
                    <a:pt x="493674" y="378479"/>
                    <a:pt x="491986" y="356003"/>
                  </a:cubicBezTo>
                  <a:lnTo>
                    <a:pt x="489169" y="354097"/>
                  </a:lnTo>
                  <a:lnTo>
                    <a:pt x="416824" y="419983"/>
                  </a:lnTo>
                  <a:cubicBezTo>
                    <a:pt x="414946" y="419983"/>
                    <a:pt x="410021" y="421237"/>
                    <a:pt x="408359" y="418040"/>
                  </a:cubicBezTo>
                  <a:cubicBezTo>
                    <a:pt x="402734" y="406208"/>
                    <a:pt x="399327" y="393467"/>
                    <a:pt x="398307" y="380434"/>
                  </a:cubicBezTo>
                  <a:cubicBezTo>
                    <a:pt x="379269" y="391515"/>
                    <a:pt x="363112" y="409165"/>
                    <a:pt x="344137" y="420246"/>
                  </a:cubicBezTo>
                  <a:cubicBezTo>
                    <a:pt x="333730" y="421086"/>
                    <a:pt x="329046" y="408463"/>
                    <a:pt x="325454" y="400014"/>
                  </a:cubicBezTo>
                  <a:cubicBezTo>
                    <a:pt x="317319" y="379444"/>
                    <a:pt x="316570" y="374668"/>
                    <a:pt x="310681" y="359036"/>
                  </a:cubicBezTo>
                  <a:lnTo>
                    <a:pt x="242144" y="419331"/>
                  </a:lnTo>
                  <a:cubicBezTo>
                    <a:pt x="234529" y="423017"/>
                    <a:pt x="230137" y="414869"/>
                    <a:pt x="228183" y="408864"/>
                  </a:cubicBezTo>
                  <a:cubicBezTo>
                    <a:pt x="224332" y="392180"/>
                    <a:pt x="221602" y="375262"/>
                    <a:pt x="220009" y="358222"/>
                  </a:cubicBezTo>
                  <a:lnTo>
                    <a:pt x="216202" y="359149"/>
                  </a:lnTo>
                  <a:lnTo>
                    <a:pt x="149607" y="419469"/>
                  </a:lnTo>
                  <a:cubicBezTo>
                    <a:pt x="142550" y="421575"/>
                    <a:pt x="139986" y="418817"/>
                    <a:pt x="136470" y="410920"/>
                  </a:cubicBezTo>
                  <a:cubicBezTo>
                    <a:pt x="130416" y="397332"/>
                    <a:pt x="130696" y="366946"/>
                    <a:pt x="127586" y="346188"/>
                  </a:cubicBezTo>
                  <a:lnTo>
                    <a:pt x="123778" y="346188"/>
                  </a:lnTo>
                  <a:cubicBezTo>
                    <a:pt x="92404" y="370268"/>
                    <a:pt x="64722" y="401882"/>
                    <a:pt x="29616" y="420309"/>
                  </a:cubicBezTo>
                  <a:cubicBezTo>
                    <a:pt x="24895" y="421186"/>
                    <a:pt x="21151" y="416548"/>
                    <a:pt x="19298" y="412713"/>
                  </a:cubicBezTo>
                  <a:cubicBezTo>
                    <a:pt x="-11265" y="346839"/>
                    <a:pt x="-6619" y="252261"/>
                    <a:pt x="41090" y="197431"/>
                  </a:cubicBezTo>
                  <a:cubicBezTo>
                    <a:pt x="46839" y="191364"/>
                    <a:pt x="63859" y="170656"/>
                    <a:pt x="83177" y="178829"/>
                  </a:cubicBezTo>
                  <a:cubicBezTo>
                    <a:pt x="94066" y="182589"/>
                    <a:pt x="99181" y="191226"/>
                    <a:pt x="102380" y="208287"/>
                  </a:cubicBezTo>
                  <a:cubicBezTo>
                    <a:pt x="105640" y="218355"/>
                    <a:pt x="105542" y="229191"/>
                    <a:pt x="102100" y="239199"/>
                  </a:cubicBezTo>
                  <a:lnTo>
                    <a:pt x="36368" y="299506"/>
                  </a:lnTo>
                  <a:cubicBezTo>
                    <a:pt x="31849" y="327984"/>
                    <a:pt x="35177" y="357137"/>
                    <a:pt x="46002" y="383906"/>
                  </a:cubicBezTo>
                  <a:cubicBezTo>
                    <a:pt x="48926" y="387796"/>
                    <a:pt x="54488" y="388610"/>
                    <a:pt x="58427" y="385724"/>
                  </a:cubicBezTo>
                  <a:cubicBezTo>
                    <a:pt x="59086" y="385249"/>
                    <a:pt x="59671" y="384684"/>
                    <a:pt x="60166" y="384044"/>
                  </a:cubicBezTo>
                  <a:lnTo>
                    <a:pt x="127891" y="320866"/>
                  </a:lnTo>
                  <a:cubicBezTo>
                    <a:pt x="138235" y="220734"/>
                    <a:pt x="157082" y="123460"/>
                    <a:pt x="202240" y="37681"/>
                  </a:cubicBezTo>
                  <a:cubicBezTo>
                    <a:pt x="207584" y="27791"/>
                    <a:pt x="225314" y="752"/>
                    <a:pt x="242956" y="0"/>
                  </a:cubicBezTo>
                  <a:cubicBezTo>
                    <a:pt x="244613" y="600"/>
                    <a:pt x="245466" y="2412"/>
                    <a:pt x="244860" y="4049"/>
                  </a:cubicBezTo>
                  <a:cubicBezTo>
                    <a:pt x="244685" y="4513"/>
                    <a:pt x="244408" y="4933"/>
                    <a:pt x="244048" y="5277"/>
                  </a:cubicBezTo>
                  <a:close/>
                  <a:moveTo>
                    <a:pt x="77123" y="185523"/>
                  </a:moveTo>
                  <a:cubicBezTo>
                    <a:pt x="72174" y="187387"/>
                    <a:pt x="67656" y="190212"/>
                    <a:pt x="63834" y="193833"/>
                  </a:cubicBezTo>
                  <a:cubicBezTo>
                    <a:pt x="49780" y="221191"/>
                    <a:pt x="41473" y="251072"/>
                    <a:pt x="39415" y="281681"/>
                  </a:cubicBezTo>
                  <a:cubicBezTo>
                    <a:pt x="54543" y="269772"/>
                    <a:pt x="67959" y="257588"/>
                    <a:pt x="80346" y="246444"/>
                  </a:cubicBezTo>
                  <a:lnTo>
                    <a:pt x="86451" y="197795"/>
                  </a:lnTo>
                  <a:cubicBezTo>
                    <a:pt x="89383" y="190324"/>
                    <a:pt x="84738" y="185598"/>
                    <a:pt x="77123" y="185523"/>
                  </a:cubicBezTo>
                  <a:close/>
                  <a:moveTo>
                    <a:pt x="415022" y="203548"/>
                  </a:moveTo>
                  <a:cubicBezTo>
                    <a:pt x="401860" y="195939"/>
                    <a:pt x="388623" y="202759"/>
                    <a:pt x="378126" y="212574"/>
                  </a:cubicBezTo>
                  <a:cubicBezTo>
                    <a:pt x="347665" y="241405"/>
                    <a:pt x="343414" y="289039"/>
                    <a:pt x="346815" y="331283"/>
                  </a:cubicBezTo>
                  <a:cubicBezTo>
                    <a:pt x="346815" y="335320"/>
                    <a:pt x="349036" y="369528"/>
                    <a:pt x="360522" y="382001"/>
                  </a:cubicBezTo>
                  <a:cubicBezTo>
                    <a:pt x="374826" y="383255"/>
                    <a:pt x="386122" y="370055"/>
                    <a:pt x="395641" y="361706"/>
                  </a:cubicBezTo>
                  <a:cubicBezTo>
                    <a:pt x="400832" y="310224"/>
                    <a:pt x="406950" y="258754"/>
                    <a:pt x="415948" y="208237"/>
                  </a:cubicBezTo>
                  <a:close/>
                  <a:moveTo>
                    <a:pt x="566057" y="207710"/>
                  </a:moveTo>
                  <a:cubicBezTo>
                    <a:pt x="549631" y="213798"/>
                    <a:pt x="536740" y="226705"/>
                    <a:pt x="530798" y="243009"/>
                  </a:cubicBezTo>
                  <a:cubicBezTo>
                    <a:pt x="520036" y="286006"/>
                    <a:pt x="527118" y="334781"/>
                    <a:pt x="529529" y="378817"/>
                  </a:cubicBezTo>
                  <a:lnTo>
                    <a:pt x="533235" y="388244"/>
                  </a:lnTo>
                  <a:cubicBezTo>
                    <a:pt x="542526" y="387918"/>
                    <a:pt x="553695" y="376962"/>
                    <a:pt x="558810" y="371020"/>
                  </a:cubicBezTo>
                  <a:cubicBezTo>
                    <a:pt x="596467" y="329654"/>
                    <a:pt x="589880" y="272530"/>
                    <a:pt x="581795" y="223743"/>
                  </a:cubicBezTo>
                  <a:cubicBezTo>
                    <a:pt x="581160" y="219982"/>
                    <a:pt x="579257" y="203761"/>
                    <a:pt x="566095" y="207710"/>
                  </a:cubicBezTo>
                  <a:close/>
                </a:path>
              </a:pathLst>
            </a:custGeom>
            <a:solidFill>
              <a:srgbClr val="FFFFFF"/>
            </a:solidFill>
            <a:ln w="12664" cap="flat">
              <a:noFill/>
              <a:prstDash val="solid"/>
              <a:miter/>
            </a:ln>
          </p:spPr>
          <p:txBody>
            <a:bodyPr rtlCol="0" anchor="ctr"/>
            <a:lstStyle/>
            <a:p>
              <a:endParaRPr lang="en-US"/>
            </a:p>
          </p:txBody>
        </p:sp>
      </p:grpSp>
    </p:spTree>
    <p:extLst>
      <p:ext uri="{BB962C8B-B14F-4D97-AF65-F5344CB8AC3E}">
        <p14:creationId xmlns:p14="http://schemas.microsoft.com/office/powerpoint/2010/main" val="1102290841"/>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nodePh="1" p14:presetBounceEnd="50000">
                                      <p:stCondLst>
                                        <p:cond delay="0"/>
                                      </p:stCondLst>
                                      <p:endCondLst>
                                        <p:cond evt="begin" delay="0">
                                          <p:tn val="5"/>
                                        </p:cond>
                                      </p:endCondLst>
                                      <p:childTnLst>
                                        <p:set>
                                          <p:cBhvr>
                                            <p:cTn id="6" dur="1" fill="hold">
                                              <p:stCondLst>
                                                <p:cond delay="0"/>
                                              </p:stCondLst>
                                            </p:cTn>
                                            <p:tgtEl>
                                              <p:spTgt spid="17"/>
                                            </p:tgtEl>
                                            <p:attrNameLst>
                                              <p:attrName>style.visibility</p:attrName>
                                            </p:attrNameLst>
                                          </p:cBhvr>
                                          <p:to>
                                            <p:strVal val="visible"/>
                                          </p:to>
                                        </p:set>
                                        <p:anim calcmode="lin" valueType="num" p14:bounceEnd="50000">
                                          <p:cBhvr additive="base">
                                            <p:cTn id="7" dur="500" fill="hold"/>
                                            <p:tgtEl>
                                              <p:spTgt spid="1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nodePh="1" p14:presetBounceEnd="50000">
                                      <p:stCondLst>
                                        <p:cond delay="0"/>
                                      </p:stCondLst>
                                      <p:endCondLst>
                                        <p:cond evt="begin" delay="0">
                                          <p:tn val="9"/>
                                        </p:cond>
                                      </p:endCondLst>
                                      <p:childTnLst>
                                        <p:set>
                                          <p:cBhvr>
                                            <p:cTn id="10" dur="1" fill="hold">
                                              <p:stCondLst>
                                                <p:cond delay="0"/>
                                              </p:stCondLst>
                                            </p:cTn>
                                            <p:tgtEl>
                                              <p:spTgt spid="18"/>
                                            </p:tgtEl>
                                            <p:attrNameLst>
                                              <p:attrName>style.visibility</p:attrName>
                                            </p:attrNameLst>
                                          </p:cBhvr>
                                          <p:to>
                                            <p:strVal val="visible"/>
                                          </p:to>
                                        </p:set>
                                        <p:anim calcmode="lin" valueType="num" p14:bounceEnd="50000">
                                          <p:cBhvr additive="base">
                                            <p:cTn id="11" dur="500" fill="hold"/>
                                            <p:tgtEl>
                                              <p:spTgt spid="18"/>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nodePh="1">
                                      <p:stCondLst>
                                        <p:cond delay="0"/>
                                      </p:stCondLst>
                                      <p:endCondLst>
                                        <p:cond evt="begin" delay="0">
                                          <p:tn val="5"/>
                                        </p:cond>
                                      </p:end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0-#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nodePh="1">
                                      <p:stCondLst>
                                        <p:cond delay="0"/>
                                      </p:stCondLst>
                                      <p:endCondLst>
                                        <p:cond evt="begin" delay="0">
                                          <p:tn val="9"/>
                                        </p:cond>
                                      </p:end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1+#ppt_w/2"/>
                                              </p:val>
                                            </p:tav>
                                            <p:tav tm="100000">
                                              <p:val>
                                                <p:strVal val="#ppt_x"/>
                                              </p:val>
                                            </p:tav>
                                          </p:tavLst>
                                        </p:anim>
                                        <p:anim calcmode="lin" valueType="num">
                                          <p:cBhvr additive="base">
                                            <p:cTn id="12"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dirty="0"/>
              <a:t>Insert Your Title Here</a:t>
            </a:r>
          </a:p>
        </p:txBody>
      </p:sp>
    </p:spTree>
    <p:extLst>
      <p:ext uri="{BB962C8B-B14F-4D97-AF65-F5344CB8AC3E}">
        <p14:creationId xmlns:p14="http://schemas.microsoft.com/office/powerpoint/2010/main" val="305279792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dirty="0"/>
              <a:t>Insert Your Title Here</a:t>
            </a:r>
          </a:p>
        </p:txBody>
      </p:sp>
    </p:spTree>
    <p:extLst>
      <p:ext uri="{BB962C8B-B14F-4D97-AF65-F5344CB8AC3E}">
        <p14:creationId xmlns:p14="http://schemas.microsoft.com/office/powerpoint/2010/main" val="242877602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hite content slide 1">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lvl1pPr>
          </a:lstStyle>
          <a:p>
            <a:r>
              <a:rPr lang="da-DK" dirty="0"/>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dirty="0"/>
          </a:p>
        </p:txBody>
      </p:sp>
      <p:pic>
        <p:nvPicPr>
          <p:cNvPr id="6" name="Billede 5">
            <a:extLst>
              <a:ext uri="{FF2B5EF4-FFF2-40B4-BE49-F238E27FC236}">
                <a16:creationId xmlns:a16="http://schemas.microsoft.com/office/drawing/2014/main" id="{C6876B20-1E4A-5FDF-79AA-90606B7B7E0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02702077"/>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 content slide 2">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2520000"/>
            <a:ext cx="6464040" cy="3644964"/>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sp>
        <p:nvSpPr>
          <p:cNvPr id="27" name="Pladsholder til tekst 3"/>
          <p:cNvSpPr>
            <a:spLocks noGrp="1"/>
          </p:cNvSpPr>
          <p:nvPr>
            <p:ph type="body" sz="half" idx="2"/>
          </p:nvPr>
        </p:nvSpPr>
        <p:spPr>
          <a:xfrm>
            <a:off x="371476" y="1566000"/>
            <a:ext cx="6464040"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6464040" cy="365125"/>
          </a:xfrm>
        </p:spPr>
        <p:txBody>
          <a:bodyPr wrap="square">
            <a:noAutofit/>
          </a:bodyPr>
          <a:lstStyle>
            <a:lvl1pPr>
              <a:lnSpc>
                <a:spcPts val="3800"/>
              </a:lnSpc>
              <a:defRPr sz="3600"/>
            </a:lvl1pPr>
          </a:lstStyle>
          <a:p>
            <a:r>
              <a:rPr lang="da-DK" dirty="0"/>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7532688" y="935999"/>
            <a:ext cx="4324350" cy="5228965"/>
          </a:xfrm>
        </p:spPr>
        <p:txBody>
          <a:bodyPr/>
          <a:lstStyle/>
          <a:p>
            <a:r>
              <a:rPr lang="da-DK"/>
              <a:t>Klik på ikonet for at tilføje et billede</a:t>
            </a:r>
            <a:endParaRPr lang="da-DK" dirty="0"/>
          </a:p>
        </p:txBody>
      </p:sp>
      <p:pic>
        <p:nvPicPr>
          <p:cNvPr id="4" name="Billede 5">
            <a:extLst>
              <a:ext uri="{FF2B5EF4-FFF2-40B4-BE49-F238E27FC236}">
                <a16:creationId xmlns:a16="http://schemas.microsoft.com/office/drawing/2014/main" id="{FE58F630-A0D5-4635-7102-2A2F6E3C831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321893462"/>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41" Type="http://schemas.openxmlformats.org/officeDocument/2006/relationships/slideLayout" Target="../slideLayouts/slideLayout57.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4" Type="http://schemas.openxmlformats.org/officeDocument/2006/relationships/theme" Target="../theme/theme3.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8" Type="http://schemas.openxmlformats.org/officeDocument/2006/relationships/slideLayout" Target="../slideLayouts/slideLayout24.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dirty="0"/>
              <a:t>Click to add text</a:t>
            </a:r>
          </a:p>
          <a:p>
            <a:pPr lvl="1"/>
            <a:r>
              <a:rPr lang="en-US" altLang="da-DK" noProof="0" dirty="0"/>
              <a:t>Second level</a:t>
            </a:r>
          </a:p>
          <a:p>
            <a:pPr lvl="2"/>
            <a:r>
              <a:rPr lang="en-US" altLang="da-DK" noProof="0" dirty="0"/>
              <a:t>Third level</a:t>
            </a:r>
          </a:p>
          <a:p>
            <a:pPr lvl="3"/>
            <a:r>
              <a:rPr lang="en-US" altLang="da-DK" noProof="0" dirty="0"/>
              <a:t>Fourth level</a:t>
            </a:r>
          </a:p>
          <a:p>
            <a:pPr lvl="4"/>
            <a:r>
              <a:rPr lang="en-US" altLang="da-DK" noProof="0" dirty="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dirty="0"/>
              <a:t>Click to add text</a:t>
            </a:r>
          </a:p>
        </p:txBody>
      </p:sp>
    </p:spTree>
    <p:extLst>
      <p:ext uri="{BB962C8B-B14F-4D97-AF65-F5344CB8AC3E}">
        <p14:creationId xmlns:p14="http://schemas.microsoft.com/office/powerpoint/2010/main" val="3046822313"/>
      </p:ext>
    </p:extLst>
  </p:cSld>
  <p:clrMap bg1="lt1" tx1="dk1" bg2="lt2" tx2="dk2" accent1="accent1" accent2="accent2" accent3="accent3" accent4="accent4" accent5="accent5" accent6="accent6" hlink="hlink" folHlink="folHlink"/>
  <p:sldLayoutIdLst>
    <p:sldLayoutId id="2147483901" r:id="rId1"/>
    <p:sldLayoutId id="2147483918" r:id="rId2"/>
    <p:sldLayoutId id="2147483902" r:id="rId3"/>
    <p:sldLayoutId id="2147483903" r:id="rId4"/>
    <p:sldLayoutId id="2147483904" r:id="rId5"/>
    <p:sldLayoutId id="2147483905" r:id="rId6"/>
    <p:sldLayoutId id="2147483906" r:id="rId7"/>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dirty="0"/>
              <a:t>Click to add text</a:t>
            </a:r>
          </a:p>
          <a:p>
            <a:pPr lvl="1"/>
            <a:r>
              <a:rPr lang="en-US" altLang="da-DK" noProof="0" dirty="0"/>
              <a:t>Second level</a:t>
            </a:r>
          </a:p>
          <a:p>
            <a:pPr lvl="2"/>
            <a:r>
              <a:rPr lang="en-US" altLang="da-DK" noProof="0" dirty="0"/>
              <a:t>Third level</a:t>
            </a:r>
          </a:p>
          <a:p>
            <a:pPr lvl="3"/>
            <a:r>
              <a:rPr lang="en-US" altLang="da-DK" noProof="0" dirty="0"/>
              <a:t>Fourth level</a:t>
            </a:r>
          </a:p>
          <a:p>
            <a:pPr lvl="4"/>
            <a:r>
              <a:rPr lang="en-US" altLang="da-DK" noProof="0" dirty="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dirty="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a:t>
            </a:fld>
            <a:endParaRPr lang="da-DK" sz="1400" dirty="0">
              <a:solidFill>
                <a:schemeClr val="accent1"/>
              </a:solidFill>
              <a:latin typeface="+mn-lt"/>
            </a:endParaRPr>
          </a:p>
        </p:txBody>
      </p:sp>
    </p:spTree>
    <p:extLst>
      <p:ext uri="{BB962C8B-B14F-4D97-AF65-F5344CB8AC3E}">
        <p14:creationId xmlns:p14="http://schemas.microsoft.com/office/powerpoint/2010/main" val="166638926"/>
      </p:ext>
    </p:extLst>
  </p:cSld>
  <p:clrMap bg1="lt1" tx1="dk1" bg2="lt2" tx2="dk2" accent1="accent1" accent2="accent2" accent3="accent3" accent4="accent4" accent5="accent5" accent6="accent6" hlink="hlink" folHlink="folHlink"/>
  <p:sldLayoutIdLst>
    <p:sldLayoutId id="2147483856" r:id="rId1"/>
    <p:sldLayoutId id="2147483887" r:id="rId2"/>
    <p:sldLayoutId id="2147483889" r:id="rId3"/>
    <p:sldLayoutId id="2147483888" r:id="rId4"/>
    <p:sldLayoutId id="2147483956" r:id="rId5"/>
    <p:sldLayoutId id="2147483957" r:id="rId6"/>
    <p:sldLayoutId id="2147483958" r:id="rId7"/>
    <p:sldLayoutId id="2147483959" r:id="rId8"/>
    <p:sldLayoutId id="2147483960" r:id="rId9"/>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93"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9" orient="horz" pos="278" userDrawn="1">
          <p15:clr>
            <a:srgbClr val="F26B43"/>
          </p15:clr>
        </p15:guide>
        <p15:guide id="10" orient="horz" pos="3884" userDrawn="1">
          <p15:clr>
            <a:srgbClr val="F26B43"/>
          </p15:clr>
        </p15:guide>
        <p15:guide id="11" orient="horz" pos="9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dirty="0"/>
              <a:t>Click to add text</a:t>
            </a:r>
          </a:p>
          <a:p>
            <a:pPr lvl="1"/>
            <a:r>
              <a:rPr lang="en-US" altLang="da-DK" noProof="0" dirty="0"/>
              <a:t>Second level</a:t>
            </a:r>
          </a:p>
          <a:p>
            <a:pPr lvl="2"/>
            <a:r>
              <a:rPr lang="en-US" altLang="da-DK" noProof="0" dirty="0"/>
              <a:t>Third level</a:t>
            </a:r>
          </a:p>
          <a:p>
            <a:pPr lvl="3"/>
            <a:r>
              <a:rPr lang="en-US" altLang="da-DK" noProof="0" dirty="0"/>
              <a:t>Fourth level</a:t>
            </a:r>
          </a:p>
          <a:p>
            <a:pPr lvl="4"/>
            <a:r>
              <a:rPr lang="en-US" altLang="da-DK" noProof="0" dirty="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dirty="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a:t>
            </a:fld>
            <a:endParaRPr lang="da-DK" sz="1400" dirty="0">
              <a:solidFill>
                <a:schemeClr val="bg2"/>
              </a:solidFill>
              <a:latin typeface="+mn-lt"/>
            </a:endParaRPr>
          </a:p>
        </p:txBody>
      </p:sp>
    </p:spTree>
    <p:extLst>
      <p:ext uri="{BB962C8B-B14F-4D97-AF65-F5344CB8AC3E}">
        <p14:creationId xmlns:p14="http://schemas.microsoft.com/office/powerpoint/2010/main" val="2861826084"/>
      </p:ext>
    </p:extLst>
  </p:cSld>
  <p:clrMap bg1="lt1" tx1="dk1" bg2="lt2" tx2="dk2" accent1="accent1" accent2="accent2" accent3="accent3" accent4="accent4" accent5="accent5" accent6="accent6" hlink="hlink" folHlink="folHlink"/>
  <p:sldLayoutIdLst>
    <p:sldLayoutId id="2147483912" r:id="rId1"/>
    <p:sldLayoutId id="2147483919" r:id="rId2"/>
    <p:sldLayoutId id="2147483913" r:id="rId3"/>
    <p:sldLayoutId id="2147483914" r:id="rId4"/>
    <p:sldLayoutId id="2147483915" r:id="rId5"/>
    <p:sldLayoutId id="2147483916" r:id="rId6"/>
    <p:sldLayoutId id="2147483917"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3934" r:id="rId22"/>
    <p:sldLayoutId id="2147483935" r:id="rId23"/>
    <p:sldLayoutId id="2147483936" r:id="rId24"/>
    <p:sldLayoutId id="2147483937" r:id="rId25"/>
    <p:sldLayoutId id="2147483938" r:id="rId26"/>
    <p:sldLayoutId id="2147483939" r:id="rId27"/>
    <p:sldLayoutId id="2147483940" r:id="rId28"/>
    <p:sldLayoutId id="2147483941" r:id="rId29"/>
    <p:sldLayoutId id="2147483942" r:id="rId30"/>
    <p:sldLayoutId id="2147483943" r:id="rId31"/>
    <p:sldLayoutId id="2147483944" r:id="rId32"/>
    <p:sldLayoutId id="2147483945" r:id="rId33"/>
    <p:sldLayoutId id="2147483946" r:id="rId34"/>
    <p:sldLayoutId id="2147483947" r:id="rId35"/>
    <p:sldLayoutId id="2147483948" r:id="rId36"/>
    <p:sldLayoutId id="2147483949" r:id="rId37"/>
    <p:sldLayoutId id="2147483950" r:id="rId38"/>
    <p:sldLayoutId id="2147483951" r:id="rId39"/>
    <p:sldLayoutId id="2147483952" r:id="rId40"/>
    <p:sldLayoutId id="2147483953" r:id="rId41"/>
    <p:sldLayoutId id="2147483954" r:id="rId42"/>
    <p:sldLayoutId id="2147483955" r:id="rId43"/>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75.png"/><Relationship Id="rId4" Type="http://schemas.openxmlformats.org/officeDocument/2006/relationships/image" Target="../media/image74.png"/></Relationships>
</file>

<file path=ppt/slides/_rels/slide1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2.png"/><Relationship Id="rId3" Type="http://schemas.openxmlformats.org/officeDocument/2006/relationships/image" Target="../media/image85.png"/><Relationship Id="rId7" Type="http://schemas.openxmlformats.org/officeDocument/2006/relationships/image" Target="../media/image89.png"/><Relationship Id="rId12" Type="http://schemas.microsoft.com/office/2007/relationships/hdphoto" Target="../media/hdphoto3.wdp"/><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88.svg"/><Relationship Id="rId11" Type="http://schemas.openxmlformats.org/officeDocument/2006/relationships/image" Target="../media/image91.png"/><Relationship Id="rId5" Type="http://schemas.openxmlformats.org/officeDocument/2006/relationships/image" Target="../media/image87.png"/><Relationship Id="rId15" Type="http://schemas.openxmlformats.org/officeDocument/2006/relationships/image" Target="../media/image93.jpeg"/><Relationship Id="rId10" Type="http://schemas.microsoft.com/office/2007/relationships/hdphoto" Target="../media/hdphoto2.wdp"/><Relationship Id="rId4" Type="http://schemas.openxmlformats.org/officeDocument/2006/relationships/image" Target="../media/image86.svg"/><Relationship Id="rId9" Type="http://schemas.openxmlformats.org/officeDocument/2006/relationships/image" Target="../media/image90.png"/><Relationship Id="rId14" Type="http://schemas.microsoft.com/office/2007/relationships/hdphoto" Target="../media/hdphoto4.wdp"/></Relationships>
</file>

<file path=ppt/slides/_rels/slide2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2.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03.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microsoft.com/office/2007/relationships/hdphoto" Target="../media/hdphoto7.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000.png"/><Relationship Id="rId18" Type="http://schemas.openxmlformats.org/officeDocument/2006/relationships/image" Target="../media/image115.png"/><Relationship Id="rId3" Type="http://schemas.openxmlformats.org/officeDocument/2006/relationships/slide" Target="slide40.xml"/><Relationship Id="rId21" Type="http://schemas.openxmlformats.org/officeDocument/2006/relationships/image" Target="../media/image118.svg"/><Relationship Id="rId7" Type="http://schemas.openxmlformats.org/officeDocument/2006/relationships/image" Target="../media/image980.png"/><Relationship Id="rId12" Type="http://schemas.openxmlformats.org/officeDocument/2006/relationships/slide" Target="slide37.xml"/><Relationship Id="rId17" Type="http://schemas.openxmlformats.org/officeDocument/2006/relationships/image" Target="../media/image114.svg"/><Relationship Id="rId2" Type="http://schemas.openxmlformats.org/officeDocument/2006/relationships/image" Target="../media/image107.png"/><Relationship Id="rId16" Type="http://schemas.openxmlformats.org/officeDocument/2006/relationships/image" Target="../media/image113.png"/><Relationship Id="rId20" Type="http://schemas.openxmlformats.org/officeDocument/2006/relationships/image" Target="../media/image117.png"/><Relationship Id="rId1" Type="http://schemas.openxmlformats.org/officeDocument/2006/relationships/slideLayout" Target="../slideLayouts/slideLayout8.xml"/><Relationship Id="rId6" Type="http://schemas.openxmlformats.org/officeDocument/2006/relationships/slide" Target="slide39.xml"/><Relationship Id="rId11" Type="http://schemas.openxmlformats.org/officeDocument/2006/relationships/image" Target="../media/image110.png"/><Relationship Id="rId5" Type="http://schemas.openxmlformats.org/officeDocument/2006/relationships/image" Target="../media/image108.png"/><Relationship Id="rId15" Type="http://schemas.openxmlformats.org/officeDocument/2006/relationships/image" Target="../media/image112.svg"/><Relationship Id="rId23" Type="http://schemas.openxmlformats.org/officeDocument/2006/relationships/image" Target="../media/image120.svg"/><Relationship Id="rId10" Type="http://schemas.openxmlformats.org/officeDocument/2006/relationships/image" Target="../media/image990.png"/><Relationship Id="rId19" Type="http://schemas.openxmlformats.org/officeDocument/2006/relationships/image" Target="../media/image116.svg"/><Relationship Id="rId4" Type="http://schemas.openxmlformats.org/officeDocument/2006/relationships/image" Target="../media/image970.png"/><Relationship Id="rId9" Type="http://schemas.openxmlformats.org/officeDocument/2006/relationships/slide" Target="slide38.xml"/><Relationship Id="rId14" Type="http://schemas.openxmlformats.org/officeDocument/2006/relationships/image" Target="../media/image111.png"/><Relationship Id="rId22" Type="http://schemas.openxmlformats.org/officeDocument/2006/relationships/image" Target="../media/image119.png"/></Relationships>
</file>

<file path=ppt/slides/_rels/slide4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2.xml"/><Relationship Id="rId1" Type="http://schemas.openxmlformats.org/officeDocument/2006/relationships/slideLayout" Target="../slideLayouts/slideLayout8.xml"/><Relationship Id="rId4" Type="http://schemas.openxmlformats.org/officeDocument/2006/relationships/image" Target="../media/image123.png"/></Relationships>
</file>

<file path=ppt/slides/_rels/slide44.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8.xml"/><Relationship Id="rId1" Type="http://schemas.openxmlformats.org/officeDocument/2006/relationships/tags" Target="../tags/tag42.xml"/><Relationship Id="rId4" Type="http://schemas.openxmlformats.org/officeDocument/2006/relationships/image" Target="../media/image125.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27.png"/><Relationship Id="rId2" Type="http://schemas.openxmlformats.org/officeDocument/2006/relationships/slideLayout" Target="../slideLayouts/slideLayout8.xml"/><Relationship Id="rId1" Type="http://schemas.openxmlformats.org/officeDocument/2006/relationships/tags" Target="../tags/tag43.xml"/><Relationship Id="rId6" Type="http://schemas.openxmlformats.org/officeDocument/2006/relationships/image" Target="../media/image126.png"/><Relationship Id="rId5" Type="http://schemas.openxmlformats.org/officeDocument/2006/relationships/image" Target="../media/image125.emf"/><Relationship Id="rId4" Type="http://schemas.openxmlformats.org/officeDocument/2006/relationships/oleObject" Target="../embeddings/oleObject16.bin"/></Relationships>
</file>

<file path=ppt/slides/_rels/slide47.xml.rels><?xml version="1.0" encoding="UTF-8" standalone="yes"?>
<Relationships xmlns="http://schemas.openxmlformats.org/package/2006/relationships"><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tags" Target="../tags/tag69.xml"/><Relationship Id="rId39" Type="http://schemas.openxmlformats.org/officeDocument/2006/relationships/tags" Target="../tags/tag82.xml"/><Relationship Id="rId21" Type="http://schemas.openxmlformats.org/officeDocument/2006/relationships/tags" Target="../tags/tag64.xml"/><Relationship Id="rId34" Type="http://schemas.openxmlformats.org/officeDocument/2006/relationships/tags" Target="../tags/tag77.xml"/><Relationship Id="rId42" Type="http://schemas.openxmlformats.org/officeDocument/2006/relationships/tags" Target="../tags/tag85.xml"/><Relationship Id="rId47" Type="http://schemas.openxmlformats.org/officeDocument/2006/relationships/tags" Target="../tags/tag90.xml"/><Relationship Id="rId50" Type="http://schemas.openxmlformats.org/officeDocument/2006/relationships/slideLayout" Target="../slideLayouts/slideLayout8.xml"/><Relationship Id="rId55" Type="http://schemas.openxmlformats.org/officeDocument/2006/relationships/chart" Target="../charts/chart6.xml"/><Relationship Id="rId7" Type="http://schemas.openxmlformats.org/officeDocument/2006/relationships/tags" Target="../tags/tag50.xml"/><Relationship Id="rId2" Type="http://schemas.openxmlformats.org/officeDocument/2006/relationships/tags" Target="../tags/tag45.xml"/><Relationship Id="rId16" Type="http://schemas.openxmlformats.org/officeDocument/2006/relationships/tags" Target="../tags/tag59.xml"/><Relationship Id="rId29" Type="http://schemas.openxmlformats.org/officeDocument/2006/relationships/tags" Target="../tags/tag72.xml"/><Relationship Id="rId11" Type="http://schemas.openxmlformats.org/officeDocument/2006/relationships/tags" Target="../tags/tag54.xml"/><Relationship Id="rId24" Type="http://schemas.openxmlformats.org/officeDocument/2006/relationships/tags" Target="../tags/tag67.xml"/><Relationship Id="rId32" Type="http://schemas.openxmlformats.org/officeDocument/2006/relationships/tags" Target="../tags/tag75.xml"/><Relationship Id="rId37" Type="http://schemas.openxmlformats.org/officeDocument/2006/relationships/tags" Target="../tags/tag80.xml"/><Relationship Id="rId40" Type="http://schemas.openxmlformats.org/officeDocument/2006/relationships/tags" Target="../tags/tag83.xml"/><Relationship Id="rId45" Type="http://schemas.openxmlformats.org/officeDocument/2006/relationships/tags" Target="../tags/tag88.xml"/><Relationship Id="rId53" Type="http://schemas.openxmlformats.org/officeDocument/2006/relationships/chart" Target="../charts/chart4.xml"/><Relationship Id="rId5" Type="http://schemas.openxmlformats.org/officeDocument/2006/relationships/tags" Target="../tags/tag48.xml"/><Relationship Id="rId10" Type="http://schemas.openxmlformats.org/officeDocument/2006/relationships/tags" Target="../tags/tag53.xml"/><Relationship Id="rId19" Type="http://schemas.openxmlformats.org/officeDocument/2006/relationships/tags" Target="../tags/tag62.xml"/><Relationship Id="rId31" Type="http://schemas.openxmlformats.org/officeDocument/2006/relationships/tags" Target="../tags/tag74.xml"/><Relationship Id="rId44" Type="http://schemas.openxmlformats.org/officeDocument/2006/relationships/tags" Target="../tags/tag87.xml"/><Relationship Id="rId52" Type="http://schemas.openxmlformats.org/officeDocument/2006/relationships/image" Target="../media/image125.emf"/><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tags" Target="../tags/tag70.xml"/><Relationship Id="rId30" Type="http://schemas.openxmlformats.org/officeDocument/2006/relationships/tags" Target="../tags/tag73.xml"/><Relationship Id="rId35" Type="http://schemas.openxmlformats.org/officeDocument/2006/relationships/tags" Target="../tags/tag78.xml"/><Relationship Id="rId43" Type="http://schemas.openxmlformats.org/officeDocument/2006/relationships/tags" Target="../tags/tag86.xml"/><Relationship Id="rId48" Type="http://schemas.openxmlformats.org/officeDocument/2006/relationships/tags" Target="../tags/tag91.xml"/><Relationship Id="rId56" Type="http://schemas.openxmlformats.org/officeDocument/2006/relationships/chart" Target="../charts/chart7.xml"/><Relationship Id="rId8" Type="http://schemas.openxmlformats.org/officeDocument/2006/relationships/tags" Target="../tags/tag51.xml"/><Relationship Id="rId51" Type="http://schemas.openxmlformats.org/officeDocument/2006/relationships/oleObject" Target="../embeddings/oleObject17.bin"/><Relationship Id="rId3" Type="http://schemas.openxmlformats.org/officeDocument/2006/relationships/tags" Target="../tags/tag46.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tags" Target="../tags/tag68.xml"/><Relationship Id="rId33" Type="http://schemas.openxmlformats.org/officeDocument/2006/relationships/tags" Target="../tags/tag76.xml"/><Relationship Id="rId38" Type="http://schemas.openxmlformats.org/officeDocument/2006/relationships/tags" Target="../tags/tag81.xml"/><Relationship Id="rId46" Type="http://schemas.openxmlformats.org/officeDocument/2006/relationships/tags" Target="../tags/tag89.xml"/><Relationship Id="rId20" Type="http://schemas.openxmlformats.org/officeDocument/2006/relationships/tags" Target="../tags/tag63.xml"/><Relationship Id="rId41" Type="http://schemas.openxmlformats.org/officeDocument/2006/relationships/tags" Target="../tags/tag84.xml"/><Relationship Id="rId54" Type="http://schemas.openxmlformats.org/officeDocument/2006/relationships/chart" Target="../charts/chart5.xml"/><Relationship Id="rId1" Type="http://schemas.openxmlformats.org/officeDocument/2006/relationships/tags" Target="../tags/tag44.xml"/><Relationship Id="rId6" Type="http://schemas.openxmlformats.org/officeDocument/2006/relationships/tags" Target="../tags/tag49.xml"/><Relationship Id="rId15" Type="http://schemas.openxmlformats.org/officeDocument/2006/relationships/tags" Target="../tags/tag58.xml"/><Relationship Id="rId23" Type="http://schemas.openxmlformats.org/officeDocument/2006/relationships/tags" Target="../tags/tag66.xml"/><Relationship Id="rId28" Type="http://schemas.openxmlformats.org/officeDocument/2006/relationships/tags" Target="../tags/tag71.xml"/><Relationship Id="rId36" Type="http://schemas.openxmlformats.org/officeDocument/2006/relationships/tags" Target="../tags/tag79.xml"/><Relationship Id="rId49" Type="http://schemas.openxmlformats.org/officeDocument/2006/relationships/tags" Target="../tags/tag92.xml"/></Relationships>
</file>

<file path=ppt/slides/_rels/slide48.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oleObject" Target="../embeddings/oleObject18.bin"/><Relationship Id="rId7" Type="http://schemas.openxmlformats.org/officeDocument/2006/relationships/image" Target="../media/image130.png"/><Relationship Id="rId2" Type="http://schemas.openxmlformats.org/officeDocument/2006/relationships/slideLayout" Target="../slideLayouts/slideLayout8.xml"/><Relationship Id="rId1" Type="http://schemas.openxmlformats.org/officeDocument/2006/relationships/tags" Target="../tags/tag93.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5.emf"/></Relationships>
</file>

<file path=ppt/slides/_rels/slide4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94.xml"/><Relationship Id="rId4" Type="http://schemas.openxmlformats.org/officeDocument/2006/relationships/image" Target="../media/image27.emf"/></Relationships>
</file>

<file path=ppt/slides/_rels/slide5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8.xml"/><Relationship Id="rId4" Type="http://schemas.openxmlformats.org/officeDocument/2006/relationships/image" Target="../media/image136.png"/></Relationships>
</file>

<file path=ppt/slides/_rels/slide54.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139.jpeg"/><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image" Target="../media/image140.png"/><Relationship Id="rId1" Type="http://schemas.openxmlformats.org/officeDocument/2006/relationships/slideLayout" Target="../slideLayouts/slideLayout8.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png"/></Relationships>
</file>

<file path=ppt/slides/_rels/slide5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2" Type="http://schemas.openxmlformats.org/officeDocument/2006/relationships/image" Target="../media/image150.jpeg"/><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4.xml"/><Relationship Id="rId1" Type="http://schemas.openxmlformats.org/officeDocument/2006/relationships/tags" Target="../tags/tag95.xml"/><Relationship Id="rId5" Type="http://schemas.openxmlformats.org/officeDocument/2006/relationships/image" Target="../media/image151.jpeg"/><Relationship Id="rId4" Type="http://schemas.openxmlformats.org/officeDocument/2006/relationships/image" Target="../media/image27.emf"/></Relationships>
</file>

<file path=ppt/slides/_rels/slide63.xml.rels><?xml version="1.0" encoding="UTF-8" standalone="yes"?>
<Relationships xmlns="http://schemas.openxmlformats.org/package/2006/relationships"><Relationship Id="rId2" Type="http://schemas.openxmlformats.org/officeDocument/2006/relationships/image" Target="../media/image152.jpeg"/><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microsoft.com/office/2018/10/relationships/comments" Target="../comments/modernComment_129_6DF462A3.xml"/><Relationship Id="rId2" Type="http://schemas.openxmlformats.org/officeDocument/2006/relationships/notesSlide" Target="../notesSlides/notesSlide26.xml"/><Relationship Id="rId1" Type="http://schemas.openxmlformats.org/officeDocument/2006/relationships/slideLayout" Target="../slideLayouts/slideLayout8.xml"/><Relationship Id="rId5" Type="http://schemas.microsoft.com/office/2007/relationships/hdphoto" Target="../media/hdphoto8.wdp"/><Relationship Id="rId4" Type="http://schemas.openxmlformats.org/officeDocument/2006/relationships/image" Target="../media/image153.png"/></Relationships>
</file>

<file path=ppt/slides/_rels/slide65.xml.rels><?xml version="1.0" encoding="UTF-8" standalone="yes"?>
<Relationships xmlns="http://schemas.openxmlformats.org/package/2006/relationships"><Relationship Id="rId2" Type="http://schemas.openxmlformats.org/officeDocument/2006/relationships/image" Target="../media/image154.jpeg"/><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microsoft.com/office/2007/relationships/hdphoto" Target="../media/hdphoto8.wdp"/></Relationships>
</file>

<file path=ppt/slides/_rels/slide67.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55.png"/><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microsoft.com/office/2007/relationships/hdphoto" Target="../media/hdphoto8.wdp"/></Relationships>
</file>

<file path=ppt/slides/_rels/slide69.xml.rels><?xml version="1.0" encoding="UTF-8" standalone="yes"?>
<Relationships xmlns="http://schemas.openxmlformats.org/package/2006/relationships"><Relationship Id="rId2" Type="http://schemas.openxmlformats.org/officeDocument/2006/relationships/image" Target="../media/image156.jpe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3" Type="http://schemas.openxmlformats.org/officeDocument/2006/relationships/image" Target="../media/image38.emf"/><Relationship Id="rId18" Type="http://schemas.openxmlformats.org/officeDocument/2006/relationships/image" Target="../media/image43.png"/><Relationship Id="rId26" Type="http://schemas.openxmlformats.org/officeDocument/2006/relationships/chart" Target="../charts/chart3.xml"/><Relationship Id="rId39" Type="http://schemas.openxmlformats.org/officeDocument/2006/relationships/image" Target="../media/image61.png"/><Relationship Id="rId21" Type="http://schemas.openxmlformats.org/officeDocument/2006/relationships/image" Target="../media/image46.png"/><Relationship Id="rId34" Type="http://schemas.openxmlformats.org/officeDocument/2006/relationships/image" Target="../media/image56.svg"/><Relationship Id="rId42" Type="http://schemas.openxmlformats.org/officeDocument/2006/relationships/image" Target="../media/image64.svg"/><Relationship Id="rId7" Type="http://schemas.openxmlformats.org/officeDocument/2006/relationships/tags" Target="../tags/tag41.xml"/><Relationship Id="rId2" Type="http://schemas.openxmlformats.org/officeDocument/2006/relationships/tags" Target="../tags/tag36.xml"/><Relationship Id="rId16" Type="http://schemas.openxmlformats.org/officeDocument/2006/relationships/image" Target="../media/image41.png"/><Relationship Id="rId20" Type="http://schemas.openxmlformats.org/officeDocument/2006/relationships/image" Target="../media/image45.png"/><Relationship Id="rId29" Type="http://schemas.openxmlformats.org/officeDocument/2006/relationships/image" Target="../media/image51.png"/><Relationship Id="rId41" Type="http://schemas.openxmlformats.org/officeDocument/2006/relationships/image" Target="../media/image63.png"/><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image" Target="../media/image36.emf"/><Relationship Id="rId24" Type="http://schemas.openxmlformats.org/officeDocument/2006/relationships/chart" Target="../charts/chart1.xml"/><Relationship Id="rId32" Type="http://schemas.openxmlformats.org/officeDocument/2006/relationships/image" Target="../media/image54.svg"/><Relationship Id="rId37" Type="http://schemas.openxmlformats.org/officeDocument/2006/relationships/image" Target="../media/image59.png"/><Relationship Id="rId40" Type="http://schemas.openxmlformats.org/officeDocument/2006/relationships/image" Target="../media/image62.svg"/><Relationship Id="rId5" Type="http://schemas.openxmlformats.org/officeDocument/2006/relationships/tags" Target="../tags/tag39.xml"/><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0.svg"/><Relationship Id="rId36" Type="http://schemas.openxmlformats.org/officeDocument/2006/relationships/image" Target="../media/image58.svg"/><Relationship Id="rId10" Type="http://schemas.openxmlformats.org/officeDocument/2006/relationships/image" Target="../media/image35.emf"/><Relationship Id="rId19" Type="http://schemas.openxmlformats.org/officeDocument/2006/relationships/image" Target="../media/image44.png"/><Relationship Id="rId31" Type="http://schemas.openxmlformats.org/officeDocument/2006/relationships/image" Target="../media/image53.png"/><Relationship Id="rId4" Type="http://schemas.openxmlformats.org/officeDocument/2006/relationships/tags" Target="../tags/tag38.xml"/><Relationship Id="rId9" Type="http://schemas.openxmlformats.org/officeDocument/2006/relationships/oleObject" Target="../embeddings/oleObject14.bin"/><Relationship Id="rId14" Type="http://schemas.openxmlformats.org/officeDocument/2006/relationships/image" Target="../media/image39.png"/><Relationship Id="rId22" Type="http://schemas.openxmlformats.org/officeDocument/2006/relationships/image" Target="../media/image47.png"/><Relationship Id="rId27" Type="http://schemas.openxmlformats.org/officeDocument/2006/relationships/image" Target="../media/image49.png"/><Relationship Id="rId30" Type="http://schemas.openxmlformats.org/officeDocument/2006/relationships/image" Target="../media/image52.svg"/><Relationship Id="rId35" Type="http://schemas.openxmlformats.org/officeDocument/2006/relationships/image" Target="../media/image57.png"/><Relationship Id="rId8" Type="http://schemas.openxmlformats.org/officeDocument/2006/relationships/slideLayout" Target="../slideLayouts/slideLayout8.xml"/><Relationship Id="rId3" Type="http://schemas.openxmlformats.org/officeDocument/2006/relationships/tags" Target="../tags/tag37.xml"/><Relationship Id="rId12" Type="http://schemas.openxmlformats.org/officeDocument/2006/relationships/image" Target="../media/image37.emf"/><Relationship Id="rId17" Type="http://schemas.openxmlformats.org/officeDocument/2006/relationships/image" Target="../media/image42.png"/><Relationship Id="rId25" Type="http://schemas.openxmlformats.org/officeDocument/2006/relationships/chart" Target="../charts/chart2.xml"/><Relationship Id="rId33" Type="http://schemas.openxmlformats.org/officeDocument/2006/relationships/image" Target="../media/image55.png"/><Relationship Id="rId38" Type="http://schemas.openxmlformats.org/officeDocument/2006/relationships/image" Target="../media/image60.sv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9.xml"/><Relationship Id="rId1" Type="http://schemas.openxmlformats.org/officeDocument/2006/relationships/slideLayout" Target="../slideLayouts/slideLayout8.xml"/><Relationship Id="rId4" Type="http://schemas.microsoft.com/office/2007/relationships/hdphoto" Target="../media/hdphoto8.wdp"/></Relationships>
</file>

<file path=ppt/slides/_rels/slide72.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57.png"/><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0.xml"/><Relationship Id="rId1" Type="http://schemas.openxmlformats.org/officeDocument/2006/relationships/slideLayout" Target="../slideLayouts/slideLayout8.xml"/><Relationship Id="rId4" Type="http://schemas.microsoft.com/office/2007/relationships/hdphoto" Target="../media/hdphoto8.wdp"/></Relationships>
</file>

<file path=ppt/slides/_rels/slide74.xml.rels><?xml version="1.0" encoding="UTF-8" standalone="yes"?>
<Relationships xmlns="http://schemas.openxmlformats.org/package/2006/relationships"><Relationship Id="rId2" Type="http://schemas.openxmlformats.org/officeDocument/2006/relationships/image" Target="../media/image158.jpeg"/><Relationship Id="rId1" Type="http://schemas.openxmlformats.org/officeDocument/2006/relationships/slideLayout" Target="../slideLayouts/slideLayout20.xml"/></Relationships>
</file>

<file path=ppt/slides/_rels/slide7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1.xml"/><Relationship Id="rId1" Type="http://schemas.openxmlformats.org/officeDocument/2006/relationships/slideLayout" Target="../slideLayouts/slideLayout8.xml"/><Relationship Id="rId4" Type="http://schemas.microsoft.com/office/2007/relationships/hdphoto" Target="../media/hdphoto8.wdp"/></Relationships>
</file>

<file path=ppt/slides/_rels/slide76.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159.png"/><Relationship Id="rId1" Type="http://schemas.openxmlformats.org/officeDocument/2006/relationships/slideLayout" Target="../slideLayouts/slideLayout18.xml"/><Relationship Id="rId4" Type="http://schemas.openxmlformats.org/officeDocument/2006/relationships/image" Target="../media/image160.jpe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2.xml"/><Relationship Id="rId1" Type="http://schemas.openxmlformats.org/officeDocument/2006/relationships/slideLayout" Target="../slideLayouts/slideLayout8.xml"/><Relationship Id="rId4" Type="http://schemas.microsoft.com/office/2007/relationships/hdphoto" Target="../media/hdphoto8.wdp"/></Relationships>
</file>

<file path=ppt/slides/_rels/slide79.xml.rels><?xml version="1.0" encoding="UTF-8" standalone="yes"?>
<Relationships xmlns="http://schemas.openxmlformats.org/package/2006/relationships"><Relationship Id="rId3" Type="http://schemas.openxmlformats.org/officeDocument/2006/relationships/image" Target="../media/image162.svg"/><Relationship Id="rId2" Type="http://schemas.openxmlformats.org/officeDocument/2006/relationships/image" Target="../media/image161.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2" Type="http://schemas.openxmlformats.org/officeDocument/2006/relationships/image" Target="../media/image163.jpeg"/><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2" Type="http://schemas.openxmlformats.org/officeDocument/2006/relationships/image" Target="../media/image164.jpeg"/><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2" Type="http://schemas.openxmlformats.org/officeDocument/2006/relationships/image" Target="../media/image165.jpeg"/><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3" Type="http://schemas.openxmlformats.org/officeDocument/2006/relationships/image" Target="../media/image167.svg"/><Relationship Id="rId2" Type="http://schemas.openxmlformats.org/officeDocument/2006/relationships/image" Target="../media/image166.png"/><Relationship Id="rId1" Type="http://schemas.openxmlformats.org/officeDocument/2006/relationships/slideLayout" Target="../slideLayouts/slideLayout8.xml"/><Relationship Id="rId5" Type="http://schemas.openxmlformats.org/officeDocument/2006/relationships/image" Target="../media/image168.jpeg"/><Relationship Id="rId4" Type="http://schemas.openxmlformats.org/officeDocument/2006/relationships/image" Target="../media/image30.emf"/></Relationships>
</file>

<file path=ppt/slides/_rels/slide84.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8.xml"/><Relationship Id="rId5" Type="http://schemas.openxmlformats.org/officeDocument/2006/relationships/image" Target="../media/image172.jpeg"/><Relationship Id="rId4" Type="http://schemas.openxmlformats.org/officeDocument/2006/relationships/image" Target="../media/image171.svg"/></Relationships>
</file>

<file path=ppt/slides/_rels/slide85.xml.rels><?xml version="1.0" encoding="UTF-8" standalone="yes"?>
<Relationships xmlns="http://schemas.openxmlformats.org/package/2006/relationships"><Relationship Id="rId3" Type="http://schemas.openxmlformats.org/officeDocument/2006/relationships/hyperlink" Target="https://www.ellabcn.com/index.php/aboutus/news/ellab-distributor-pharma-biotech/" TargetMode="External"/><Relationship Id="rId2" Type="http://schemas.openxmlformats.org/officeDocument/2006/relationships/image" Target="../media/image173.jpeg"/><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2" Type="http://schemas.openxmlformats.org/officeDocument/2006/relationships/image" Target="../media/image174.jpeg"/><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3" Type="http://schemas.openxmlformats.org/officeDocument/2006/relationships/hyperlink" Target="https://www.ellabcn.com/index.php/aboutus/news/ellab-distributor-pharma-biotech/" TargetMode="External"/><Relationship Id="rId2" Type="http://schemas.openxmlformats.org/officeDocument/2006/relationships/image" Target="../media/image173.jpeg"/><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8.xml"/><Relationship Id="rId1" Type="http://schemas.openxmlformats.org/officeDocument/2006/relationships/tags" Target="../tags/tag96.xml"/><Relationship Id="rId5" Type="http://schemas.openxmlformats.org/officeDocument/2006/relationships/image" Target="../media/image175.jpeg"/><Relationship Id="rId4" Type="http://schemas.openxmlformats.org/officeDocument/2006/relationships/image" Target="../media/image27.emf"/></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72.emf"/><Relationship Id="rId3" Type="http://schemas.openxmlformats.org/officeDocument/2006/relationships/image" Target="../media/image67.png"/><Relationship Id="rId7" Type="http://schemas.openxmlformats.org/officeDocument/2006/relationships/image" Target="../media/image71.sv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70.png"/><Relationship Id="rId5" Type="http://schemas.openxmlformats.org/officeDocument/2006/relationships/image" Target="../media/image69.svg"/><Relationship Id="rId4" Type="http://schemas.openxmlformats.org/officeDocument/2006/relationships/image" Target="../media/image68.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1.xml.rels><?xml version="1.0" encoding="UTF-8" standalone="yes"?>
<Relationships xmlns="http://schemas.openxmlformats.org/package/2006/relationships"><Relationship Id="rId2" Type="http://schemas.openxmlformats.org/officeDocument/2006/relationships/image" Target="../media/image176.jpeg"/><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2" Type="http://schemas.openxmlformats.org/officeDocument/2006/relationships/image" Target="../media/image177.jpeg"/><Relationship Id="rId1" Type="http://schemas.openxmlformats.org/officeDocument/2006/relationships/slideLayout" Target="../slideLayouts/slideLayout8.xml"/></Relationships>
</file>

<file path=ppt/slides/_rels/slide93.xml.rels><?xml version="1.0" encoding="UTF-8" standalone="yes"?>
<Relationships xmlns="http://schemas.openxmlformats.org/package/2006/relationships"><Relationship Id="rId2" Type="http://schemas.openxmlformats.org/officeDocument/2006/relationships/image" Target="../media/image178.jpeg"/><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2" Type="http://schemas.openxmlformats.org/officeDocument/2006/relationships/image" Target="../media/image176.jpeg"/><Relationship Id="rId1" Type="http://schemas.openxmlformats.org/officeDocument/2006/relationships/slideLayout" Target="../slideLayouts/slideLayout16.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F2A407-4A54-7CDC-FA51-57F97E205A9B}"/>
              </a:ext>
            </a:extLst>
          </p:cNvPr>
          <p:cNvSpPr>
            <a:spLocks noGrp="1"/>
          </p:cNvSpPr>
          <p:nvPr>
            <p:ph type="title"/>
          </p:nvPr>
        </p:nvSpPr>
        <p:spPr/>
        <p:txBody>
          <a:bodyPr/>
          <a:lstStyle/>
          <a:p>
            <a:r>
              <a:rPr lang="da-DK" dirty="0"/>
              <a:t>Value Selling</a:t>
            </a:r>
          </a:p>
        </p:txBody>
      </p:sp>
    </p:spTree>
    <p:extLst>
      <p:ext uri="{BB962C8B-B14F-4D97-AF65-F5344CB8AC3E}">
        <p14:creationId xmlns:p14="http://schemas.microsoft.com/office/powerpoint/2010/main" val="1392095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A3CCC-0E00-BB43-BC88-5E5E8CBF1F37}"/>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1D0C9E08-E38B-8877-50D5-837E896A9A22}"/>
              </a:ext>
            </a:extLst>
          </p:cNvPr>
          <p:cNvSpPr/>
          <p:nvPr/>
        </p:nvSpPr>
        <p:spPr>
          <a:xfrm>
            <a:off x="3633025" y="2206780"/>
            <a:ext cx="4339225" cy="5702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sp>
        <p:nvSpPr>
          <p:cNvPr id="26" name="Title 25">
            <a:extLst>
              <a:ext uri="{FF2B5EF4-FFF2-40B4-BE49-F238E27FC236}">
                <a16:creationId xmlns:a16="http://schemas.microsoft.com/office/drawing/2014/main" id="{6EBE9808-13B8-4350-7189-B38580996C82}"/>
              </a:ext>
            </a:extLst>
          </p:cNvPr>
          <p:cNvSpPr>
            <a:spLocks noGrp="1"/>
          </p:cNvSpPr>
          <p:nvPr>
            <p:ph type="title"/>
          </p:nvPr>
        </p:nvSpPr>
        <p:spPr>
          <a:xfrm>
            <a:off x="933601" y="1193008"/>
            <a:ext cx="10347335" cy="551433"/>
          </a:xfrm>
        </p:spPr>
        <p:txBody>
          <a:bodyPr/>
          <a:lstStyle/>
          <a:p>
            <a:r>
              <a:rPr lang="en-DK"/>
              <a:t> </a:t>
            </a:r>
            <a:r>
              <a:rPr lang="en-US"/>
              <a:t>We Support Your Full Life Cycle</a:t>
            </a:r>
            <a:endParaRPr lang="en-DK"/>
          </a:p>
        </p:txBody>
      </p:sp>
      <p:sp>
        <p:nvSpPr>
          <p:cNvPr id="7" name="Rectangle 6">
            <a:extLst>
              <a:ext uri="{FF2B5EF4-FFF2-40B4-BE49-F238E27FC236}">
                <a16:creationId xmlns:a16="http://schemas.microsoft.com/office/drawing/2014/main" id="{D7EC6411-453C-2D37-950F-76D861AB786F}"/>
              </a:ext>
            </a:extLst>
          </p:cNvPr>
          <p:cNvSpPr/>
          <p:nvPr/>
        </p:nvSpPr>
        <p:spPr>
          <a:xfrm>
            <a:off x="3650448" y="2206780"/>
            <a:ext cx="5735474" cy="6058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sp>
        <p:nvSpPr>
          <p:cNvPr id="6" name="TextBox 5">
            <a:extLst>
              <a:ext uri="{FF2B5EF4-FFF2-40B4-BE49-F238E27FC236}">
                <a16:creationId xmlns:a16="http://schemas.microsoft.com/office/drawing/2014/main" id="{B4C1763B-0F72-9C2F-48FE-45EA49E1BC28}"/>
              </a:ext>
            </a:extLst>
          </p:cNvPr>
          <p:cNvSpPr txBox="1"/>
          <p:nvPr/>
        </p:nvSpPr>
        <p:spPr>
          <a:xfrm>
            <a:off x="3650449" y="2277609"/>
            <a:ext cx="1433869" cy="387798"/>
          </a:xfrm>
          <a:prstGeom prst="rect">
            <a:avLst/>
          </a:prstGeom>
          <a:noFill/>
        </p:spPr>
        <p:txBody>
          <a:bodyPr wrap="square" rtlCol="0">
            <a:spAutoFit/>
          </a:bodyPr>
          <a:lstStyle/>
          <a:p>
            <a:pPr algn="ctr" defTabSz="822960"/>
            <a:r>
              <a:rPr lang="en-DK" sz="960" b="1">
                <a:solidFill>
                  <a:srgbClr val="000000"/>
                </a:solidFill>
                <a:latin typeface="Ellab Sans"/>
              </a:rPr>
              <a:t>Design</a:t>
            </a:r>
          </a:p>
          <a:p>
            <a:pPr algn="ctr" defTabSz="822960"/>
            <a:r>
              <a:rPr lang="en-DK" sz="960" b="1">
                <a:solidFill>
                  <a:srgbClr val="000000"/>
                </a:solidFill>
                <a:latin typeface="Ellab Sans"/>
              </a:rPr>
              <a:t>&amp; development</a:t>
            </a:r>
          </a:p>
        </p:txBody>
      </p:sp>
      <p:sp>
        <p:nvSpPr>
          <p:cNvPr id="8" name="TextBox 7">
            <a:extLst>
              <a:ext uri="{FF2B5EF4-FFF2-40B4-BE49-F238E27FC236}">
                <a16:creationId xmlns:a16="http://schemas.microsoft.com/office/drawing/2014/main" id="{535A8E4C-6B97-BCA7-73FE-BD5C9B8D3F33}"/>
              </a:ext>
            </a:extLst>
          </p:cNvPr>
          <p:cNvSpPr txBox="1"/>
          <p:nvPr/>
        </p:nvSpPr>
        <p:spPr>
          <a:xfrm>
            <a:off x="5091050" y="2374175"/>
            <a:ext cx="1433869" cy="240066"/>
          </a:xfrm>
          <a:prstGeom prst="rect">
            <a:avLst/>
          </a:prstGeom>
          <a:noFill/>
        </p:spPr>
        <p:txBody>
          <a:bodyPr wrap="square" rtlCol="0">
            <a:spAutoFit/>
          </a:bodyPr>
          <a:lstStyle/>
          <a:p>
            <a:pPr algn="ctr" defTabSz="822960"/>
            <a:r>
              <a:rPr lang="en-DK" sz="960" b="1">
                <a:solidFill>
                  <a:srgbClr val="000000"/>
                </a:solidFill>
                <a:latin typeface="Ellab Sans"/>
              </a:rPr>
              <a:t>Qualification</a:t>
            </a:r>
          </a:p>
        </p:txBody>
      </p:sp>
      <p:sp>
        <p:nvSpPr>
          <p:cNvPr id="11" name="TextBox 10">
            <a:extLst>
              <a:ext uri="{FF2B5EF4-FFF2-40B4-BE49-F238E27FC236}">
                <a16:creationId xmlns:a16="http://schemas.microsoft.com/office/drawing/2014/main" id="{6031BC51-2191-8FAA-4EF9-5FF15DD5C100}"/>
              </a:ext>
            </a:extLst>
          </p:cNvPr>
          <p:cNvSpPr txBox="1"/>
          <p:nvPr/>
        </p:nvSpPr>
        <p:spPr>
          <a:xfrm>
            <a:off x="6528283" y="2282035"/>
            <a:ext cx="1433869" cy="387798"/>
          </a:xfrm>
          <a:prstGeom prst="rect">
            <a:avLst/>
          </a:prstGeom>
          <a:noFill/>
        </p:spPr>
        <p:txBody>
          <a:bodyPr wrap="square" rtlCol="0">
            <a:spAutoFit/>
          </a:bodyPr>
          <a:lstStyle/>
          <a:p>
            <a:pPr algn="ctr" defTabSz="822960"/>
            <a:r>
              <a:rPr lang="en-DK" sz="960" b="1">
                <a:solidFill>
                  <a:srgbClr val="000000"/>
                </a:solidFill>
                <a:latin typeface="Ellab Sans"/>
              </a:rPr>
              <a:t>Continuous</a:t>
            </a:r>
          </a:p>
          <a:p>
            <a:pPr algn="ctr" defTabSz="822960"/>
            <a:r>
              <a:rPr lang="en-GB" sz="960" b="1">
                <a:solidFill>
                  <a:srgbClr val="000000"/>
                </a:solidFill>
                <a:latin typeface="Ellab Sans"/>
              </a:rPr>
              <a:t>p</a:t>
            </a:r>
            <a:r>
              <a:rPr lang="en-DK" sz="960" b="1">
                <a:solidFill>
                  <a:srgbClr val="000000"/>
                </a:solidFill>
                <a:latin typeface="Ellab Sans"/>
              </a:rPr>
              <a:t>rocess verification</a:t>
            </a:r>
          </a:p>
        </p:txBody>
      </p:sp>
      <p:sp>
        <p:nvSpPr>
          <p:cNvPr id="13" name="Rectangle 12">
            <a:extLst>
              <a:ext uri="{FF2B5EF4-FFF2-40B4-BE49-F238E27FC236}">
                <a16:creationId xmlns:a16="http://schemas.microsoft.com/office/drawing/2014/main" id="{C4B99E55-A4CD-5EB3-6401-84CB25C9FF33}"/>
              </a:ext>
            </a:extLst>
          </p:cNvPr>
          <p:cNvSpPr/>
          <p:nvPr/>
        </p:nvSpPr>
        <p:spPr>
          <a:xfrm>
            <a:off x="2731561" y="2783173"/>
            <a:ext cx="918888" cy="69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sp>
        <p:nvSpPr>
          <p:cNvPr id="14" name="TextBox 13">
            <a:extLst>
              <a:ext uri="{FF2B5EF4-FFF2-40B4-BE49-F238E27FC236}">
                <a16:creationId xmlns:a16="http://schemas.microsoft.com/office/drawing/2014/main" id="{FC65EF7C-902A-4D70-FCA0-61DF9624077A}"/>
              </a:ext>
            </a:extLst>
          </p:cNvPr>
          <p:cNvSpPr txBox="1"/>
          <p:nvPr/>
        </p:nvSpPr>
        <p:spPr>
          <a:xfrm>
            <a:off x="2731563" y="3004004"/>
            <a:ext cx="918887" cy="240066"/>
          </a:xfrm>
          <a:prstGeom prst="rect">
            <a:avLst/>
          </a:prstGeom>
          <a:noFill/>
        </p:spPr>
        <p:txBody>
          <a:bodyPr wrap="square" rtlCol="0">
            <a:spAutoFit/>
          </a:bodyPr>
          <a:lstStyle/>
          <a:p>
            <a:pPr defTabSz="822960"/>
            <a:r>
              <a:rPr lang="en-DK" sz="960" b="1">
                <a:solidFill>
                  <a:srgbClr val="000000"/>
                </a:solidFill>
                <a:latin typeface="Ellab Sans"/>
              </a:rPr>
              <a:t>Consulting</a:t>
            </a:r>
          </a:p>
        </p:txBody>
      </p:sp>
      <p:sp>
        <p:nvSpPr>
          <p:cNvPr id="15" name="Rectangle 14">
            <a:extLst>
              <a:ext uri="{FF2B5EF4-FFF2-40B4-BE49-F238E27FC236}">
                <a16:creationId xmlns:a16="http://schemas.microsoft.com/office/drawing/2014/main" id="{5D0A4502-55EF-ABDE-77FA-3C6E3C64E182}"/>
              </a:ext>
            </a:extLst>
          </p:cNvPr>
          <p:cNvSpPr/>
          <p:nvPr/>
        </p:nvSpPr>
        <p:spPr>
          <a:xfrm>
            <a:off x="2731561" y="3456820"/>
            <a:ext cx="918888" cy="69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sp>
        <p:nvSpPr>
          <p:cNvPr id="16" name="TextBox 15">
            <a:extLst>
              <a:ext uri="{FF2B5EF4-FFF2-40B4-BE49-F238E27FC236}">
                <a16:creationId xmlns:a16="http://schemas.microsoft.com/office/drawing/2014/main" id="{D2D6C1D8-AEA7-EF93-2F93-715830A25558}"/>
              </a:ext>
            </a:extLst>
          </p:cNvPr>
          <p:cNvSpPr txBox="1"/>
          <p:nvPr/>
        </p:nvSpPr>
        <p:spPr>
          <a:xfrm>
            <a:off x="2731563" y="3683487"/>
            <a:ext cx="918887" cy="240066"/>
          </a:xfrm>
          <a:prstGeom prst="rect">
            <a:avLst/>
          </a:prstGeom>
          <a:noFill/>
        </p:spPr>
        <p:txBody>
          <a:bodyPr wrap="square" rtlCol="0">
            <a:spAutoFit/>
          </a:bodyPr>
          <a:lstStyle/>
          <a:p>
            <a:pPr defTabSz="822960"/>
            <a:r>
              <a:rPr lang="en-DK" sz="960" b="1">
                <a:solidFill>
                  <a:srgbClr val="000000"/>
                </a:solidFill>
                <a:latin typeface="Ellab Sans"/>
              </a:rPr>
              <a:t>Validation</a:t>
            </a:r>
          </a:p>
        </p:txBody>
      </p:sp>
      <p:sp>
        <p:nvSpPr>
          <p:cNvPr id="17" name="Rectangle 16">
            <a:extLst>
              <a:ext uri="{FF2B5EF4-FFF2-40B4-BE49-F238E27FC236}">
                <a16:creationId xmlns:a16="http://schemas.microsoft.com/office/drawing/2014/main" id="{577954A8-A43F-8EEE-EF0F-58CD77CBECFF}"/>
              </a:ext>
            </a:extLst>
          </p:cNvPr>
          <p:cNvSpPr/>
          <p:nvPr/>
        </p:nvSpPr>
        <p:spPr>
          <a:xfrm>
            <a:off x="2731561" y="4140212"/>
            <a:ext cx="918888" cy="69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sp>
        <p:nvSpPr>
          <p:cNvPr id="18" name="TextBox 17">
            <a:extLst>
              <a:ext uri="{FF2B5EF4-FFF2-40B4-BE49-F238E27FC236}">
                <a16:creationId xmlns:a16="http://schemas.microsoft.com/office/drawing/2014/main" id="{3355BEB1-1BF6-01BA-7119-EAE30F928D17}"/>
              </a:ext>
            </a:extLst>
          </p:cNvPr>
          <p:cNvSpPr txBox="1"/>
          <p:nvPr/>
        </p:nvSpPr>
        <p:spPr>
          <a:xfrm>
            <a:off x="2731562" y="4365248"/>
            <a:ext cx="908789" cy="240066"/>
          </a:xfrm>
          <a:prstGeom prst="rect">
            <a:avLst/>
          </a:prstGeom>
          <a:noFill/>
        </p:spPr>
        <p:txBody>
          <a:bodyPr wrap="square" rtlCol="0">
            <a:spAutoFit/>
          </a:bodyPr>
          <a:lstStyle/>
          <a:p>
            <a:pPr defTabSz="822960"/>
            <a:r>
              <a:rPr lang="en-DK" sz="960" b="1">
                <a:solidFill>
                  <a:srgbClr val="000000"/>
                </a:solidFill>
                <a:latin typeface="Ellab Sans"/>
              </a:rPr>
              <a:t>Monitoring</a:t>
            </a:r>
          </a:p>
        </p:txBody>
      </p:sp>
      <p:sp>
        <p:nvSpPr>
          <p:cNvPr id="19" name="Rectangle 18">
            <a:extLst>
              <a:ext uri="{FF2B5EF4-FFF2-40B4-BE49-F238E27FC236}">
                <a16:creationId xmlns:a16="http://schemas.microsoft.com/office/drawing/2014/main" id="{B41F2829-B316-AAC7-C0D5-EF824FBC7DD5}"/>
              </a:ext>
            </a:extLst>
          </p:cNvPr>
          <p:cNvSpPr/>
          <p:nvPr/>
        </p:nvSpPr>
        <p:spPr>
          <a:xfrm>
            <a:off x="2731561" y="4816552"/>
            <a:ext cx="918888" cy="691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sp>
        <p:nvSpPr>
          <p:cNvPr id="20" name="TextBox 19">
            <a:extLst>
              <a:ext uri="{FF2B5EF4-FFF2-40B4-BE49-F238E27FC236}">
                <a16:creationId xmlns:a16="http://schemas.microsoft.com/office/drawing/2014/main" id="{F738B78C-5044-FA55-60BD-D2568DF6362F}"/>
              </a:ext>
            </a:extLst>
          </p:cNvPr>
          <p:cNvSpPr txBox="1"/>
          <p:nvPr/>
        </p:nvSpPr>
        <p:spPr>
          <a:xfrm>
            <a:off x="2731563" y="5038001"/>
            <a:ext cx="918887" cy="240066"/>
          </a:xfrm>
          <a:prstGeom prst="rect">
            <a:avLst/>
          </a:prstGeom>
          <a:noFill/>
        </p:spPr>
        <p:txBody>
          <a:bodyPr wrap="square" rtlCol="0">
            <a:spAutoFit/>
          </a:bodyPr>
          <a:lstStyle/>
          <a:p>
            <a:pPr defTabSz="822960"/>
            <a:r>
              <a:rPr lang="en-DK" sz="960" b="1">
                <a:solidFill>
                  <a:srgbClr val="000000"/>
                </a:solidFill>
                <a:latin typeface="Ellab Sans"/>
              </a:rPr>
              <a:t>Calibration</a:t>
            </a:r>
          </a:p>
        </p:txBody>
      </p:sp>
      <p:sp>
        <p:nvSpPr>
          <p:cNvPr id="24" name="Rectangle 23">
            <a:extLst>
              <a:ext uri="{FF2B5EF4-FFF2-40B4-BE49-F238E27FC236}">
                <a16:creationId xmlns:a16="http://schemas.microsoft.com/office/drawing/2014/main" id="{BA1C8580-06FA-424B-2604-EDC514616E54}"/>
              </a:ext>
            </a:extLst>
          </p:cNvPr>
          <p:cNvSpPr/>
          <p:nvPr/>
        </p:nvSpPr>
        <p:spPr>
          <a:xfrm>
            <a:off x="3640351" y="2778024"/>
            <a:ext cx="4321800" cy="2729724"/>
          </a:xfrm>
          <a:prstGeom prst="rect">
            <a:avLst/>
          </a:prstGeom>
          <a:solidFill>
            <a:srgbClr val="009F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sp>
        <p:nvSpPr>
          <p:cNvPr id="25" name="Rectangle 24">
            <a:extLst>
              <a:ext uri="{FF2B5EF4-FFF2-40B4-BE49-F238E27FC236}">
                <a16:creationId xmlns:a16="http://schemas.microsoft.com/office/drawing/2014/main" id="{C3DF29FC-65B8-90B2-1FE6-E5F7EAB6FD1B}"/>
              </a:ext>
            </a:extLst>
          </p:cNvPr>
          <p:cNvSpPr/>
          <p:nvPr/>
        </p:nvSpPr>
        <p:spPr>
          <a:xfrm>
            <a:off x="7962151" y="2783173"/>
            <a:ext cx="1440600" cy="687192"/>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sp>
        <p:nvSpPr>
          <p:cNvPr id="27" name="Rectangle 26">
            <a:extLst>
              <a:ext uri="{FF2B5EF4-FFF2-40B4-BE49-F238E27FC236}">
                <a16:creationId xmlns:a16="http://schemas.microsoft.com/office/drawing/2014/main" id="{4200EE76-05DD-6BB5-0227-CE750FFBAEA5}"/>
              </a:ext>
            </a:extLst>
          </p:cNvPr>
          <p:cNvSpPr/>
          <p:nvPr/>
        </p:nvSpPr>
        <p:spPr>
          <a:xfrm>
            <a:off x="7962151" y="3476546"/>
            <a:ext cx="1440600" cy="687192"/>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sp>
        <p:nvSpPr>
          <p:cNvPr id="28" name="Rectangle 27">
            <a:extLst>
              <a:ext uri="{FF2B5EF4-FFF2-40B4-BE49-F238E27FC236}">
                <a16:creationId xmlns:a16="http://schemas.microsoft.com/office/drawing/2014/main" id="{1FC0894E-B72D-17F3-8315-503F3B4C54C2}"/>
              </a:ext>
            </a:extLst>
          </p:cNvPr>
          <p:cNvSpPr/>
          <p:nvPr/>
        </p:nvSpPr>
        <p:spPr>
          <a:xfrm>
            <a:off x="7962151" y="4163738"/>
            <a:ext cx="1440600" cy="687192"/>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sp>
        <p:nvSpPr>
          <p:cNvPr id="30" name="Rectangle 29">
            <a:extLst>
              <a:ext uri="{FF2B5EF4-FFF2-40B4-BE49-F238E27FC236}">
                <a16:creationId xmlns:a16="http://schemas.microsoft.com/office/drawing/2014/main" id="{06DBD508-88BD-0730-E773-1D63C36C9278}"/>
              </a:ext>
            </a:extLst>
          </p:cNvPr>
          <p:cNvSpPr/>
          <p:nvPr/>
        </p:nvSpPr>
        <p:spPr>
          <a:xfrm>
            <a:off x="7962151" y="4850930"/>
            <a:ext cx="1440600" cy="687192"/>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32" name="Straight Connector 31">
            <a:extLst>
              <a:ext uri="{FF2B5EF4-FFF2-40B4-BE49-F238E27FC236}">
                <a16:creationId xmlns:a16="http://schemas.microsoft.com/office/drawing/2014/main" id="{EA928693-F243-EC93-1289-4FFB1F23EFEA}"/>
              </a:ext>
            </a:extLst>
          </p:cNvPr>
          <p:cNvCxnSpPr>
            <a:cxnSpLocks/>
          </p:cNvCxnSpPr>
          <p:nvPr/>
        </p:nvCxnSpPr>
        <p:spPr>
          <a:xfrm>
            <a:off x="2731563" y="3470364"/>
            <a:ext cx="908790" cy="0"/>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D48FC50F-8CF4-8DD4-C311-CCE122283B34}"/>
              </a:ext>
            </a:extLst>
          </p:cNvPr>
          <p:cNvCxnSpPr>
            <a:cxnSpLocks/>
          </p:cNvCxnSpPr>
          <p:nvPr/>
        </p:nvCxnSpPr>
        <p:spPr>
          <a:xfrm>
            <a:off x="2731563" y="4144010"/>
            <a:ext cx="908790" cy="0"/>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F8A32ED2-6974-5DE3-C252-6D18CB082AD4}"/>
              </a:ext>
            </a:extLst>
          </p:cNvPr>
          <p:cNvCxnSpPr>
            <a:cxnSpLocks/>
          </p:cNvCxnSpPr>
          <p:nvPr/>
        </p:nvCxnSpPr>
        <p:spPr>
          <a:xfrm>
            <a:off x="2731563" y="4817657"/>
            <a:ext cx="908790" cy="0"/>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8CC5E103-A532-DF3F-3D82-4C16724BB22C}"/>
              </a:ext>
            </a:extLst>
          </p:cNvPr>
          <p:cNvCxnSpPr>
            <a:cxnSpLocks/>
          </p:cNvCxnSpPr>
          <p:nvPr/>
        </p:nvCxnSpPr>
        <p:spPr>
          <a:xfrm>
            <a:off x="3638347" y="3470364"/>
            <a:ext cx="574757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3473091B-7E03-791C-DA88-244F38C77712}"/>
              </a:ext>
            </a:extLst>
          </p:cNvPr>
          <p:cNvCxnSpPr>
            <a:cxnSpLocks/>
          </p:cNvCxnSpPr>
          <p:nvPr/>
        </p:nvCxnSpPr>
        <p:spPr>
          <a:xfrm>
            <a:off x="3638347" y="4144010"/>
            <a:ext cx="574757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784BA32F-02F2-4261-A48C-59998226A7E5}"/>
              </a:ext>
            </a:extLst>
          </p:cNvPr>
          <p:cNvCxnSpPr>
            <a:cxnSpLocks/>
          </p:cNvCxnSpPr>
          <p:nvPr/>
        </p:nvCxnSpPr>
        <p:spPr>
          <a:xfrm>
            <a:off x="3638347" y="4817657"/>
            <a:ext cx="574757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C0019ABD-33E4-564C-BDBC-95CFEB326304}"/>
              </a:ext>
            </a:extLst>
          </p:cNvPr>
          <p:cNvCxnSpPr>
            <a:cxnSpLocks/>
          </p:cNvCxnSpPr>
          <p:nvPr/>
        </p:nvCxnSpPr>
        <p:spPr>
          <a:xfrm>
            <a:off x="5084316" y="2776992"/>
            <a:ext cx="0" cy="273075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09666A50-9FB1-4159-A003-8539FEF59BB0}"/>
              </a:ext>
            </a:extLst>
          </p:cNvPr>
          <p:cNvCxnSpPr>
            <a:cxnSpLocks/>
          </p:cNvCxnSpPr>
          <p:nvPr/>
        </p:nvCxnSpPr>
        <p:spPr>
          <a:xfrm>
            <a:off x="5084316" y="2207518"/>
            <a:ext cx="0" cy="569474"/>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4E9CC2C8-ACB0-9BFD-9E41-A4B9D21E6D79}"/>
              </a:ext>
            </a:extLst>
          </p:cNvPr>
          <p:cNvCxnSpPr>
            <a:cxnSpLocks/>
          </p:cNvCxnSpPr>
          <p:nvPr/>
        </p:nvCxnSpPr>
        <p:spPr>
          <a:xfrm>
            <a:off x="6521892" y="2776992"/>
            <a:ext cx="0" cy="273075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A98485BB-9C06-6BF8-E848-B6F1980E9764}"/>
              </a:ext>
            </a:extLst>
          </p:cNvPr>
          <p:cNvCxnSpPr>
            <a:cxnSpLocks/>
          </p:cNvCxnSpPr>
          <p:nvPr/>
        </p:nvCxnSpPr>
        <p:spPr>
          <a:xfrm>
            <a:off x="6521892" y="2207518"/>
            <a:ext cx="0" cy="569474"/>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F8F68E94-A8A6-A0E1-FEAB-B1965F476F54}"/>
              </a:ext>
            </a:extLst>
          </p:cNvPr>
          <p:cNvCxnSpPr>
            <a:cxnSpLocks/>
          </p:cNvCxnSpPr>
          <p:nvPr/>
        </p:nvCxnSpPr>
        <p:spPr>
          <a:xfrm>
            <a:off x="7973358" y="2776992"/>
            <a:ext cx="0" cy="273075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215442CD-9AC6-AB09-EC81-62735A9382A3}"/>
              </a:ext>
            </a:extLst>
          </p:cNvPr>
          <p:cNvCxnSpPr>
            <a:cxnSpLocks/>
          </p:cNvCxnSpPr>
          <p:nvPr/>
        </p:nvCxnSpPr>
        <p:spPr>
          <a:xfrm>
            <a:off x="2731563" y="5507752"/>
            <a:ext cx="6654361"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66" name="Rectangle 65">
            <a:extLst>
              <a:ext uri="{FF2B5EF4-FFF2-40B4-BE49-F238E27FC236}">
                <a16:creationId xmlns:a16="http://schemas.microsoft.com/office/drawing/2014/main" id="{05C646BE-C86C-1854-9841-F96D373BDC65}"/>
              </a:ext>
            </a:extLst>
          </p:cNvPr>
          <p:cNvSpPr/>
          <p:nvPr/>
        </p:nvSpPr>
        <p:spPr>
          <a:xfrm>
            <a:off x="7975531" y="2206780"/>
            <a:ext cx="1413161" cy="57021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sp>
        <p:nvSpPr>
          <p:cNvPr id="10" name="TextBox 9">
            <a:extLst>
              <a:ext uri="{FF2B5EF4-FFF2-40B4-BE49-F238E27FC236}">
                <a16:creationId xmlns:a16="http://schemas.microsoft.com/office/drawing/2014/main" id="{DD98615B-4378-8BA6-C0F5-65CE7753B51F}"/>
              </a:ext>
            </a:extLst>
          </p:cNvPr>
          <p:cNvSpPr txBox="1"/>
          <p:nvPr/>
        </p:nvSpPr>
        <p:spPr>
          <a:xfrm>
            <a:off x="7962152" y="2360900"/>
            <a:ext cx="1433869" cy="240066"/>
          </a:xfrm>
          <a:prstGeom prst="rect">
            <a:avLst/>
          </a:prstGeom>
          <a:noFill/>
        </p:spPr>
        <p:txBody>
          <a:bodyPr wrap="square" rtlCol="0">
            <a:spAutoFit/>
          </a:bodyPr>
          <a:lstStyle/>
          <a:p>
            <a:pPr algn="ctr" defTabSz="822960"/>
            <a:r>
              <a:rPr lang="en-DK" sz="960" b="1">
                <a:solidFill>
                  <a:srgbClr val="000000"/>
                </a:solidFill>
                <a:latin typeface="Ellab Sans"/>
              </a:rPr>
              <a:t>Decommissioning</a:t>
            </a:r>
          </a:p>
        </p:txBody>
      </p:sp>
      <p:cxnSp>
        <p:nvCxnSpPr>
          <p:cNvPr id="59" name="Straight Connector 58">
            <a:extLst>
              <a:ext uri="{FF2B5EF4-FFF2-40B4-BE49-F238E27FC236}">
                <a16:creationId xmlns:a16="http://schemas.microsoft.com/office/drawing/2014/main" id="{F7266FFF-38B1-D235-43C2-450C4E35A31A}"/>
              </a:ext>
            </a:extLst>
          </p:cNvPr>
          <p:cNvCxnSpPr>
            <a:cxnSpLocks/>
          </p:cNvCxnSpPr>
          <p:nvPr/>
        </p:nvCxnSpPr>
        <p:spPr>
          <a:xfrm>
            <a:off x="7973358" y="2207518"/>
            <a:ext cx="0" cy="569474"/>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grpSp>
        <p:nvGrpSpPr>
          <p:cNvPr id="158" name="Group 157">
            <a:extLst>
              <a:ext uri="{FF2B5EF4-FFF2-40B4-BE49-F238E27FC236}">
                <a16:creationId xmlns:a16="http://schemas.microsoft.com/office/drawing/2014/main" id="{4931C5F8-E864-DC49-74B7-A2319DEA81D7}"/>
              </a:ext>
            </a:extLst>
          </p:cNvPr>
          <p:cNvGrpSpPr/>
          <p:nvPr/>
        </p:nvGrpSpPr>
        <p:grpSpPr>
          <a:xfrm>
            <a:off x="4287752" y="3038216"/>
            <a:ext cx="155560" cy="151199"/>
            <a:chOff x="3499809" y="-565278"/>
            <a:chExt cx="129633" cy="125999"/>
          </a:xfrm>
        </p:grpSpPr>
        <p:sp>
          <p:nvSpPr>
            <p:cNvPr id="153" name="Rounded Rectangle 152">
              <a:extLst>
                <a:ext uri="{FF2B5EF4-FFF2-40B4-BE49-F238E27FC236}">
                  <a16:creationId xmlns:a16="http://schemas.microsoft.com/office/drawing/2014/main" id="{E459464A-3156-0B3B-9B2D-FE7544067FF7}"/>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154" name="Straight Connector 153">
              <a:extLst>
                <a:ext uri="{FF2B5EF4-FFF2-40B4-BE49-F238E27FC236}">
                  <a16:creationId xmlns:a16="http://schemas.microsoft.com/office/drawing/2014/main" id="{221B0FEE-EC54-2242-14FF-AAF80FDAE27C}"/>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55" name="Straight Connector 154">
              <a:extLst>
                <a:ext uri="{FF2B5EF4-FFF2-40B4-BE49-F238E27FC236}">
                  <a16:creationId xmlns:a16="http://schemas.microsoft.com/office/drawing/2014/main" id="{865B4643-6538-447E-4F41-C91D208968F9}"/>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59" name="Group 158">
            <a:extLst>
              <a:ext uri="{FF2B5EF4-FFF2-40B4-BE49-F238E27FC236}">
                <a16:creationId xmlns:a16="http://schemas.microsoft.com/office/drawing/2014/main" id="{E602FC32-EE37-A67F-BF51-A9C3E478B8BC}"/>
              </a:ext>
            </a:extLst>
          </p:cNvPr>
          <p:cNvGrpSpPr/>
          <p:nvPr/>
        </p:nvGrpSpPr>
        <p:grpSpPr>
          <a:xfrm>
            <a:off x="5731444" y="3038216"/>
            <a:ext cx="155560" cy="151199"/>
            <a:chOff x="3499809" y="-565278"/>
            <a:chExt cx="129633" cy="125999"/>
          </a:xfrm>
        </p:grpSpPr>
        <p:sp>
          <p:nvSpPr>
            <p:cNvPr id="160" name="Rounded Rectangle 159">
              <a:extLst>
                <a:ext uri="{FF2B5EF4-FFF2-40B4-BE49-F238E27FC236}">
                  <a16:creationId xmlns:a16="http://schemas.microsoft.com/office/drawing/2014/main" id="{EC73E487-9F78-838D-B3F6-53C25D46D620}"/>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161" name="Straight Connector 160">
              <a:extLst>
                <a:ext uri="{FF2B5EF4-FFF2-40B4-BE49-F238E27FC236}">
                  <a16:creationId xmlns:a16="http://schemas.microsoft.com/office/drawing/2014/main" id="{38E367B6-4FAC-F882-11E8-C6799FE986F3}"/>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436F55FD-F9A7-E23E-8339-071DD8BEBE48}"/>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63" name="Group 162">
            <a:extLst>
              <a:ext uri="{FF2B5EF4-FFF2-40B4-BE49-F238E27FC236}">
                <a16:creationId xmlns:a16="http://schemas.microsoft.com/office/drawing/2014/main" id="{EE7A00B8-E2C3-0146-E7BF-7595E6B2473B}"/>
              </a:ext>
            </a:extLst>
          </p:cNvPr>
          <p:cNvGrpSpPr/>
          <p:nvPr/>
        </p:nvGrpSpPr>
        <p:grpSpPr>
          <a:xfrm>
            <a:off x="7150528" y="3038216"/>
            <a:ext cx="155560" cy="151199"/>
            <a:chOff x="3499809" y="-565278"/>
            <a:chExt cx="129633" cy="125999"/>
          </a:xfrm>
        </p:grpSpPr>
        <p:sp>
          <p:nvSpPr>
            <p:cNvPr id="164" name="Rounded Rectangle 163">
              <a:extLst>
                <a:ext uri="{FF2B5EF4-FFF2-40B4-BE49-F238E27FC236}">
                  <a16:creationId xmlns:a16="http://schemas.microsoft.com/office/drawing/2014/main" id="{64EEA222-02BF-AA51-EE8C-3CA1E0187CEA}"/>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165" name="Straight Connector 164">
              <a:extLst>
                <a:ext uri="{FF2B5EF4-FFF2-40B4-BE49-F238E27FC236}">
                  <a16:creationId xmlns:a16="http://schemas.microsoft.com/office/drawing/2014/main" id="{EBCA2B7C-5E65-3D3F-F8CD-B67C84A50826}"/>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7395F75A-0DB9-0AF8-1DD8-2920D9868701}"/>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67" name="Group 166">
            <a:extLst>
              <a:ext uri="{FF2B5EF4-FFF2-40B4-BE49-F238E27FC236}">
                <a16:creationId xmlns:a16="http://schemas.microsoft.com/office/drawing/2014/main" id="{81ACD06C-5A0E-0AA8-9BBF-E0F6A3DF45FE}"/>
              </a:ext>
            </a:extLst>
          </p:cNvPr>
          <p:cNvGrpSpPr/>
          <p:nvPr/>
        </p:nvGrpSpPr>
        <p:grpSpPr>
          <a:xfrm>
            <a:off x="8601255" y="3038216"/>
            <a:ext cx="155560" cy="151199"/>
            <a:chOff x="3499809" y="-565278"/>
            <a:chExt cx="129633" cy="125999"/>
          </a:xfrm>
        </p:grpSpPr>
        <p:sp>
          <p:nvSpPr>
            <p:cNvPr id="168" name="Rounded Rectangle 167">
              <a:extLst>
                <a:ext uri="{FF2B5EF4-FFF2-40B4-BE49-F238E27FC236}">
                  <a16:creationId xmlns:a16="http://schemas.microsoft.com/office/drawing/2014/main" id="{0FF187FC-DA44-E78B-8347-FE3D47C015BA}"/>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169" name="Straight Connector 168">
              <a:extLst>
                <a:ext uri="{FF2B5EF4-FFF2-40B4-BE49-F238E27FC236}">
                  <a16:creationId xmlns:a16="http://schemas.microsoft.com/office/drawing/2014/main" id="{EADF6092-1997-F734-9BEF-A44C7570FD37}"/>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B2879C6F-DD17-D633-091A-58BCEF4C2FAA}"/>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71" name="Group 170">
            <a:extLst>
              <a:ext uri="{FF2B5EF4-FFF2-40B4-BE49-F238E27FC236}">
                <a16:creationId xmlns:a16="http://schemas.microsoft.com/office/drawing/2014/main" id="{6AE9E2BE-4D81-B039-B343-339CB23A815B}"/>
              </a:ext>
            </a:extLst>
          </p:cNvPr>
          <p:cNvGrpSpPr/>
          <p:nvPr/>
        </p:nvGrpSpPr>
        <p:grpSpPr>
          <a:xfrm>
            <a:off x="4287752" y="3741601"/>
            <a:ext cx="155560" cy="151199"/>
            <a:chOff x="3499809" y="-565278"/>
            <a:chExt cx="129633" cy="125999"/>
          </a:xfrm>
        </p:grpSpPr>
        <p:sp>
          <p:nvSpPr>
            <p:cNvPr id="172" name="Rounded Rectangle 171">
              <a:extLst>
                <a:ext uri="{FF2B5EF4-FFF2-40B4-BE49-F238E27FC236}">
                  <a16:creationId xmlns:a16="http://schemas.microsoft.com/office/drawing/2014/main" id="{E9E90561-C265-5F32-F10A-05B62DCBBF49}"/>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173" name="Straight Connector 172">
              <a:extLst>
                <a:ext uri="{FF2B5EF4-FFF2-40B4-BE49-F238E27FC236}">
                  <a16:creationId xmlns:a16="http://schemas.microsoft.com/office/drawing/2014/main" id="{47611D16-6A7A-E7E7-F78C-2BC835CC7A1E}"/>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0613279A-F5A9-4D36-33BF-B65D8EB2ADF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75" name="Group 174">
            <a:extLst>
              <a:ext uri="{FF2B5EF4-FFF2-40B4-BE49-F238E27FC236}">
                <a16:creationId xmlns:a16="http://schemas.microsoft.com/office/drawing/2014/main" id="{088E09BE-D4A9-E9AA-4714-8EFA384075D1}"/>
              </a:ext>
            </a:extLst>
          </p:cNvPr>
          <p:cNvGrpSpPr/>
          <p:nvPr/>
        </p:nvGrpSpPr>
        <p:grpSpPr>
          <a:xfrm>
            <a:off x="5731444" y="3741601"/>
            <a:ext cx="155560" cy="151199"/>
            <a:chOff x="3499809" y="-565278"/>
            <a:chExt cx="129633" cy="125999"/>
          </a:xfrm>
        </p:grpSpPr>
        <p:sp>
          <p:nvSpPr>
            <p:cNvPr id="176" name="Rounded Rectangle 175">
              <a:extLst>
                <a:ext uri="{FF2B5EF4-FFF2-40B4-BE49-F238E27FC236}">
                  <a16:creationId xmlns:a16="http://schemas.microsoft.com/office/drawing/2014/main" id="{83C283B9-1B18-51A0-FCC7-33DF184622A3}"/>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177" name="Straight Connector 176">
              <a:extLst>
                <a:ext uri="{FF2B5EF4-FFF2-40B4-BE49-F238E27FC236}">
                  <a16:creationId xmlns:a16="http://schemas.microsoft.com/office/drawing/2014/main" id="{EB253B31-7F3C-E955-32D7-36877A4ED30F}"/>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78" name="Straight Connector 177">
              <a:extLst>
                <a:ext uri="{FF2B5EF4-FFF2-40B4-BE49-F238E27FC236}">
                  <a16:creationId xmlns:a16="http://schemas.microsoft.com/office/drawing/2014/main" id="{194E53C7-3D3B-A96D-5B73-E6FAB9DC119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79" name="Group 178">
            <a:extLst>
              <a:ext uri="{FF2B5EF4-FFF2-40B4-BE49-F238E27FC236}">
                <a16:creationId xmlns:a16="http://schemas.microsoft.com/office/drawing/2014/main" id="{725FD895-BCDD-3F82-F2C6-7B243EF9EF74}"/>
              </a:ext>
            </a:extLst>
          </p:cNvPr>
          <p:cNvGrpSpPr/>
          <p:nvPr/>
        </p:nvGrpSpPr>
        <p:grpSpPr>
          <a:xfrm>
            <a:off x="7150528" y="3741601"/>
            <a:ext cx="155560" cy="151199"/>
            <a:chOff x="3499809" y="-565278"/>
            <a:chExt cx="129633" cy="125999"/>
          </a:xfrm>
        </p:grpSpPr>
        <p:sp>
          <p:nvSpPr>
            <p:cNvPr id="180" name="Rounded Rectangle 179">
              <a:extLst>
                <a:ext uri="{FF2B5EF4-FFF2-40B4-BE49-F238E27FC236}">
                  <a16:creationId xmlns:a16="http://schemas.microsoft.com/office/drawing/2014/main" id="{51550EB4-D0E3-0C23-2DC9-D78F1D5CAE3B}"/>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181" name="Straight Connector 180">
              <a:extLst>
                <a:ext uri="{FF2B5EF4-FFF2-40B4-BE49-F238E27FC236}">
                  <a16:creationId xmlns:a16="http://schemas.microsoft.com/office/drawing/2014/main" id="{37B7E7DD-1726-A201-99BE-FA7549830B52}"/>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82" name="Straight Connector 181">
              <a:extLst>
                <a:ext uri="{FF2B5EF4-FFF2-40B4-BE49-F238E27FC236}">
                  <a16:creationId xmlns:a16="http://schemas.microsoft.com/office/drawing/2014/main" id="{179A1053-E9CD-D9DB-0FDE-5ECE7D0FDE20}"/>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83" name="Group 182">
            <a:extLst>
              <a:ext uri="{FF2B5EF4-FFF2-40B4-BE49-F238E27FC236}">
                <a16:creationId xmlns:a16="http://schemas.microsoft.com/office/drawing/2014/main" id="{C3E69DC8-64C7-6EBF-1391-C3FC55D20B62}"/>
              </a:ext>
            </a:extLst>
          </p:cNvPr>
          <p:cNvGrpSpPr/>
          <p:nvPr/>
        </p:nvGrpSpPr>
        <p:grpSpPr>
          <a:xfrm>
            <a:off x="8601255" y="3741601"/>
            <a:ext cx="155560" cy="151199"/>
            <a:chOff x="3499809" y="-565278"/>
            <a:chExt cx="129633" cy="125999"/>
          </a:xfrm>
        </p:grpSpPr>
        <p:sp>
          <p:nvSpPr>
            <p:cNvPr id="184" name="Rounded Rectangle 183">
              <a:extLst>
                <a:ext uri="{FF2B5EF4-FFF2-40B4-BE49-F238E27FC236}">
                  <a16:creationId xmlns:a16="http://schemas.microsoft.com/office/drawing/2014/main" id="{2C4A195D-A021-8E23-3B7D-13E5EBE82211}"/>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185" name="Straight Connector 184">
              <a:extLst>
                <a:ext uri="{FF2B5EF4-FFF2-40B4-BE49-F238E27FC236}">
                  <a16:creationId xmlns:a16="http://schemas.microsoft.com/office/drawing/2014/main" id="{D5D4467B-96D0-1747-F405-CD5E3E95A188}"/>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86" name="Straight Connector 185">
              <a:extLst>
                <a:ext uri="{FF2B5EF4-FFF2-40B4-BE49-F238E27FC236}">
                  <a16:creationId xmlns:a16="http://schemas.microsoft.com/office/drawing/2014/main" id="{38F5B38B-E9A6-AE8E-D8C5-A55700A958C9}"/>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87" name="Group 186">
            <a:extLst>
              <a:ext uri="{FF2B5EF4-FFF2-40B4-BE49-F238E27FC236}">
                <a16:creationId xmlns:a16="http://schemas.microsoft.com/office/drawing/2014/main" id="{5BC5C064-7BF9-CF69-8AF5-1155CF56B32F}"/>
              </a:ext>
            </a:extLst>
          </p:cNvPr>
          <p:cNvGrpSpPr/>
          <p:nvPr/>
        </p:nvGrpSpPr>
        <p:grpSpPr>
          <a:xfrm>
            <a:off x="4287752" y="4395747"/>
            <a:ext cx="155560" cy="151199"/>
            <a:chOff x="3499809" y="-565278"/>
            <a:chExt cx="129633" cy="125999"/>
          </a:xfrm>
        </p:grpSpPr>
        <p:sp>
          <p:nvSpPr>
            <p:cNvPr id="188" name="Rounded Rectangle 187">
              <a:extLst>
                <a:ext uri="{FF2B5EF4-FFF2-40B4-BE49-F238E27FC236}">
                  <a16:creationId xmlns:a16="http://schemas.microsoft.com/office/drawing/2014/main" id="{FAA16221-7CBB-2283-E028-7FCA7F7D1555}"/>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189" name="Straight Connector 188">
              <a:extLst>
                <a:ext uri="{FF2B5EF4-FFF2-40B4-BE49-F238E27FC236}">
                  <a16:creationId xmlns:a16="http://schemas.microsoft.com/office/drawing/2014/main" id="{8A744355-7958-33F6-4331-F4C8376B87CA}"/>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90" name="Straight Connector 189">
              <a:extLst>
                <a:ext uri="{FF2B5EF4-FFF2-40B4-BE49-F238E27FC236}">
                  <a16:creationId xmlns:a16="http://schemas.microsoft.com/office/drawing/2014/main" id="{B5476A36-4743-E244-A52A-89F518C808E6}"/>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91" name="Group 190">
            <a:extLst>
              <a:ext uri="{FF2B5EF4-FFF2-40B4-BE49-F238E27FC236}">
                <a16:creationId xmlns:a16="http://schemas.microsoft.com/office/drawing/2014/main" id="{0A5311D1-6B1F-0218-4542-A388A3C72788}"/>
              </a:ext>
            </a:extLst>
          </p:cNvPr>
          <p:cNvGrpSpPr/>
          <p:nvPr/>
        </p:nvGrpSpPr>
        <p:grpSpPr>
          <a:xfrm>
            <a:off x="5731444" y="4395747"/>
            <a:ext cx="155560" cy="151199"/>
            <a:chOff x="3499809" y="-565278"/>
            <a:chExt cx="129633" cy="125999"/>
          </a:xfrm>
        </p:grpSpPr>
        <p:sp>
          <p:nvSpPr>
            <p:cNvPr id="192" name="Rounded Rectangle 191">
              <a:extLst>
                <a:ext uri="{FF2B5EF4-FFF2-40B4-BE49-F238E27FC236}">
                  <a16:creationId xmlns:a16="http://schemas.microsoft.com/office/drawing/2014/main" id="{E0CAE15D-A07E-BBB4-4DAE-8D902EA68B44}"/>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193" name="Straight Connector 192">
              <a:extLst>
                <a:ext uri="{FF2B5EF4-FFF2-40B4-BE49-F238E27FC236}">
                  <a16:creationId xmlns:a16="http://schemas.microsoft.com/office/drawing/2014/main" id="{BD865C35-C9D1-0EDC-6AE6-598B7275CEFA}"/>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94" name="Straight Connector 193">
              <a:extLst>
                <a:ext uri="{FF2B5EF4-FFF2-40B4-BE49-F238E27FC236}">
                  <a16:creationId xmlns:a16="http://schemas.microsoft.com/office/drawing/2014/main" id="{0C148682-1035-B5D1-552B-35A1EEF7596E}"/>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95" name="Group 194">
            <a:extLst>
              <a:ext uri="{FF2B5EF4-FFF2-40B4-BE49-F238E27FC236}">
                <a16:creationId xmlns:a16="http://schemas.microsoft.com/office/drawing/2014/main" id="{7DA63F46-DF7C-299F-A3D0-ABA123F10CC6}"/>
              </a:ext>
            </a:extLst>
          </p:cNvPr>
          <p:cNvGrpSpPr/>
          <p:nvPr/>
        </p:nvGrpSpPr>
        <p:grpSpPr>
          <a:xfrm>
            <a:off x="7150528" y="4395747"/>
            <a:ext cx="155560" cy="151199"/>
            <a:chOff x="3499809" y="-565278"/>
            <a:chExt cx="129633" cy="125999"/>
          </a:xfrm>
        </p:grpSpPr>
        <p:sp>
          <p:nvSpPr>
            <p:cNvPr id="196" name="Rounded Rectangle 195">
              <a:extLst>
                <a:ext uri="{FF2B5EF4-FFF2-40B4-BE49-F238E27FC236}">
                  <a16:creationId xmlns:a16="http://schemas.microsoft.com/office/drawing/2014/main" id="{22941358-48CF-6696-E499-9094AE698398}"/>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197" name="Straight Connector 196">
              <a:extLst>
                <a:ext uri="{FF2B5EF4-FFF2-40B4-BE49-F238E27FC236}">
                  <a16:creationId xmlns:a16="http://schemas.microsoft.com/office/drawing/2014/main" id="{5171061B-4F33-5204-535C-7E7A8BC3D3B6}"/>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98" name="Straight Connector 197">
              <a:extLst>
                <a:ext uri="{FF2B5EF4-FFF2-40B4-BE49-F238E27FC236}">
                  <a16:creationId xmlns:a16="http://schemas.microsoft.com/office/drawing/2014/main" id="{051F9B90-E532-C9B1-CA57-641D8E0D5FED}"/>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99" name="Group 198">
            <a:extLst>
              <a:ext uri="{FF2B5EF4-FFF2-40B4-BE49-F238E27FC236}">
                <a16:creationId xmlns:a16="http://schemas.microsoft.com/office/drawing/2014/main" id="{A854A7CB-A4F7-6CCC-38D6-637DBA7D2CD7}"/>
              </a:ext>
            </a:extLst>
          </p:cNvPr>
          <p:cNvGrpSpPr/>
          <p:nvPr/>
        </p:nvGrpSpPr>
        <p:grpSpPr>
          <a:xfrm>
            <a:off x="8601255" y="4395747"/>
            <a:ext cx="155560" cy="151199"/>
            <a:chOff x="3499809" y="-565278"/>
            <a:chExt cx="129633" cy="125999"/>
          </a:xfrm>
        </p:grpSpPr>
        <p:sp>
          <p:nvSpPr>
            <p:cNvPr id="200" name="Rounded Rectangle 199">
              <a:extLst>
                <a:ext uri="{FF2B5EF4-FFF2-40B4-BE49-F238E27FC236}">
                  <a16:creationId xmlns:a16="http://schemas.microsoft.com/office/drawing/2014/main" id="{8D0981EE-853B-FBF1-92C7-29C1B842AE02}"/>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201" name="Straight Connector 200">
              <a:extLst>
                <a:ext uri="{FF2B5EF4-FFF2-40B4-BE49-F238E27FC236}">
                  <a16:creationId xmlns:a16="http://schemas.microsoft.com/office/drawing/2014/main" id="{B5C0B73D-1761-2258-EE7B-65AF1B51FE9B}"/>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02" name="Straight Connector 201">
              <a:extLst>
                <a:ext uri="{FF2B5EF4-FFF2-40B4-BE49-F238E27FC236}">
                  <a16:creationId xmlns:a16="http://schemas.microsoft.com/office/drawing/2014/main" id="{36CB13B0-995C-D426-2F23-C8FE3BDB31C8}"/>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207" name="Group 206">
            <a:extLst>
              <a:ext uri="{FF2B5EF4-FFF2-40B4-BE49-F238E27FC236}">
                <a16:creationId xmlns:a16="http://schemas.microsoft.com/office/drawing/2014/main" id="{C6E9EED7-1E5D-EB1E-98B2-0CE1777F895D}"/>
              </a:ext>
            </a:extLst>
          </p:cNvPr>
          <p:cNvGrpSpPr/>
          <p:nvPr/>
        </p:nvGrpSpPr>
        <p:grpSpPr>
          <a:xfrm>
            <a:off x="5731444" y="5099132"/>
            <a:ext cx="155560" cy="151199"/>
            <a:chOff x="3499809" y="-565278"/>
            <a:chExt cx="129633" cy="125999"/>
          </a:xfrm>
        </p:grpSpPr>
        <p:sp>
          <p:nvSpPr>
            <p:cNvPr id="208" name="Rounded Rectangle 207">
              <a:extLst>
                <a:ext uri="{FF2B5EF4-FFF2-40B4-BE49-F238E27FC236}">
                  <a16:creationId xmlns:a16="http://schemas.microsoft.com/office/drawing/2014/main" id="{CE5DB2BF-B626-F138-EFF3-BCA288763C15}"/>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209" name="Straight Connector 208">
              <a:extLst>
                <a:ext uri="{FF2B5EF4-FFF2-40B4-BE49-F238E27FC236}">
                  <a16:creationId xmlns:a16="http://schemas.microsoft.com/office/drawing/2014/main" id="{E55E512C-E047-03BA-70F3-57CC503D4345}"/>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10" name="Straight Connector 209">
              <a:extLst>
                <a:ext uri="{FF2B5EF4-FFF2-40B4-BE49-F238E27FC236}">
                  <a16:creationId xmlns:a16="http://schemas.microsoft.com/office/drawing/2014/main" id="{06328D82-7A62-4EBF-5F69-0476D2D93CA1}"/>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211" name="Group 210">
            <a:extLst>
              <a:ext uri="{FF2B5EF4-FFF2-40B4-BE49-F238E27FC236}">
                <a16:creationId xmlns:a16="http://schemas.microsoft.com/office/drawing/2014/main" id="{9E39EE3D-DF80-345F-F855-0678656524EC}"/>
              </a:ext>
            </a:extLst>
          </p:cNvPr>
          <p:cNvGrpSpPr/>
          <p:nvPr/>
        </p:nvGrpSpPr>
        <p:grpSpPr>
          <a:xfrm>
            <a:off x="7150528" y="5099132"/>
            <a:ext cx="155560" cy="151199"/>
            <a:chOff x="3499809" y="-565278"/>
            <a:chExt cx="129633" cy="125999"/>
          </a:xfrm>
        </p:grpSpPr>
        <p:sp>
          <p:nvSpPr>
            <p:cNvPr id="212" name="Rounded Rectangle 211">
              <a:extLst>
                <a:ext uri="{FF2B5EF4-FFF2-40B4-BE49-F238E27FC236}">
                  <a16:creationId xmlns:a16="http://schemas.microsoft.com/office/drawing/2014/main" id="{9307342F-9496-3626-AFFC-A8C8354CEC67}"/>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213" name="Straight Connector 212">
              <a:extLst>
                <a:ext uri="{FF2B5EF4-FFF2-40B4-BE49-F238E27FC236}">
                  <a16:creationId xmlns:a16="http://schemas.microsoft.com/office/drawing/2014/main" id="{71D2A4D1-B96E-4D88-8DF6-B9022E2E75A1}"/>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14" name="Straight Connector 213">
              <a:extLst>
                <a:ext uri="{FF2B5EF4-FFF2-40B4-BE49-F238E27FC236}">
                  <a16:creationId xmlns:a16="http://schemas.microsoft.com/office/drawing/2014/main" id="{3C3E4B78-3900-0CB4-625F-67C3E3813BE5}"/>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215" name="Group 214">
            <a:extLst>
              <a:ext uri="{FF2B5EF4-FFF2-40B4-BE49-F238E27FC236}">
                <a16:creationId xmlns:a16="http://schemas.microsoft.com/office/drawing/2014/main" id="{86DF526D-F1FE-9240-B070-D9429245A93F}"/>
              </a:ext>
            </a:extLst>
          </p:cNvPr>
          <p:cNvGrpSpPr/>
          <p:nvPr/>
        </p:nvGrpSpPr>
        <p:grpSpPr>
          <a:xfrm>
            <a:off x="8601255" y="5099132"/>
            <a:ext cx="155560" cy="151199"/>
            <a:chOff x="3499809" y="-565278"/>
            <a:chExt cx="129633" cy="125999"/>
          </a:xfrm>
        </p:grpSpPr>
        <p:sp>
          <p:nvSpPr>
            <p:cNvPr id="216" name="Rounded Rectangle 215">
              <a:extLst>
                <a:ext uri="{FF2B5EF4-FFF2-40B4-BE49-F238E27FC236}">
                  <a16:creationId xmlns:a16="http://schemas.microsoft.com/office/drawing/2014/main" id="{24AC01E8-93CC-73E5-F7E8-C4F9A36FE039}"/>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217" name="Straight Connector 216">
              <a:extLst>
                <a:ext uri="{FF2B5EF4-FFF2-40B4-BE49-F238E27FC236}">
                  <a16:creationId xmlns:a16="http://schemas.microsoft.com/office/drawing/2014/main" id="{65A44AE8-C626-ECBB-1624-7DF220E2E692}"/>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18" name="Straight Connector 217">
              <a:extLst>
                <a:ext uri="{FF2B5EF4-FFF2-40B4-BE49-F238E27FC236}">
                  <a16:creationId xmlns:a16="http://schemas.microsoft.com/office/drawing/2014/main" id="{889DED90-8116-9739-2C58-1826AC721F9D}"/>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sp>
        <p:nvSpPr>
          <p:cNvPr id="229" name="Right Triangle 228">
            <a:extLst>
              <a:ext uri="{FF2B5EF4-FFF2-40B4-BE49-F238E27FC236}">
                <a16:creationId xmlns:a16="http://schemas.microsoft.com/office/drawing/2014/main" id="{3A0955D9-7A36-67A0-1B73-3141E28B7692}"/>
              </a:ext>
            </a:extLst>
          </p:cNvPr>
          <p:cNvSpPr/>
          <p:nvPr/>
        </p:nvSpPr>
        <p:spPr>
          <a:xfrm rot="16200000">
            <a:off x="2894498" y="2040089"/>
            <a:ext cx="580150" cy="906022"/>
          </a:xfrm>
          <a:prstGeom prst="rtTriangle">
            <a:avLst/>
          </a:prstGeom>
          <a:solidFill>
            <a:srgbClr val="009F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DK" sz="1620">
              <a:solidFill>
                <a:srgbClr val="FFFFFF"/>
              </a:solidFill>
              <a:latin typeface="Ellab Sans"/>
            </a:endParaRPr>
          </a:p>
        </p:txBody>
      </p:sp>
      <p:cxnSp>
        <p:nvCxnSpPr>
          <p:cNvPr id="60" name="Straight Connector 59">
            <a:extLst>
              <a:ext uri="{FF2B5EF4-FFF2-40B4-BE49-F238E27FC236}">
                <a16:creationId xmlns:a16="http://schemas.microsoft.com/office/drawing/2014/main" id="{C6B3857E-07DB-52B8-F772-95CBE54F2875}"/>
              </a:ext>
            </a:extLst>
          </p:cNvPr>
          <p:cNvCxnSpPr>
            <a:cxnSpLocks/>
          </p:cNvCxnSpPr>
          <p:nvPr/>
        </p:nvCxnSpPr>
        <p:spPr>
          <a:xfrm>
            <a:off x="9385922" y="2203025"/>
            <a:ext cx="0" cy="330472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4034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C9F72D-5A57-2905-3968-8F133149D43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7DC9AE5-815E-D6E7-C367-B16352D3C1D6}"/>
              </a:ext>
            </a:extLst>
          </p:cNvPr>
          <p:cNvSpPr/>
          <p:nvPr/>
        </p:nvSpPr>
        <p:spPr>
          <a:xfrm>
            <a:off x="4278755" y="879127"/>
            <a:ext cx="6674090" cy="5431715"/>
          </a:xfrm>
          <a:prstGeom prst="rect">
            <a:avLst/>
          </a:prstGeom>
          <a:solidFill>
            <a:srgbClr val="00AD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US" sz="1620">
              <a:solidFill>
                <a:srgbClr val="FFFFFF"/>
              </a:solidFill>
              <a:latin typeface="Ellab Sans"/>
            </a:endParaRPr>
          </a:p>
        </p:txBody>
      </p:sp>
      <p:grpSp>
        <p:nvGrpSpPr>
          <p:cNvPr id="16" name="Group 15">
            <a:extLst>
              <a:ext uri="{FF2B5EF4-FFF2-40B4-BE49-F238E27FC236}">
                <a16:creationId xmlns:a16="http://schemas.microsoft.com/office/drawing/2014/main" id="{3CBBAA79-0272-FAC9-76E6-71EE4E115FED}"/>
              </a:ext>
            </a:extLst>
          </p:cNvPr>
          <p:cNvGrpSpPr/>
          <p:nvPr/>
        </p:nvGrpSpPr>
        <p:grpSpPr>
          <a:xfrm>
            <a:off x="1082759" y="1108017"/>
            <a:ext cx="6564252" cy="1489538"/>
            <a:chOff x="3822761" y="1213930"/>
            <a:chExt cx="8369239" cy="1655043"/>
          </a:xfrm>
          <a:solidFill>
            <a:srgbClr val="00ADEF"/>
          </a:solidFill>
        </p:grpSpPr>
        <p:sp>
          <p:nvSpPr>
            <p:cNvPr id="5" name="Rectangle: Rounded Corners 4">
              <a:extLst>
                <a:ext uri="{FF2B5EF4-FFF2-40B4-BE49-F238E27FC236}">
                  <a16:creationId xmlns:a16="http://schemas.microsoft.com/office/drawing/2014/main" id="{C847BEA7-2974-CBE4-9568-BF3C5B87C04F}"/>
                </a:ext>
              </a:extLst>
            </p:cNvPr>
            <p:cNvSpPr/>
            <p:nvPr/>
          </p:nvSpPr>
          <p:spPr>
            <a:xfrm>
              <a:off x="3822761" y="1213930"/>
              <a:ext cx="8369239" cy="1655043"/>
            </a:xfrm>
            <a:prstGeom prst="roundRect">
              <a:avLst>
                <a:gd name="adj" fmla="val 0"/>
              </a:avLst>
            </a:prstGeom>
            <a:grpFill/>
            <a:ln w="12700">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defTabSz="822960"/>
              <a:r>
                <a:rPr lang="en-GB" sz="1620" b="1">
                  <a:solidFill>
                    <a:srgbClr val="FFFFFF"/>
                  </a:solidFill>
                  <a:latin typeface="Ellab Sans"/>
                </a:rPr>
                <a:t>Consulting</a:t>
              </a:r>
              <a:endParaRPr lang="da-DK" sz="1620" b="1">
                <a:solidFill>
                  <a:srgbClr val="FFFFFF"/>
                </a:solidFill>
                <a:latin typeface="Ellab Sans"/>
              </a:endParaRPr>
            </a:p>
          </p:txBody>
        </p:sp>
        <p:sp>
          <p:nvSpPr>
            <p:cNvPr id="14" name="Rectangle: Rounded Corners 13">
              <a:extLst>
                <a:ext uri="{FF2B5EF4-FFF2-40B4-BE49-F238E27FC236}">
                  <a16:creationId xmlns:a16="http://schemas.microsoft.com/office/drawing/2014/main" id="{9DBF8FAF-01A4-2D3E-21B9-0CF7B8CC5803}"/>
                </a:ext>
              </a:extLst>
            </p:cNvPr>
            <p:cNvSpPr/>
            <p:nvPr/>
          </p:nvSpPr>
          <p:spPr>
            <a:xfrm>
              <a:off x="4996326" y="1728000"/>
              <a:ext cx="5906630" cy="730423"/>
            </a:xfrm>
            <a:prstGeom prst="roundRect">
              <a:avLst>
                <a:gd name="adj" fmla="val 8249"/>
              </a:avLst>
            </a:prstGeom>
            <a:grpFill/>
            <a:ln w="12700">
              <a:noFill/>
              <a:prstDash val="sysDot"/>
            </a:ln>
          </p:spPr>
          <p:style>
            <a:lnRef idx="2">
              <a:schemeClr val="accent1">
                <a:shade val="15000"/>
              </a:schemeClr>
            </a:lnRef>
            <a:fillRef idx="1">
              <a:schemeClr val="accent1"/>
            </a:fillRef>
            <a:effectRef idx="0">
              <a:schemeClr val="accent1"/>
            </a:effectRef>
            <a:fontRef idx="minor">
              <a:schemeClr val="lt1"/>
            </a:fontRef>
          </p:style>
          <p:txBody>
            <a:bodyPr numCol="2" rtlCol="0" anchor="t"/>
            <a:lstStyle/>
            <a:p>
              <a:pPr defTabSz="822960"/>
              <a:r>
                <a:rPr lang="en-GB" sz="1080" b="1">
                  <a:solidFill>
                    <a:srgbClr val="00004B"/>
                  </a:solidFill>
                  <a:latin typeface="Ellab Sans"/>
                </a:rPr>
                <a:t>Achieve end-to-end compliance with seasoned experts throughout your process life cycle.</a:t>
              </a:r>
              <a:br>
                <a:rPr lang="en-GB" sz="1080">
                  <a:solidFill>
                    <a:srgbClr val="FFFFFF"/>
                  </a:solidFill>
                  <a:latin typeface="Ellab Sans"/>
                </a:rPr>
              </a:br>
              <a:endParaRPr lang="en-GB" sz="1080">
                <a:solidFill>
                  <a:srgbClr val="FFFFFF"/>
                </a:solidFill>
                <a:latin typeface="Ellab Sans"/>
              </a:endParaRPr>
            </a:p>
            <a:p>
              <a:pPr marL="505440" indent="-185166" defTabSz="822960">
                <a:buFont typeface="Arial" panose="020B0604020202020204" pitchFamily="34" charset="0"/>
                <a:buChar char="•"/>
              </a:pPr>
              <a:r>
                <a:rPr lang="en-GB" sz="1080">
                  <a:solidFill>
                    <a:srgbClr val="FFFFFF"/>
                  </a:solidFill>
                  <a:latin typeface="Ellab Sans"/>
                </a:rPr>
                <a:t>GMP consulting </a:t>
              </a:r>
            </a:p>
            <a:p>
              <a:pPr marL="505440" indent="-185166" defTabSz="822960">
                <a:buFont typeface="Arial" panose="020B0604020202020204" pitchFamily="34" charset="0"/>
                <a:buChar char="•"/>
              </a:pPr>
              <a:r>
                <a:rPr lang="en-GB" sz="1080">
                  <a:solidFill>
                    <a:srgbClr val="FFFFFF"/>
                  </a:solidFill>
                  <a:latin typeface="Ellab Sans"/>
                </a:rPr>
                <a:t>Process engineering</a:t>
              </a:r>
            </a:p>
            <a:p>
              <a:pPr marL="505440" indent="-185166" defTabSz="822960">
                <a:buFont typeface="Arial" panose="020B0604020202020204" pitchFamily="34" charset="0"/>
                <a:buChar char="•"/>
              </a:pPr>
              <a:r>
                <a:rPr lang="en-GB" sz="1080">
                  <a:solidFill>
                    <a:srgbClr val="FFFFFF"/>
                  </a:solidFill>
                  <a:latin typeface="Ellab Sans"/>
                </a:rPr>
                <a:t>Project management</a:t>
              </a:r>
              <a:endParaRPr lang="da-DK" sz="1080">
                <a:solidFill>
                  <a:srgbClr val="FFFFFF"/>
                </a:solidFill>
                <a:latin typeface="Ellab Sans"/>
              </a:endParaRPr>
            </a:p>
          </p:txBody>
        </p:sp>
      </p:grpSp>
      <p:sp>
        <p:nvSpPr>
          <p:cNvPr id="9" name="Rectangle: Rounded Corners 8">
            <a:extLst>
              <a:ext uri="{FF2B5EF4-FFF2-40B4-BE49-F238E27FC236}">
                <a16:creationId xmlns:a16="http://schemas.microsoft.com/office/drawing/2014/main" id="{B0CBC9B1-849A-AB47-3258-DC9B44D63AC1}"/>
              </a:ext>
            </a:extLst>
          </p:cNvPr>
          <p:cNvSpPr/>
          <p:nvPr/>
        </p:nvSpPr>
        <p:spPr>
          <a:xfrm>
            <a:off x="3329383" y="2753721"/>
            <a:ext cx="2266152" cy="37173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defTabSz="822960"/>
            <a:r>
              <a:rPr lang="en-GB" sz="1620" b="1">
                <a:solidFill>
                  <a:srgbClr val="FFFFFF"/>
                </a:solidFill>
                <a:latin typeface="Ellab Sans"/>
              </a:rPr>
              <a:t>Monitoring</a:t>
            </a:r>
            <a:endParaRPr lang="da-DK" sz="1620" b="1">
              <a:solidFill>
                <a:srgbClr val="FFFFFF"/>
              </a:solidFill>
              <a:latin typeface="Ellab Sans"/>
            </a:endParaRPr>
          </a:p>
        </p:txBody>
      </p:sp>
      <p:sp>
        <p:nvSpPr>
          <p:cNvPr id="10" name="Rectangle: Rounded Corners 9">
            <a:extLst>
              <a:ext uri="{FF2B5EF4-FFF2-40B4-BE49-F238E27FC236}">
                <a16:creationId xmlns:a16="http://schemas.microsoft.com/office/drawing/2014/main" id="{CDDEB022-5DD5-DF59-78F5-481ACAE0C2A7}"/>
              </a:ext>
            </a:extLst>
          </p:cNvPr>
          <p:cNvSpPr/>
          <p:nvPr/>
        </p:nvSpPr>
        <p:spPr>
          <a:xfrm>
            <a:off x="5619718" y="2753721"/>
            <a:ext cx="2266152" cy="331154"/>
          </a:xfrm>
          <a:prstGeom prst="roundRect">
            <a:avLst>
              <a:gd name="adj" fmla="val 8164"/>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defTabSz="822960"/>
            <a:r>
              <a:rPr lang="en-GB" sz="1620" b="1">
                <a:solidFill>
                  <a:srgbClr val="FFFFFF"/>
                </a:solidFill>
                <a:latin typeface="Ellab Sans"/>
              </a:rPr>
              <a:t>Calibration</a:t>
            </a:r>
            <a:endParaRPr lang="da-DK" sz="1620" b="1">
              <a:solidFill>
                <a:srgbClr val="FFFFFF"/>
              </a:solidFill>
              <a:latin typeface="Ellab Sans"/>
            </a:endParaRPr>
          </a:p>
        </p:txBody>
      </p:sp>
      <p:sp>
        <p:nvSpPr>
          <p:cNvPr id="12" name="Rectangle: Rounded Corners 11">
            <a:extLst>
              <a:ext uri="{FF2B5EF4-FFF2-40B4-BE49-F238E27FC236}">
                <a16:creationId xmlns:a16="http://schemas.microsoft.com/office/drawing/2014/main" id="{8B057B6F-9647-7ADF-F7F1-09747E304C0A}"/>
              </a:ext>
            </a:extLst>
          </p:cNvPr>
          <p:cNvSpPr/>
          <p:nvPr/>
        </p:nvSpPr>
        <p:spPr>
          <a:xfrm>
            <a:off x="3599822" y="3130244"/>
            <a:ext cx="1788432" cy="2393610"/>
          </a:xfrm>
          <a:prstGeom prst="roundRect">
            <a:avLst>
              <a:gd name="adj" fmla="val 8249"/>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822960"/>
            <a:r>
              <a:rPr lang="en-GB" sz="1080" b="1">
                <a:solidFill>
                  <a:srgbClr val="00004B"/>
                </a:solidFill>
                <a:latin typeface="Ellab Sans"/>
              </a:rPr>
              <a:t>Protect valuable assets with continuous environmental monitoring. </a:t>
            </a:r>
            <a:br>
              <a:rPr lang="en-GB" sz="1080">
                <a:solidFill>
                  <a:srgbClr val="FFFFFF"/>
                </a:solidFill>
                <a:latin typeface="Ellab Sans"/>
              </a:rPr>
            </a:br>
            <a:endParaRPr lang="en-GB" sz="1080">
              <a:solidFill>
                <a:srgbClr val="FFFFFF"/>
              </a:solidFill>
              <a:latin typeface="Ellab Sans"/>
            </a:endParaRPr>
          </a:p>
          <a:p>
            <a:pPr marL="185166" indent="-185166" defTabSz="822960">
              <a:buFont typeface="Arial" panose="020B0604020202020204" pitchFamily="34" charset="0"/>
              <a:buChar char="•"/>
            </a:pPr>
            <a:r>
              <a:rPr lang="en-GB" sz="1080">
                <a:solidFill>
                  <a:srgbClr val="FFFFFF"/>
                </a:solidFill>
                <a:latin typeface="Ellab Sans"/>
              </a:rPr>
              <a:t>24/7 monitoring systems for regulated environments</a:t>
            </a:r>
          </a:p>
          <a:p>
            <a:pPr marL="185166" indent="-185166" defTabSz="822960">
              <a:buFont typeface="Arial" panose="020B0604020202020204" pitchFamily="34" charset="0"/>
              <a:buChar char="•"/>
            </a:pPr>
            <a:r>
              <a:rPr lang="en-GB" sz="1080">
                <a:solidFill>
                  <a:srgbClr val="FFFFFF"/>
                </a:solidFill>
                <a:latin typeface="Ellab Sans"/>
              </a:rPr>
              <a:t>IQ/OQ and installation of environmental monitoring</a:t>
            </a:r>
            <a:endParaRPr lang="da-DK" sz="1080">
              <a:solidFill>
                <a:srgbClr val="FFFFFF"/>
              </a:solidFill>
              <a:latin typeface="Ellab Sans"/>
            </a:endParaRPr>
          </a:p>
        </p:txBody>
      </p:sp>
      <p:sp>
        <p:nvSpPr>
          <p:cNvPr id="2" name="Rectangle: Rounded Corners 1">
            <a:extLst>
              <a:ext uri="{FF2B5EF4-FFF2-40B4-BE49-F238E27FC236}">
                <a16:creationId xmlns:a16="http://schemas.microsoft.com/office/drawing/2014/main" id="{8898870A-D21F-553F-CBB9-82FD08E9A60C}"/>
              </a:ext>
            </a:extLst>
          </p:cNvPr>
          <p:cNvSpPr/>
          <p:nvPr/>
        </p:nvSpPr>
        <p:spPr>
          <a:xfrm>
            <a:off x="1216761" y="2747512"/>
            <a:ext cx="2246864" cy="371731"/>
          </a:xfrm>
          <a:prstGeom prst="roundRect">
            <a:avLst>
              <a:gd name="adj" fmla="val 8164"/>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defTabSz="822960"/>
            <a:r>
              <a:rPr lang="en-GB" sz="1620" b="1">
                <a:solidFill>
                  <a:srgbClr val="FFFFFF"/>
                </a:solidFill>
                <a:latin typeface="Ellab Sans"/>
              </a:rPr>
              <a:t>Validation</a:t>
            </a:r>
            <a:endParaRPr lang="da-DK" sz="1620" b="1">
              <a:solidFill>
                <a:srgbClr val="FFFFFF"/>
              </a:solidFill>
              <a:latin typeface="Ellab Sans"/>
            </a:endParaRPr>
          </a:p>
        </p:txBody>
      </p:sp>
      <p:sp>
        <p:nvSpPr>
          <p:cNvPr id="11" name="Rectangle: Rounded Corners 10">
            <a:extLst>
              <a:ext uri="{FF2B5EF4-FFF2-40B4-BE49-F238E27FC236}">
                <a16:creationId xmlns:a16="http://schemas.microsoft.com/office/drawing/2014/main" id="{84032DDE-33B2-9249-8DDC-9441A7B96754}"/>
              </a:ext>
            </a:extLst>
          </p:cNvPr>
          <p:cNvSpPr/>
          <p:nvPr/>
        </p:nvSpPr>
        <p:spPr>
          <a:xfrm>
            <a:off x="1082758" y="3119243"/>
            <a:ext cx="1788432" cy="2393610"/>
          </a:xfrm>
          <a:prstGeom prst="roundRect">
            <a:avLst>
              <a:gd name="adj" fmla="val 8249"/>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822960"/>
            <a:r>
              <a:rPr lang="en-GB" sz="1080" b="1">
                <a:solidFill>
                  <a:srgbClr val="00004B"/>
                </a:solidFill>
                <a:latin typeface="Ellab Sans"/>
              </a:rPr>
              <a:t>Ensure properly tested and documented processes for smoother production and audits.</a:t>
            </a:r>
            <a:br>
              <a:rPr lang="en-GB" sz="1080">
                <a:solidFill>
                  <a:srgbClr val="FFFFFF"/>
                </a:solidFill>
                <a:latin typeface="Ellab Sans"/>
              </a:rPr>
            </a:br>
            <a:endParaRPr lang="en-GB" sz="1080">
              <a:solidFill>
                <a:srgbClr val="FFFFFF"/>
              </a:solidFill>
              <a:latin typeface="Ellab Sans"/>
            </a:endParaRPr>
          </a:p>
          <a:p>
            <a:pPr marL="185166" indent="-185166" defTabSz="822960">
              <a:buFont typeface="Arial" panose="020B0604020202020204" pitchFamily="34" charset="0"/>
              <a:buChar char="•"/>
            </a:pPr>
            <a:r>
              <a:rPr lang="en-GB" sz="1080">
                <a:solidFill>
                  <a:srgbClr val="FFFFFF"/>
                </a:solidFill>
                <a:latin typeface="Ellab Sans"/>
              </a:rPr>
              <a:t>CQV &amp; mapping services</a:t>
            </a:r>
          </a:p>
          <a:p>
            <a:pPr marL="185166" indent="-185166" defTabSz="822960">
              <a:buFont typeface="Arial" panose="020B0604020202020204" pitchFamily="34" charset="0"/>
              <a:buChar char="•"/>
            </a:pPr>
            <a:r>
              <a:rPr lang="en-GB" sz="1080">
                <a:solidFill>
                  <a:srgbClr val="FFFFFF"/>
                </a:solidFill>
                <a:latin typeface="Ellab Sans"/>
              </a:rPr>
              <a:t>Full- or part time staffing</a:t>
            </a:r>
          </a:p>
          <a:p>
            <a:pPr marL="185166" indent="-185166" defTabSz="822960">
              <a:buFont typeface="Arial" panose="020B0604020202020204" pitchFamily="34" charset="0"/>
              <a:buChar char="•"/>
            </a:pPr>
            <a:r>
              <a:rPr lang="en-GB" sz="1080">
                <a:solidFill>
                  <a:srgbClr val="FFFFFF"/>
                </a:solidFill>
                <a:latin typeface="Ellab Sans"/>
              </a:rPr>
              <a:t>Wireless and wired validation systems</a:t>
            </a:r>
          </a:p>
          <a:p>
            <a:pPr marL="185166" indent="-185166" defTabSz="822960">
              <a:buFont typeface="Arial" panose="020B0604020202020204" pitchFamily="34" charset="0"/>
              <a:buChar char="•"/>
            </a:pPr>
            <a:r>
              <a:rPr lang="en-GB" sz="1080">
                <a:solidFill>
                  <a:srgbClr val="FFFFFF"/>
                </a:solidFill>
                <a:latin typeface="Ellab Sans"/>
              </a:rPr>
              <a:t>Validation equipment rentals</a:t>
            </a:r>
            <a:endParaRPr lang="da-DK" sz="1080">
              <a:solidFill>
                <a:srgbClr val="FFFFFF"/>
              </a:solidFill>
              <a:latin typeface="Ellab Sans"/>
            </a:endParaRPr>
          </a:p>
        </p:txBody>
      </p:sp>
      <p:cxnSp>
        <p:nvCxnSpPr>
          <p:cNvPr id="43" name="Straight Connector 42">
            <a:extLst>
              <a:ext uri="{FF2B5EF4-FFF2-40B4-BE49-F238E27FC236}">
                <a16:creationId xmlns:a16="http://schemas.microsoft.com/office/drawing/2014/main" id="{FADC4203-6A6F-218F-7392-71FBCAACC64E}"/>
              </a:ext>
            </a:extLst>
          </p:cNvPr>
          <p:cNvCxnSpPr>
            <a:cxnSpLocks/>
          </p:cNvCxnSpPr>
          <p:nvPr/>
        </p:nvCxnSpPr>
        <p:spPr>
          <a:xfrm>
            <a:off x="944834" y="2480389"/>
            <a:ext cx="6856200" cy="0"/>
          </a:xfrm>
          <a:prstGeom prst="line">
            <a:avLst/>
          </a:prstGeom>
          <a:ln w="12700">
            <a:solidFill>
              <a:schemeClr val="bg1"/>
            </a:solidFill>
            <a:prstDash val="sysDot"/>
          </a:ln>
        </p:spPr>
        <p:style>
          <a:lnRef idx="2">
            <a:schemeClr val="accent1"/>
          </a:lnRef>
          <a:fillRef idx="0">
            <a:schemeClr val="accent1"/>
          </a:fillRef>
          <a:effectRef idx="1">
            <a:schemeClr val="accent1"/>
          </a:effectRef>
          <a:fontRef idx="minor">
            <a:schemeClr val="tx1"/>
          </a:fontRef>
        </p:style>
      </p:cxnSp>
      <p:pic>
        <p:nvPicPr>
          <p:cNvPr id="7" name="Picture 6" descr="A person pointing at a person&#10;&#10;AI-generated content may be incorrect.">
            <a:extLst>
              <a:ext uri="{FF2B5EF4-FFF2-40B4-BE49-F238E27FC236}">
                <a16:creationId xmlns:a16="http://schemas.microsoft.com/office/drawing/2014/main" id="{877D318D-FD45-5E1A-22F8-235517143C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10664" y="1798758"/>
            <a:ext cx="6151687" cy="4833968"/>
          </a:xfrm>
          <a:prstGeom prst="rect">
            <a:avLst/>
          </a:prstGeom>
        </p:spPr>
      </p:pic>
      <p:sp>
        <p:nvSpPr>
          <p:cNvPr id="6" name="Title 5">
            <a:extLst>
              <a:ext uri="{FF2B5EF4-FFF2-40B4-BE49-F238E27FC236}">
                <a16:creationId xmlns:a16="http://schemas.microsoft.com/office/drawing/2014/main" id="{CF8698DB-D125-EC50-A4D0-5621149F8662}"/>
              </a:ext>
            </a:extLst>
          </p:cNvPr>
          <p:cNvSpPr>
            <a:spLocks noGrp="1"/>
          </p:cNvSpPr>
          <p:nvPr>
            <p:ph type="title"/>
          </p:nvPr>
        </p:nvSpPr>
        <p:spPr>
          <a:xfrm>
            <a:off x="8164709" y="1898100"/>
            <a:ext cx="3823720" cy="1102866"/>
          </a:xfrm>
        </p:spPr>
        <p:txBody>
          <a:bodyPr/>
          <a:lstStyle/>
          <a:p>
            <a:r>
              <a:rPr lang="en-GB"/>
              <a:t>What Do We Offer? </a:t>
            </a:r>
            <a:endParaRPr lang="da-DK">
              <a:solidFill>
                <a:srgbClr val="FF0000"/>
              </a:solidFill>
            </a:endParaRPr>
          </a:p>
        </p:txBody>
      </p:sp>
      <p:sp>
        <p:nvSpPr>
          <p:cNvPr id="13" name="Rectangle: Rounded Corners 12">
            <a:extLst>
              <a:ext uri="{FF2B5EF4-FFF2-40B4-BE49-F238E27FC236}">
                <a16:creationId xmlns:a16="http://schemas.microsoft.com/office/drawing/2014/main" id="{6135E2F3-7B65-2C8A-84F4-FF33756A5FB9}"/>
              </a:ext>
            </a:extLst>
          </p:cNvPr>
          <p:cNvSpPr/>
          <p:nvPr/>
        </p:nvSpPr>
        <p:spPr>
          <a:xfrm>
            <a:off x="5858578" y="3138872"/>
            <a:ext cx="1857620" cy="2393610"/>
          </a:xfrm>
          <a:prstGeom prst="roundRect">
            <a:avLst>
              <a:gd name="adj" fmla="val 8249"/>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822960"/>
            <a:r>
              <a:rPr lang="en-GB" sz="1080" b="1">
                <a:solidFill>
                  <a:srgbClr val="00004B"/>
                </a:solidFill>
                <a:latin typeface="Ellab Sans"/>
              </a:rPr>
              <a:t>Rely on your readings and processes through regular and thorough calibrations.</a:t>
            </a:r>
            <a:br>
              <a:rPr lang="en-GB" sz="1080">
                <a:solidFill>
                  <a:srgbClr val="00004B"/>
                </a:solidFill>
                <a:latin typeface="Ellab Sans"/>
              </a:rPr>
            </a:br>
            <a:endParaRPr lang="en-GB" sz="1080">
              <a:solidFill>
                <a:srgbClr val="00004B"/>
              </a:solidFill>
              <a:latin typeface="Ellab Sans"/>
            </a:endParaRPr>
          </a:p>
          <a:p>
            <a:pPr marL="185166" indent="-185166" defTabSz="822960">
              <a:buFont typeface="Arial" panose="020B0604020202020204" pitchFamily="34" charset="0"/>
              <a:buChar char="•"/>
            </a:pPr>
            <a:r>
              <a:rPr lang="en-GB" sz="1080">
                <a:solidFill>
                  <a:srgbClr val="FFFFFF"/>
                </a:solidFill>
                <a:latin typeface="Ellab Sans"/>
              </a:rPr>
              <a:t>On-site calibration services</a:t>
            </a:r>
          </a:p>
          <a:p>
            <a:pPr marL="185166" indent="-185166" defTabSz="822960">
              <a:buFont typeface="Arial" panose="020B0604020202020204" pitchFamily="34" charset="0"/>
              <a:buChar char="•"/>
            </a:pPr>
            <a:r>
              <a:rPr lang="en-GB" sz="1080">
                <a:solidFill>
                  <a:srgbClr val="FFFFFF"/>
                </a:solidFill>
                <a:latin typeface="Ellab Sans"/>
              </a:rPr>
              <a:t>Factory calibration</a:t>
            </a:r>
          </a:p>
          <a:p>
            <a:pPr marL="185166" indent="-185166" defTabSz="822960">
              <a:buFont typeface="Arial" panose="020B0604020202020204" pitchFamily="34" charset="0"/>
              <a:buChar char="•"/>
            </a:pPr>
            <a:r>
              <a:rPr lang="en-GB" sz="1080">
                <a:solidFill>
                  <a:srgbClr val="FFFFFF"/>
                </a:solidFill>
                <a:latin typeface="Ellab Sans"/>
              </a:rPr>
              <a:t>Accredited &amp; traceable calibrations</a:t>
            </a:r>
          </a:p>
          <a:p>
            <a:pPr marL="185166" indent="-185166" defTabSz="822960">
              <a:buFont typeface="Arial" panose="020B0604020202020204" pitchFamily="34" charset="0"/>
              <a:buChar char="•"/>
            </a:pPr>
            <a:r>
              <a:rPr lang="en-GB" sz="1080">
                <a:solidFill>
                  <a:srgbClr val="FFFFFF"/>
                </a:solidFill>
                <a:latin typeface="Ellab Sans"/>
              </a:rPr>
              <a:t>Calibration equipment</a:t>
            </a:r>
          </a:p>
          <a:p>
            <a:pPr marL="185166" indent="-185166" defTabSz="822960">
              <a:buFont typeface="Arial" panose="020B0604020202020204" pitchFamily="34" charset="0"/>
              <a:buChar char="•"/>
            </a:pPr>
            <a:endParaRPr lang="da-DK" sz="1080">
              <a:solidFill>
                <a:srgbClr val="FFFFFF">
                  <a:lumMod val="10000"/>
                </a:srgbClr>
              </a:solidFill>
              <a:latin typeface="Ellab Sans"/>
            </a:endParaRPr>
          </a:p>
        </p:txBody>
      </p:sp>
      <p:pic>
        <p:nvPicPr>
          <p:cNvPr id="15" name="Picture 14" descr="A close-up of a computer&#10;&#10;AI-generated content may be incorrect.">
            <a:extLst>
              <a:ext uri="{FF2B5EF4-FFF2-40B4-BE49-F238E27FC236}">
                <a16:creationId xmlns:a16="http://schemas.microsoft.com/office/drawing/2014/main" id="{0F64C754-D9A8-CCA4-7ED3-03C4A6B675F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97023" y="4937397"/>
            <a:ext cx="2533530" cy="1567099"/>
          </a:xfrm>
          <a:prstGeom prst="rect">
            <a:avLst/>
          </a:prstGeom>
        </p:spPr>
      </p:pic>
      <p:pic>
        <p:nvPicPr>
          <p:cNvPr id="17" name="Picture 16" descr="A silver device with wires&#10;&#10;AI-generated content may be incorrect.">
            <a:extLst>
              <a:ext uri="{FF2B5EF4-FFF2-40B4-BE49-F238E27FC236}">
                <a16:creationId xmlns:a16="http://schemas.microsoft.com/office/drawing/2014/main" id="{43A4A238-FA29-DB2C-402A-150FC6DD52B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80820" y="5023685"/>
            <a:ext cx="1492804" cy="1523446"/>
          </a:xfrm>
          <a:prstGeom prst="rect">
            <a:avLst/>
          </a:prstGeom>
        </p:spPr>
      </p:pic>
      <p:sp>
        <p:nvSpPr>
          <p:cNvPr id="4" name="Tekstfelt 1">
            <a:extLst>
              <a:ext uri="{FF2B5EF4-FFF2-40B4-BE49-F238E27FC236}">
                <a16:creationId xmlns:a16="http://schemas.microsoft.com/office/drawing/2014/main" id="{BB3B8BEE-3FFC-9500-A085-28B14B3D159B}"/>
              </a:ext>
            </a:extLst>
          </p:cNvPr>
          <p:cNvSpPr txBox="1"/>
          <p:nvPr/>
        </p:nvSpPr>
        <p:spPr>
          <a:xfrm>
            <a:off x="10709517" y="6140605"/>
            <a:ext cx="581251" cy="271869"/>
          </a:xfrm>
          <a:prstGeom prst="rect">
            <a:avLst/>
          </a:prstGeom>
          <a:noFill/>
        </p:spPr>
        <p:txBody>
          <a:bodyPr wrap="square" rIns="0" rtlCol="0">
            <a:spAutoFit/>
          </a:bodyPr>
          <a:lstStyle/>
          <a:p>
            <a:pPr algn="r" defTabSz="822960">
              <a:lnSpc>
                <a:spcPts val="1440"/>
              </a:lnSpc>
            </a:pPr>
            <a:fld id="{21BE3427-6350-7449-907E-202CD6E1E8BD}" type="slidenum">
              <a:rPr lang="da-DK" sz="1260">
                <a:solidFill>
                  <a:srgbClr val="17AAE2"/>
                </a:solidFill>
                <a:latin typeface="Ellab Sans"/>
              </a:rPr>
              <a:pPr algn="r" defTabSz="822960">
                <a:lnSpc>
                  <a:spcPts val="1440"/>
                </a:lnSpc>
              </a:pPr>
              <a:t>11</a:t>
            </a:fld>
            <a:endParaRPr lang="da-DK" sz="1260">
              <a:solidFill>
                <a:srgbClr val="17AAE2"/>
              </a:solidFill>
              <a:latin typeface="Ellab Sans"/>
            </a:endParaRPr>
          </a:p>
        </p:txBody>
      </p:sp>
    </p:spTree>
    <p:extLst>
      <p:ext uri="{BB962C8B-B14F-4D97-AF65-F5344CB8AC3E}">
        <p14:creationId xmlns:p14="http://schemas.microsoft.com/office/powerpoint/2010/main" val="892019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Quizzical burrowing owl looking forward">
            <a:extLst>
              <a:ext uri="{FF2B5EF4-FFF2-40B4-BE49-F238E27FC236}">
                <a16:creationId xmlns:a16="http://schemas.microsoft.com/office/drawing/2014/main" id="{ECC9A37A-0FDD-A2CF-1692-BBABE23415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6919" y="2089773"/>
            <a:ext cx="8805081" cy="6117983"/>
          </a:xfrm>
          <a:prstGeom prst="rect">
            <a:avLst/>
          </a:prstGeom>
        </p:spPr>
      </p:pic>
      <p:sp>
        <p:nvSpPr>
          <p:cNvPr id="4" name="Text Placeholder 3">
            <a:extLst>
              <a:ext uri="{FF2B5EF4-FFF2-40B4-BE49-F238E27FC236}">
                <a16:creationId xmlns:a16="http://schemas.microsoft.com/office/drawing/2014/main" id="{3D0D6B3C-9E2D-3852-D0FF-6586322CC353}"/>
              </a:ext>
            </a:extLst>
          </p:cNvPr>
          <p:cNvSpPr>
            <a:spLocks noGrp="1"/>
          </p:cNvSpPr>
          <p:nvPr>
            <p:ph type="body" sz="half" idx="10"/>
          </p:nvPr>
        </p:nvSpPr>
        <p:spPr/>
        <p:txBody>
          <a:bodyPr/>
          <a:lstStyle/>
          <a:p>
            <a:endParaRPr lang="en-US" dirty="0"/>
          </a:p>
        </p:txBody>
      </p:sp>
      <p:sp>
        <p:nvSpPr>
          <p:cNvPr id="2" name="Title 1">
            <a:extLst>
              <a:ext uri="{FF2B5EF4-FFF2-40B4-BE49-F238E27FC236}">
                <a16:creationId xmlns:a16="http://schemas.microsoft.com/office/drawing/2014/main" id="{46B5569F-F4B8-1B71-F8EC-CB2346230C05}"/>
              </a:ext>
            </a:extLst>
          </p:cNvPr>
          <p:cNvSpPr>
            <a:spLocks noGrp="1"/>
          </p:cNvSpPr>
          <p:nvPr>
            <p:ph type="title"/>
          </p:nvPr>
        </p:nvSpPr>
        <p:spPr/>
        <p:txBody>
          <a:bodyPr/>
          <a:lstStyle/>
          <a:p>
            <a:r>
              <a:rPr lang="en-GB" dirty="0">
                <a:solidFill>
                  <a:schemeClr val="accent1"/>
                </a:solidFill>
              </a:rPr>
              <a:t>What is Validation - Thermal Validation?</a:t>
            </a:r>
            <a:br>
              <a:rPr lang="en-GB" dirty="0">
                <a:solidFill>
                  <a:schemeClr val="accent1"/>
                </a:solidFill>
              </a:rPr>
            </a:br>
            <a:r>
              <a:rPr lang="en-GB" dirty="0">
                <a:solidFill>
                  <a:schemeClr val="accent1"/>
                </a:solidFill>
              </a:rPr>
              <a:t>What is Monitoring?</a:t>
            </a:r>
            <a:endParaRPr lang="en-DK" dirty="0">
              <a:solidFill>
                <a:schemeClr val="accent1"/>
              </a:solidFill>
            </a:endParaRPr>
          </a:p>
        </p:txBody>
      </p:sp>
      <p:sp>
        <p:nvSpPr>
          <p:cNvPr id="3" name="Text Placeholder 2">
            <a:extLst>
              <a:ext uri="{FF2B5EF4-FFF2-40B4-BE49-F238E27FC236}">
                <a16:creationId xmlns:a16="http://schemas.microsoft.com/office/drawing/2014/main" id="{6B5EA5C7-CCB1-DBB8-C6D7-DAACDCD57BFB}"/>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12395788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936C333-B84E-FDFC-FC95-FB0421B87E53}"/>
              </a:ext>
            </a:extLst>
          </p:cNvPr>
          <p:cNvSpPr>
            <a:spLocks noGrp="1"/>
          </p:cNvSpPr>
          <p:nvPr>
            <p:ph type="body" sz="half" idx="10"/>
          </p:nvPr>
        </p:nvSpPr>
        <p:spPr/>
        <p:txBody>
          <a:bodyPr/>
          <a:lstStyle/>
          <a:p>
            <a:endParaRPr lang="en-US"/>
          </a:p>
        </p:txBody>
      </p:sp>
      <p:sp>
        <p:nvSpPr>
          <p:cNvPr id="4" name="Text Placeholder 3">
            <a:extLst>
              <a:ext uri="{FF2B5EF4-FFF2-40B4-BE49-F238E27FC236}">
                <a16:creationId xmlns:a16="http://schemas.microsoft.com/office/drawing/2014/main" id="{0BBBF46D-CC70-03F5-A946-FE9EE76A08C3}"/>
              </a:ext>
            </a:extLst>
          </p:cNvPr>
          <p:cNvSpPr>
            <a:spLocks noGrp="1"/>
          </p:cNvSpPr>
          <p:nvPr>
            <p:ph type="body" sz="half" idx="2"/>
          </p:nvPr>
        </p:nvSpPr>
        <p:spPr/>
        <p:txBody>
          <a:bodyPr/>
          <a:lstStyle/>
          <a:p>
            <a:endParaRPr lang="en-US"/>
          </a:p>
        </p:txBody>
      </p:sp>
      <p:sp>
        <p:nvSpPr>
          <p:cNvPr id="5" name="Title 4">
            <a:extLst>
              <a:ext uri="{FF2B5EF4-FFF2-40B4-BE49-F238E27FC236}">
                <a16:creationId xmlns:a16="http://schemas.microsoft.com/office/drawing/2014/main" id="{BC2D456F-5BA7-7877-A131-3D7D7722760F}"/>
              </a:ext>
            </a:extLst>
          </p:cNvPr>
          <p:cNvSpPr>
            <a:spLocks noGrp="1"/>
          </p:cNvSpPr>
          <p:nvPr>
            <p:ph type="title"/>
          </p:nvPr>
        </p:nvSpPr>
        <p:spPr/>
        <p:txBody>
          <a:bodyPr/>
          <a:lstStyle/>
          <a:p>
            <a:r>
              <a:rPr lang="sv-SE" dirty="0"/>
              <a:t>Ellab Sales Process</a:t>
            </a:r>
            <a:endParaRPr lang="en-SG" dirty="0"/>
          </a:p>
        </p:txBody>
      </p:sp>
    </p:spTree>
    <p:extLst>
      <p:ext uri="{BB962C8B-B14F-4D97-AF65-F5344CB8AC3E}">
        <p14:creationId xmlns:p14="http://schemas.microsoft.com/office/powerpoint/2010/main" val="30553081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Old women hanging out">
            <a:extLst>
              <a:ext uri="{FF2B5EF4-FFF2-40B4-BE49-F238E27FC236}">
                <a16:creationId xmlns:a16="http://schemas.microsoft.com/office/drawing/2014/main" id="{10BABF5B-5114-08FA-0EF0-C22274BF18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82248" y="2526847"/>
            <a:ext cx="4787953" cy="3286196"/>
          </a:xfrm>
          <a:prstGeom prst="rect">
            <a:avLst/>
          </a:prstGeom>
        </p:spPr>
      </p:pic>
      <p:sp>
        <p:nvSpPr>
          <p:cNvPr id="7" name="Text Placeholder 6">
            <a:extLst>
              <a:ext uri="{FF2B5EF4-FFF2-40B4-BE49-F238E27FC236}">
                <a16:creationId xmlns:a16="http://schemas.microsoft.com/office/drawing/2014/main" id="{0F9475A8-0C6D-BC3D-A7B6-D374194F2CA0}"/>
              </a:ext>
            </a:extLst>
          </p:cNvPr>
          <p:cNvSpPr>
            <a:spLocks noGrp="1"/>
          </p:cNvSpPr>
          <p:nvPr>
            <p:ph type="body" sz="half" idx="10"/>
          </p:nvPr>
        </p:nvSpPr>
        <p:spPr>
          <a:xfrm>
            <a:off x="371475" y="2520000"/>
            <a:ext cx="5913320" cy="3645850"/>
          </a:xfrm>
        </p:spPr>
        <p:txBody>
          <a:bodyPr/>
          <a:lstStyle/>
          <a:p>
            <a:pPr>
              <a:lnSpc>
                <a:spcPct val="100000"/>
              </a:lnSpc>
            </a:pPr>
            <a:endParaRPr lang="en-GB" dirty="0"/>
          </a:p>
          <a:p>
            <a:pPr>
              <a:lnSpc>
                <a:spcPct val="100000"/>
              </a:lnSpc>
            </a:pPr>
            <a:endParaRPr lang="en-GB" dirty="0"/>
          </a:p>
          <a:p>
            <a:pPr>
              <a:lnSpc>
                <a:spcPct val="100000"/>
              </a:lnSpc>
            </a:pPr>
            <a:endParaRPr lang="en-GB" sz="3840" dirty="0"/>
          </a:p>
          <a:p>
            <a:pPr>
              <a:lnSpc>
                <a:spcPct val="100000"/>
              </a:lnSpc>
            </a:pPr>
            <a:r>
              <a:rPr lang="en-GB" sz="3840" dirty="0"/>
              <a:t>There are 1000 ways of reaching a sale. This is my experience.</a:t>
            </a:r>
            <a:endParaRPr lang="en-DK" sz="3840" dirty="0"/>
          </a:p>
        </p:txBody>
      </p:sp>
      <p:sp>
        <p:nvSpPr>
          <p:cNvPr id="5" name="Title 4">
            <a:extLst>
              <a:ext uri="{FF2B5EF4-FFF2-40B4-BE49-F238E27FC236}">
                <a16:creationId xmlns:a16="http://schemas.microsoft.com/office/drawing/2014/main" id="{F790396D-0BEB-94D9-7099-4B5AA489087B}"/>
              </a:ext>
            </a:extLst>
          </p:cNvPr>
          <p:cNvSpPr>
            <a:spLocks noGrp="1"/>
          </p:cNvSpPr>
          <p:nvPr>
            <p:ph type="title"/>
          </p:nvPr>
        </p:nvSpPr>
        <p:spPr/>
        <p:txBody>
          <a:bodyPr/>
          <a:lstStyle/>
          <a:p>
            <a:r>
              <a:rPr lang="en-GB" dirty="0"/>
              <a:t>How to convert a customer?</a:t>
            </a:r>
            <a:endParaRPr lang="en-DK" dirty="0"/>
          </a:p>
        </p:txBody>
      </p:sp>
      <p:sp>
        <p:nvSpPr>
          <p:cNvPr id="6" name="Text Placeholder 5">
            <a:extLst>
              <a:ext uri="{FF2B5EF4-FFF2-40B4-BE49-F238E27FC236}">
                <a16:creationId xmlns:a16="http://schemas.microsoft.com/office/drawing/2014/main" id="{C7DB8975-774C-D67B-CA0D-B3E20E277CE4}"/>
              </a:ext>
            </a:extLst>
          </p:cNvPr>
          <p:cNvSpPr>
            <a:spLocks noGrp="1"/>
          </p:cNvSpPr>
          <p:nvPr>
            <p:ph type="body" sz="half" idx="2"/>
          </p:nvPr>
        </p:nvSpPr>
        <p:spPr/>
        <p:txBody>
          <a:bodyPr/>
          <a:lstStyle/>
          <a:p>
            <a:r>
              <a:rPr lang="en-GB" dirty="0"/>
              <a:t>My experience</a:t>
            </a:r>
            <a:endParaRPr lang="en-DK" dirty="0"/>
          </a:p>
        </p:txBody>
      </p:sp>
    </p:spTree>
    <p:extLst>
      <p:ext uri="{BB962C8B-B14F-4D97-AF65-F5344CB8AC3E}">
        <p14:creationId xmlns:p14="http://schemas.microsoft.com/office/powerpoint/2010/main" val="3182701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F9475A8-0C6D-BC3D-A7B6-D374194F2CA0}"/>
              </a:ext>
            </a:extLst>
          </p:cNvPr>
          <p:cNvSpPr>
            <a:spLocks noGrp="1"/>
          </p:cNvSpPr>
          <p:nvPr>
            <p:ph type="body" sz="half" idx="10"/>
          </p:nvPr>
        </p:nvSpPr>
        <p:spPr>
          <a:xfrm>
            <a:off x="-1766404" y="2090831"/>
            <a:ext cx="11485563" cy="3645850"/>
          </a:xfrm>
        </p:spPr>
        <p:txBody>
          <a:bodyPr/>
          <a:lstStyle/>
          <a:p>
            <a:endParaRPr lang="en-GB" dirty="0"/>
          </a:p>
          <a:p>
            <a:endParaRPr lang="en-GB" dirty="0"/>
          </a:p>
          <a:p>
            <a:endParaRPr lang="en-GB" sz="3840" b="1" dirty="0">
              <a:solidFill>
                <a:schemeClr val="bg2"/>
              </a:solidFill>
            </a:endParaRPr>
          </a:p>
          <a:p>
            <a:pPr algn="ctr"/>
            <a:r>
              <a:rPr lang="en-GB" sz="3840" b="1" dirty="0">
                <a:solidFill>
                  <a:schemeClr val="bg2"/>
                </a:solidFill>
              </a:rPr>
              <a:t>Identify your target customers</a:t>
            </a:r>
            <a:endParaRPr lang="en-DK" sz="3840" b="1" dirty="0">
              <a:solidFill>
                <a:schemeClr val="bg2"/>
              </a:solidFill>
            </a:endParaRPr>
          </a:p>
        </p:txBody>
      </p:sp>
      <p:sp>
        <p:nvSpPr>
          <p:cNvPr id="5" name="Title 4">
            <a:extLst>
              <a:ext uri="{FF2B5EF4-FFF2-40B4-BE49-F238E27FC236}">
                <a16:creationId xmlns:a16="http://schemas.microsoft.com/office/drawing/2014/main" id="{F790396D-0BEB-94D9-7099-4B5AA489087B}"/>
              </a:ext>
            </a:extLst>
          </p:cNvPr>
          <p:cNvSpPr>
            <a:spLocks noGrp="1"/>
          </p:cNvSpPr>
          <p:nvPr>
            <p:ph type="title"/>
          </p:nvPr>
        </p:nvSpPr>
        <p:spPr/>
        <p:txBody>
          <a:bodyPr/>
          <a:lstStyle/>
          <a:p>
            <a:r>
              <a:rPr lang="en-GB" dirty="0"/>
              <a:t>How to convert a customer?</a:t>
            </a:r>
            <a:endParaRPr lang="en-DK" dirty="0"/>
          </a:p>
        </p:txBody>
      </p:sp>
      <p:sp>
        <p:nvSpPr>
          <p:cNvPr id="2" name="Text Placeholder 1">
            <a:extLst>
              <a:ext uri="{FF2B5EF4-FFF2-40B4-BE49-F238E27FC236}">
                <a16:creationId xmlns:a16="http://schemas.microsoft.com/office/drawing/2014/main" id="{EBF74F31-2B1F-0C42-38B6-963A2B31AF68}"/>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27431093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oman on phone at office desk">
            <a:extLst>
              <a:ext uri="{FF2B5EF4-FFF2-40B4-BE49-F238E27FC236}">
                <a16:creationId xmlns:a16="http://schemas.microsoft.com/office/drawing/2014/main" id="{4CB36816-DA56-9E84-89E7-F37AEAD4EE9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1" y="0"/>
            <a:ext cx="12192000" cy="7877955"/>
          </a:xfrm>
          <a:prstGeom prst="rect">
            <a:avLst/>
          </a:prstGeom>
        </p:spPr>
      </p:pic>
      <p:sp>
        <p:nvSpPr>
          <p:cNvPr id="3" name="Text Placeholder 2">
            <a:extLst>
              <a:ext uri="{FF2B5EF4-FFF2-40B4-BE49-F238E27FC236}">
                <a16:creationId xmlns:a16="http://schemas.microsoft.com/office/drawing/2014/main" id="{F48D316D-F7E3-CCE7-25CE-F5753D82CEB5}"/>
              </a:ext>
            </a:extLst>
          </p:cNvPr>
          <p:cNvSpPr>
            <a:spLocks noGrp="1"/>
          </p:cNvSpPr>
          <p:nvPr>
            <p:ph type="body" sz="half" idx="10"/>
          </p:nvPr>
        </p:nvSpPr>
        <p:spPr/>
        <p:txBody>
          <a:bodyPr/>
          <a:lstStyle/>
          <a:p>
            <a:endParaRPr lang="en-US"/>
          </a:p>
        </p:txBody>
      </p:sp>
      <p:sp>
        <p:nvSpPr>
          <p:cNvPr id="5" name="Title 4">
            <a:extLst>
              <a:ext uri="{FF2B5EF4-FFF2-40B4-BE49-F238E27FC236}">
                <a16:creationId xmlns:a16="http://schemas.microsoft.com/office/drawing/2014/main" id="{F790396D-0BEB-94D9-7099-4B5AA489087B}"/>
              </a:ext>
            </a:extLst>
          </p:cNvPr>
          <p:cNvSpPr>
            <a:spLocks noGrp="1"/>
          </p:cNvSpPr>
          <p:nvPr>
            <p:ph type="title"/>
          </p:nvPr>
        </p:nvSpPr>
        <p:spPr/>
        <p:txBody>
          <a:bodyPr/>
          <a:lstStyle/>
          <a:p>
            <a:r>
              <a:rPr lang="en-GB" dirty="0"/>
              <a:t>How to convert a customer?</a:t>
            </a:r>
            <a:endParaRPr lang="en-DK" dirty="0"/>
          </a:p>
        </p:txBody>
      </p:sp>
      <p:sp>
        <p:nvSpPr>
          <p:cNvPr id="7" name="Text Placeholder 6">
            <a:extLst>
              <a:ext uri="{FF2B5EF4-FFF2-40B4-BE49-F238E27FC236}">
                <a16:creationId xmlns:a16="http://schemas.microsoft.com/office/drawing/2014/main" id="{0F9475A8-0C6D-BC3D-A7B6-D374194F2CA0}"/>
              </a:ext>
            </a:extLst>
          </p:cNvPr>
          <p:cNvSpPr>
            <a:spLocks noGrp="1"/>
          </p:cNvSpPr>
          <p:nvPr>
            <p:ph type="body" sz="half" idx="2"/>
          </p:nvPr>
        </p:nvSpPr>
        <p:spPr>
          <a:xfrm>
            <a:off x="371476" y="2999015"/>
            <a:ext cx="5838255" cy="720000"/>
          </a:xfrm>
        </p:spPr>
        <p:txBody>
          <a:bodyPr/>
          <a:lstStyle/>
          <a:p>
            <a:pPr>
              <a:lnSpc>
                <a:spcPct val="100000"/>
              </a:lnSpc>
            </a:pPr>
            <a:r>
              <a:rPr lang="en-GB" sz="3840" dirty="0"/>
              <a:t>Reach out for an introduction meeting</a:t>
            </a:r>
          </a:p>
          <a:p>
            <a:pPr>
              <a:lnSpc>
                <a:spcPct val="100000"/>
              </a:lnSpc>
            </a:pPr>
            <a:r>
              <a:rPr lang="en-GB" sz="2160" dirty="0"/>
              <a:t>(Have a small script ready)</a:t>
            </a:r>
            <a:endParaRPr lang="en-DK" sz="2160" dirty="0"/>
          </a:p>
        </p:txBody>
      </p:sp>
    </p:spTree>
    <p:extLst>
      <p:ext uri="{BB962C8B-B14F-4D97-AF65-F5344CB8AC3E}">
        <p14:creationId xmlns:p14="http://schemas.microsoft.com/office/powerpoint/2010/main" val="545185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usinesswomen brainstorming around a laptop">
            <a:extLst>
              <a:ext uri="{FF2B5EF4-FFF2-40B4-BE49-F238E27FC236}">
                <a16:creationId xmlns:a16="http://schemas.microsoft.com/office/drawing/2014/main" id="{5CD69A1F-E80C-609A-3219-F0A447BE77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57584" y="1658203"/>
            <a:ext cx="5879115" cy="3918453"/>
          </a:xfrm>
          <a:prstGeom prst="rect">
            <a:avLst/>
          </a:prstGeom>
        </p:spPr>
      </p:pic>
      <p:sp>
        <p:nvSpPr>
          <p:cNvPr id="5" name="Title 4">
            <a:extLst>
              <a:ext uri="{FF2B5EF4-FFF2-40B4-BE49-F238E27FC236}">
                <a16:creationId xmlns:a16="http://schemas.microsoft.com/office/drawing/2014/main" id="{F790396D-0BEB-94D9-7099-4B5AA489087B}"/>
              </a:ext>
            </a:extLst>
          </p:cNvPr>
          <p:cNvSpPr>
            <a:spLocks noGrp="1"/>
          </p:cNvSpPr>
          <p:nvPr>
            <p:ph type="title"/>
          </p:nvPr>
        </p:nvSpPr>
        <p:spPr/>
        <p:txBody>
          <a:bodyPr/>
          <a:lstStyle/>
          <a:p>
            <a:r>
              <a:rPr lang="en-GB" dirty="0"/>
              <a:t>How to convert a customer?</a:t>
            </a:r>
            <a:endParaRPr lang="en-DK" dirty="0"/>
          </a:p>
        </p:txBody>
      </p:sp>
      <p:sp>
        <p:nvSpPr>
          <p:cNvPr id="7" name="Text Placeholder 6">
            <a:extLst>
              <a:ext uri="{FF2B5EF4-FFF2-40B4-BE49-F238E27FC236}">
                <a16:creationId xmlns:a16="http://schemas.microsoft.com/office/drawing/2014/main" id="{0F9475A8-0C6D-BC3D-A7B6-D374194F2CA0}"/>
              </a:ext>
            </a:extLst>
          </p:cNvPr>
          <p:cNvSpPr>
            <a:spLocks noGrp="1"/>
          </p:cNvSpPr>
          <p:nvPr>
            <p:ph type="body" sz="half" idx="2"/>
          </p:nvPr>
        </p:nvSpPr>
        <p:spPr>
          <a:xfrm>
            <a:off x="371476" y="1565999"/>
            <a:ext cx="5462942" cy="4355999"/>
          </a:xfrm>
        </p:spPr>
        <p:txBody>
          <a:bodyPr/>
          <a:lstStyle/>
          <a:p>
            <a:pPr>
              <a:lnSpc>
                <a:spcPct val="100000"/>
              </a:lnSpc>
            </a:pPr>
            <a:endParaRPr lang="en-GB" sz="1400" b="0" dirty="0"/>
          </a:p>
          <a:p>
            <a:pPr>
              <a:lnSpc>
                <a:spcPct val="100000"/>
              </a:lnSpc>
            </a:pPr>
            <a:r>
              <a:rPr lang="en-GB" sz="2000" b="0" dirty="0">
                <a:solidFill>
                  <a:schemeClr val="tx2"/>
                </a:solidFill>
              </a:rPr>
              <a:t>Do a first approach.</a:t>
            </a:r>
            <a:r>
              <a:rPr lang="en-GB" sz="2000" b="0" dirty="0"/>
              <a:t> Ask/Listen </a:t>
            </a:r>
          </a:p>
          <a:p>
            <a:pPr>
              <a:lnSpc>
                <a:spcPct val="100000"/>
              </a:lnSpc>
            </a:pPr>
            <a:r>
              <a:rPr lang="en-GB" sz="2000" b="0" dirty="0">
                <a:solidFill>
                  <a:schemeClr val="tx2"/>
                </a:solidFill>
              </a:rPr>
              <a:t>Maybe there is a need </a:t>
            </a:r>
            <a:r>
              <a:rPr lang="en-GB" sz="2000" dirty="0">
                <a:solidFill>
                  <a:schemeClr val="tx2"/>
                </a:solidFill>
              </a:rPr>
              <a:t>now</a:t>
            </a:r>
            <a:r>
              <a:rPr lang="en-GB" sz="2000" b="0" dirty="0">
                <a:solidFill>
                  <a:schemeClr val="tx2"/>
                </a:solidFill>
              </a:rPr>
              <a:t>, maybe you are constructing for the </a:t>
            </a:r>
            <a:r>
              <a:rPr lang="en-GB" sz="2000" dirty="0">
                <a:solidFill>
                  <a:schemeClr val="tx2"/>
                </a:solidFill>
              </a:rPr>
              <a:t>future</a:t>
            </a:r>
            <a:r>
              <a:rPr lang="en-GB" sz="2000" b="0" dirty="0">
                <a:solidFill>
                  <a:schemeClr val="tx2"/>
                </a:solidFill>
              </a:rPr>
              <a:t>.</a:t>
            </a:r>
          </a:p>
          <a:p>
            <a:pPr>
              <a:lnSpc>
                <a:spcPct val="100000"/>
              </a:lnSpc>
            </a:pPr>
            <a:endParaRPr lang="en-GB" sz="2000" dirty="0"/>
          </a:p>
          <a:p>
            <a:pPr>
              <a:lnSpc>
                <a:spcPct val="100000"/>
              </a:lnSpc>
            </a:pPr>
            <a:r>
              <a:rPr lang="en-GB" sz="2000" dirty="0"/>
              <a:t>Goal: The customer team now knows Ellab is a good option in the market.</a:t>
            </a:r>
          </a:p>
          <a:p>
            <a:pPr algn="ctr">
              <a:lnSpc>
                <a:spcPct val="100000"/>
              </a:lnSpc>
            </a:pPr>
            <a:r>
              <a:rPr lang="en-GB" sz="1400" dirty="0"/>
              <a:t>(DEMO?)</a:t>
            </a:r>
          </a:p>
          <a:p>
            <a:pPr algn="ctr">
              <a:lnSpc>
                <a:spcPct val="100000"/>
              </a:lnSpc>
            </a:pPr>
            <a:endParaRPr lang="en-GB" sz="1400" dirty="0"/>
          </a:p>
          <a:p>
            <a:pPr>
              <a:lnSpc>
                <a:spcPct val="100000"/>
              </a:lnSpc>
            </a:pPr>
            <a:r>
              <a:rPr lang="en-GB" sz="2000" dirty="0"/>
              <a:t>Next steps to aim for:</a:t>
            </a:r>
          </a:p>
          <a:p>
            <a:pPr marL="342900" indent="-342900">
              <a:lnSpc>
                <a:spcPct val="100000"/>
              </a:lnSpc>
              <a:buClr>
                <a:schemeClr val="accent1"/>
              </a:buClr>
              <a:buFont typeface="Arial" panose="020B0604020202020204" pitchFamily="34" charset="0"/>
              <a:buChar char="•"/>
            </a:pPr>
            <a:r>
              <a:rPr lang="en-GB" sz="2000" b="0" dirty="0">
                <a:solidFill>
                  <a:schemeClr val="tx2"/>
                </a:solidFill>
              </a:rPr>
              <a:t>You schedule a test of the equipment at facility.</a:t>
            </a:r>
          </a:p>
          <a:p>
            <a:pPr marL="342900" indent="-342900">
              <a:lnSpc>
                <a:spcPct val="100000"/>
              </a:lnSpc>
              <a:buClr>
                <a:schemeClr val="accent1"/>
              </a:buClr>
              <a:buFont typeface="Arial" panose="020B0604020202020204" pitchFamily="34" charset="0"/>
              <a:buChar char="•"/>
            </a:pPr>
            <a:r>
              <a:rPr lang="en-GB" sz="2000" b="0" dirty="0">
                <a:solidFill>
                  <a:schemeClr val="tx2"/>
                </a:solidFill>
              </a:rPr>
              <a:t>Quote.</a:t>
            </a:r>
            <a:endParaRPr lang="en-DK" sz="1400" b="0" dirty="0">
              <a:solidFill>
                <a:schemeClr val="tx2"/>
              </a:solidFill>
            </a:endParaRPr>
          </a:p>
        </p:txBody>
      </p:sp>
    </p:spTree>
    <p:extLst>
      <p:ext uri="{BB962C8B-B14F-4D97-AF65-F5344CB8AC3E}">
        <p14:creationId xmlns:p14="http://schemas.microsoft.com/office/powerpoint/2010/main" val="3696177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Father teaching son to ride bike">
            <a:extLst>
              <a:ext uri="{FF2B5EF4-FFF2-40B4-BE49-F238E27FC236}">
                <a16:creationId xmlns:a16="http://schemas.microsoft.com/office/drawing/2014/main" id="{C1C67CA8-3273-0043-C4D6-FB710ED7026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64486" y="1566000"/>
            <a:ext cx="5770816" cy="3808281"/>
          </a:xfrm>
          <a:prstGeom prst="rect">
            <a:avLst/>
          </a:prstGeom>
        </p:spPr>
      </p:pic>
      <p:sp>
        <p:nvSpPr>
          <p:cNvPr id="5" name="Title 4">
            <a:extLst>
              <a:ext uri="{FF2B5EF4-FFF2-40B4-BE49-F238E27FC236}">
                <a16:creationId xmlns:a16="http://schemas.microsoft.com/office/drawing/2014/main" id="{F790396D-0BEB-94D9-7099-4B5AA489087B}"/>
              </a:ext>
            </a:extLst>
          </p:cNvPr>
          <p:cNvSpPr>
            <a:spLocks noGrp="1"/>
          </p:cNvSpPr>
          <p:nvPr>
            <p:ph type="title"/>
          </p:nvPr>
        </p:nvSpPr>
        <p:spPr/>
        <p:txBody>
          <a:bodyPr/>
          <a:lstStyle/>
          <a:p>
            <a:r>
              <a:rPr lang="en-GB" dirty="0"/>
              <a:t>How to convert a customer?</a:t>
            </a:r>
            <a:endParaRPr lang="en-DK" dirty="0"/>
          </a:p>
        </p:txBody>
      </p:sp>
      <p:sp>
        <p:nvSpPr>
          <p:cNvPr id="7" name="Text Placeholder 6">
            <a:extLst>
              <a:ext uri="{FF2B5EF4-FFF2-40B4-BE49-F238E27FC236}">
                <a16:creationId xmlns:a16="http://schemas.microsoft.com/office/drawing/2014/main" id="{0F9475A8-0C6D-BC3D-A7B6-D374194F2CA0}"/>
              </a:ext>
            </a:extLst>
          </p:cNvPr>
          <p:cNvSpPr>
            <a:spLocks noGrp="1"/>
          </p:cNvSpPr>
          <p:nvPr>
            <p:ph type="body" sz="half" idx="2"/>
          </p:nvPr>
        </p:nvSpPr>
        <p:spPr>
          <a:xfrm>
            <a:off x="371476" y="1566000"/>
            <a:ext cx="4637252" cy="720000"/>
          </a:xfrm>
        </p:spPr>
        <p:txBody>
          <a:bodyPr/>
          <a:lstStyle/>
          <a:p>
            <a:pPr>
              <a:lnSpc>
                <a:spcPct val="100000"/>
              </a:lnSpc>
            </a:pPr>
            <a:endParaRPr lang="en-GB" sz="1440" dirty="0"/>
          </a:p>
          <a:p>
            <a:pPr>
              <a:lnSpc>
                <a:spcPct val="100000"/>
              </a:lnSpc>
            </a:pPr>
            <a:r>
              <a:rPr lang="en-GB" sz="2880" dirty="0"/>
              <a:t>Once the user is excited about the product,</a:t>
            </a:r>
          </a:p>
          <a:p>
            <a:pPr>
              <a:lnSpc>
                <a:spcPct val="100000"/>
              </a:lnSpc>
            </a:pPr>
            <a:endParaRPr lang="en-GB" sz="2880" dirty="0"/>
          </a:p>
          <a:p>
            <a:pPr>
              <a:lnSpc>
                <a:spcPct val="100000"/>
              </a:lnSpc>
            </a:pPr>
            <a:r>
              <a:rPr lang="en-GB" sz="2880" dirty="0"/>
              <a:t>give some space but be available depending on how urgent you have identified the need to be.</a:t>
            </a:r>
          </a:p>
          <a:p>
            <a:pPr>
              <a:lnSpc>
                <a:spcPct val="100000"/>
              </a:lnSpc>
            </a:pPr>
            <a:endParaRPr lang="en-GB" sz="2880" dirty="0"/>
          </a:p>
        </p:txBody>
      </p:sp>
    </p:spTree>
    <p:extLst>
      <p:ext uri="{BB962C8B-B14F-4D97-AF65-F5344CB8AC3E}">
        <p14:creationId xmlns:p14="http://schemas.microsoft.com/office/powerpoint/2010/main" val="38498113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90396D-0BEB-94D9-7099-4B5AA489087B}"/>
              </a:ext>
            </a:extLst>
          </p:cNvPr>
          <p:cNvSpPr>
            <a:spLocks noGrp="1"/>
          </p:cNvSpPr>
          <p:nvPr>
            <p:ph type="title"/>
          </p:nvPr>
        </p:nvSpPr>
        <p:spPr/>
        <p:txBody>
          <a:bodyPr/>
          <a:lstStyle/>
          <a:p>
            <a:r>
              <a:rPr lang="en-GB" dirty="0"/>
              <a:t>How to convert a customer?</a:t>
            </a:r>
            <a:endParaRPr lang="en-DK" dirty="0"/>
          </a:p>
        </p:txBody>
      </p:sp>
      <p:sp>
        <p:nvSpPr>
          <p:cNvPr id="7" name="Text Placeholder 6">
            <a:extLst>
              <a:ext uri="{FF2B5EF4-FFF2-40B4-BE49-F238E27FC236}">
                <a16:creationId xmlns:a16="http://schemas.microsoft.com/office/drawing/2014/main" id="{0F9475A8-0C6D-BC3D-A7B6-D374194F2CA0}"/>
              </a:ext>
            </a:extLst>
          </p:cNvPr>
          <p:cNvSpPr>
            <a:spLocks noGrp="1"/>
          </p:cNvSpPr>
          <p:nvPr>
            <p:ph type="body" sz="half" idx="2"/>
          </p:nvPr>
        </p:nvSpPr>
        <p:spPr>
          <a:xfrm>
            <a:off x="6247236" y="1755679"/>
            <a:ext cx="5609801" cy="720000"/>
          </a:xfrm>
        </p:spPr>
        <p:txBody>
          <a:bodyPr/>
          <a:lstStyle/>
          <a:p>
            <a:pPr>
              <a:lnSpc>
                <a:spcPct val="100000"/>
              </a:lnSpc>
            </a:pPr>
            <a:endParaRPr lang="en-GB" sz="1200" dirty="0"/>
          </a:p>
          <a:p>
            <a:pPr>
              <a:lnSpc>
                <a:spcPct val="100000"/>
              </a:lnSpc>
            </a:pPr>
            <a:r>
              <a:rPr lang="en-GB" sz="2400" dirty="0"/>
              <a:t>Once the opportunity is closer… you need to go into detail. Equipment and buying process.</a:t>
            </a:r>
          </a:p>
          <a:p>
            <a:pPr>
              <a:lnSpc>
                <a:spcPct val="100000"/>
              </a:lnSpc>
            </a:pPr>
            <a:endParaRPr lang="en-GB" sz="2400" dirty="0"/>
          </a:p>
          <a:p>
            <a:pPr>
              <a:lnSpc>
                <a:spcPct val="100000"/>
              </a:lnSpc>
            </a:pPr>
            <a:r>
              <a:rPr lang="en-GB" sz="2400" dirty="0"/>
              <a:t>Make sure to understand the driver/trigger of the decision and the decision makers.</a:t>
            </a:r>
          </a:p>
          <a:p>
            <a:pPr>
              <a:lnSpc>
                <a:spcPct val="100000"/>
              </a:lnSpc>
            </a:pPr>
            <a:endParaRPr lang="en-GB" sz="2400" dirty="0"/>
          </a:p>
          <a:p>
            <a:pPr>
              <a:lnSpc>
                <a:spcPct val="100000"/>
              </a:lnSpc>
            </a:pPr>
            <a:r>
              <a:rPr lang="en-GB" sz="2400" dirty="0"/>
              <a:t>Discuss about equipment, but also about installation and training.</a:t>
            </a:r>
            <a:endParaRPr lang="en-DK" sz="1400" dirty="0"/>
          </a:p>
        </p:txBody>
      </p:sp>
      <p:sp>
        <p:nvSpPr>
          <p:cNvPr id="10" name="TextBox 9">
            <a:extLst>
              <a:ext uri="{FF2B5EF4-FFF2-40B4-BE49-F238E27FC236}">
                <a16:creationId xmlns:a16="http://schemas.microsoft.com/office/drawing/2014/main" id="{C2DF6F00-355A-0A75-87D3-09C31C4ED410}"/>
              </a:ext>
            </a:extLst>
          </p:cNvPr>
          <p:cNvSpPr txBox="1"/>
          <p:nvPr/>
        </p:nvSpPr>
        <p:spPr>
          <a:xfrm>
            <a:off x="8799005" y="5713418"/>
            <a:ext cx="2397160" cy="904863"/>
          </a:xfrm>
          <a:prstGeom prst="rect">
            <a:avLst/>
          </a:prstGeom>
          <a:noFill/>
        </p:spPr>
        <p:txBody>
          <a:bodyPr wrap="square" rtlCol="0">
            <a:spAutoFit/>
          </a:bodyPr>
          <a:lstStyle/>
          <a:p>
            <a:pPr eaLnBrk="1" fontAlgn="auto" hangingPunct="1">
              <a:spcBef>
                <a:spcPts val="0"/>
              </a:spcBef>
              <a:spcAft>
                <a:spcPts val="0"/>
              </a:spcAft>
            </a:pPr>
            <a:r>
              <a:rPr lang="en-GB" sz="1320" dirty="0">
                <a:solidFill>
                  <a:schemeClr val="bg2">
                    <a:lumMod val="10000"/>
                  </a:schemeClr>
                </a:solidFill>
                <a:latin typeface="+mn-lt"/>
              </a:rPr>
              <a:t>As the deal gets closer, the communication will intensify. </a:t>
            </a:r>
            <a:r>
              <a:rPr lang="en-GB" sz="1320" b="1" dirty="0">
                <a:solidFill>
                  <a:schemeClr val="bg2">
                    <a:lumMod val="10000"/>
                  </a:schemeClr>
                </a:solidFill>
                <a:latin typeface="+mn-lt"/>
              </a:rPr>
              <a:t>~5 months</a:t>
            </a:r>
            <a:r>
              <a:rPr lang="en-GB" sz="1320" dirty="0">
                <a:solidFill>
                  <a:schemeClr val="bg2">
                    <a:lumMod val="10000"/>
                  </a:schemeClr>
                </a:solidFill>
                <a:latin typeface="+mn-lt"/>
              </a:rPr>
              <a:t>. </a:t>
            </a:r>
          </a:p>
          <a:p>
            <a:pPr eaLnBrk="1" fontAlgn="auto" hangingPunct="1">
              <a:spcBef>
                <a:spcPts val="0"/>
              </a:spcBef>
              <a:spcAft>
                <a:spcPts val="0"/>
              </a:spcAft>
            </a:pPr>
            <a:r>
              <a:rPr lang="en-GB" sz="1320" dirty="0">
                <a:solidFill>
                  <a:schemeClr val="bg2">
                    <a:lumMod val="10000"/>
                  </a:schemeClr>
                </a:solidFill>
                <a:latin typeface="+mn-lt"/>
              </a:rPr>
              <a:t>Make sure to create trust</a:t>
            </a:r>
            <a:endParaRPr lang="en-DK" sz="1320" dirty="0">
              <a:solidFill>
                <a:schemeClr val="bg2">
                  <a:lumMod val="10000"/>
                </a:schemeClr>
              </a:solidFill>
              <a:latin typeface="+mn-lt"/>
            </a:endParaRPr>
          </a:p>
        </p:txBody>
      </p:sp>
    </p:spTree>
    <p:extLst>
      <p:ext uri="{BB962C8B-B14F-4D97-AF65-F5344CB8AC3E}">
        <p14:creationId xmlns:p14="http://schemas.microsoft.com/office/powerpoint/2010/main" val="190031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se-up of a camera lens">
            <a:extLst>
              <a:ext uri="{FF2B5EF4-FFF2-40B4-BE49-F238E27FC236}">
                <a16:creationId xmlns:a16="http://schemas.microsoft.com/office/drawing/2014/main" id="{B514EF87-EF96-1D2B-A9A8-98F9D9F8D4F5}"/>
              </a:ext>
            </a:extLst>
          </p:cNvPr>
          <p:cNvPicPr>
            <a:picLocks noChangeAspect="1"/>
          </p:cNvPicPr>
          <p:nvPr/>
        </p:nvPicPr>
        <p:blipFill>
          <a:blip r:embed="rId2"/>
          <a:stretch>
            <a:fillRect/>
          </a:stretch>
        </p:blipFill>
        <p:spPr>
          <a:xfrm>
            <a:off x="-369886" y="0"/>
            <a:ext cx="12956810" cy="6858000"/>
          </a:xfrm>
          <a:prstGeom prst="rect">
            <a:avLst/>
          </a:prstGeom>
        </p:spPr>
      </p:pic>
      <p:sp>
        <p:nvSpPr>
          <p:cNvPr id="4" name="Text Placeholder 3">
            <a:extLst>
              <a:ext uri="{FF2B5EF4-FFF2-40B4-BE49-F238E27FC236}">
                <a16:creationId xmlns:a16="http://schemas.microsoft.com/office/drawing/2014/main" id="{D29A6758-6303-D893-6D12-601CBA54674C}"/>
              </a:ext>
            </a:extLst>
          </p:cNvPr>
          <p:cNvSpPr>
            <a:spLocks noGrp="1"/>
          </p:cNvSpPr>
          <p:nvPr>
            <p:ph type="body" sz="half" idx="10"/>
          </p:nvPr>
        </p:nvSpPr>
        <p:spPr/>
        <p:txBody>
          <a:bodyPr/>
          <a:lstStyle/>
          <a:p>
            <a:endParaRPr lang="en-US"/>
          </a:p>
        </p:txBody>
      </p:sp>
      <p:sp>
        <p:nvSpPr>
          <p:cNvPr id="3" name="Title 2">
            <a:extLst>
              <a:ext uri="{FF2B5EF4-FFF2-40B4-BE49-F238E27FC236}">
                <a16:creationId xmlns:a16="http://schemas.microsoft.com/office/drawing/2014/main" id="{B67E5552-6C3A-1726-76E6-1C8CA01404C7}"/>
              </a:ext>
            </a:extLst>
          </p:cNvPr>
          <p:cNvSpPr>
            <a:spLocks noGrp="1"/>
          </p:cNvSpPr>
          <p:nvPr>
            <p:ph type="title"/>
          </p:nvPr>
        </p:nvSpPr>
        <p:spPr/>
        <p:txBody>
          <a:bodyPr/>
          <a:lstStyle/>
          <a:p>
            <a:r>
              <a:rPr lang="en-GB" sz="5280" dirty="0">
                <a:solidFill>
                  <a:schemeClr val="bg1"/>
                </a:solidFill>
              </a:rPr>
              <a:t>Did you watch the videos?</a:t>
            </a:r>
            <a:endParaRPr lang="en-DK" sz="5280" dirty="0">
              <a:solidFill>
                <a:schemeClr val="bg1"/>
              </a:solidFill>
            </a:endParaRPr>
          </a:p>
        </p:txBody>
      </p:sp>
      <p:sp>
        <p:nvSpPr>
          <p:cNvPr id="2" name="Text Placeholder 1">
            <a:extLst>
              <a:ext uri="{FF2B5EF4-FFF2-40B4-BE49-F238E27FC236}">
                <a16:creationId xmlns:a16="http://schemas.microsoft.com/office/drawing/2014/main" id="{09F6D1F7-6390-F66C-BF75-51C07285D5FB}"/>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11332060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Fencers fencing">
            <a:extLst>
              <a:ext uri="{FF2B5EF4-FFF2-40B4-BE49-F238E27FC236}">
                <a16:creationId xmlns:a16="http://schemas.microsoft.com/office/drawing/2014/main" id="{AD54FFEE-830E-DD69-50DE-6E064367586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1006861" cy="7346864"/>
          </a:xfrm>
          <a:prstGeom prst="rect">
            <a:avLst/>
          </a:prstGeom>
        </p:spPr>
      </p:pic>
      <p:sp>
        <p:nvSpPr>
          <p:cNvPr id="2" name="Text Placeholder 1">
            <a:extLst>
              <a:ext uri="{FF2B5EF4-FFF2-40B4-BE49-F238E27FC236}">
                <a16:creationId xmlns:a16="http://schemas.microsoft.com/office/drawing/2014/main" id="{4BEA0277-7963-A055-E29F-B64001B7A9DB}"/>
              </a:ext>
            </a:extLst>
          </p:cNvPr>
          <p:cNvSpPr>
            <a:spLocks noGrp="1"/>
          </p:cNvSpPr>
          <p:nvPr>
            <p:ph type="body" sz="half" idx="10"/>
          </p:nvPr>
        </p:nvSpPr>
        <p:spPr/>
        <p:txBody>
          <a:bodyPr/>
          <a:lstStyle/>
          <a:p>
            <a:endParaRPr lang="en-US"/>
          </a:p>
        </p:txBody>
      </p:sp>
      <p:sp>
        <p:nvSpPr>
          <p:cNvPr id="5" name="Title 4">
            <a:extLst>
              <a:ext uri="{FF2B5EF4-FFF2-40B4-BE49-F238E27FC236}">
                <a16:creationId xmlns:a16="http://schemas.microsoft.com/office/drawing/2014/main" id="{F790396D-0BEB-94D9-7099-4B5AA489087B}"/>
              </a:ext>
            </a:extLst>
          </p:cNvPr>
          <p:cNvSpPr>
            <a:spLocks noGrp="1"/>
          </p:cNvSpPr>
          <p:nvPr>
            <p:ph type="title"/>
          </p:nvPr>
        </p:nvSpPr>
        <p:spPr/>
        <p:txBody>
          <a:bodyPr/>
          <a:lstStyle/>
          <a:p>
            <a:r>
              <a:rPr lang="en-GB" dirty="0">
                <a:solidFill>
                  <a:schemeClr val="bg1"/>
                </a:solidFill>
              </a:rPr>
              <a:t>How to convert a customer?</a:t>
            </a:r>
            <a:endParaRPr lang="en-DK" dirty="0">
              <a:solidFill>
                <a:schemeClr val="bg1"/>
              </a:solidFill>
            </a:endParaRPr>
          </a:p>
        </p:txBody>
      </p:sp>
      <p:sp>
        <p:nvSpPr>
          <p:cNvPr id="7" name="Text Placeholder 6">
            <a:extLst>
              <a:ext uri="{FF2B5EF4-FFF2-40B4-BE49-F238E27FC236}">
                <a16:creationId xmlns:a16="http://schemas.microsoft.com/office/drawing/2014/main" id="{0F9475A8-0C6D-BC3D-A7B6-D374194F2CA0}"/>
              </a:ext>
            </a:extLst>
          </p:cNvPr>
          <p:cNvSpPr>
            <a:spLocks noGrp="1"/>
          </p:cNvSpPr>
          <p:nvPr>
            <p:ph type="body" sz="half" idx="2"/>
          </p:nvPr>
        </p:nvSpPr>
        <p:spPr>
          <a:xfrm>
            <a:off x="371476" y="1566000"/>
            <a:ext cx="4731016" cy="720000"/>
          </a:xfrm>
        </p:spPr>
        <p:txBody>
          <a:bodyPr/>
          <a:lstStyle/>
          <a:p>
            <a:pPr>
              <a:lnSpc>
                <a:spcPct val="100000"/>
              </a:lnSpc>
            </a:pPr>
            <a:endParaRPr lang="en-GB" sz="1440" dirty="0"/>
          </a:p>
          <a:p>
            <a:pPr>
              <a:lnSpc>
                <a:spcPct val="100000"/>
              </a:lnSpc>
            </a:pPr>
            <a:r>
              <a:rPr lang="en-GB" sz="2880" dirty="0"/>
              <a:t>Be prepared to defend your price. (Have clear the value we give)</a:t>
            </a:r>
          </a:p>
          <a:p>
            <a:pPr>
              <a:lnSpc>
                <a:spcPct val="100000"/>
              </a:lnSpc>
            </a:pPr>
            <a:r>
              <a:rPr lang="en-GB" sz="2880" dirty="0"/>
              <a:t>Maybe here you will face the purchasing department.</a:t>
            </a:r>
            <a:endParaRPr lang="en-DK" sz="1680" dirty="0"/>
          </a:p>
        </p:txBody>
      </p:sp>
    </p:spTree>
    <p:extLst>
      <p:ext uri="{BB962C8B-B14F-4D97-AF65-F5344CB8AC3E}">
        <p14:creationId xmlns:p14="http://schemas.microsoft.com/office/powerpoint/2010/main" val="6215166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Hiker with arms in air">
            <a:extLst>
              <a:ext uri="{FF2B5EF4-FFF2-40B4-BE49-F238E27FC236}">
                <a16:creationId xmlns:a16="http://schemas.microsoft.com/office/drawing/2014/main" id="{0CFE06D6-39B3-A5B1-3541-4761EF6EC3C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00" y="-295755"/>
            <a:ext cx="10972800" cy="7153756"/>
          </a:xfrm>
          <a:prstGeom prst="rect">
            <a:avLst/>
          </a:prstGeom>
        </p:spPr>
      </p:pic>
      <p:sp>
        <p:nvSpPr>
          <p:cNvPr id="2" name="Text Placeholder 1">
            <a:extLst>
              <a:ext uri="{FF2B5EF4-FFF2-40B4-BE49-F238E27FC236}">
                <a16:creationId xmlns:a16="http://schemas.microsoft.com/office/drawing/2014/main" id="{BC629D0B-8074-5547-57A6-8589F0A59E9B}"/>
              </a:ext>
            </a:extLst>
          </p:cNvPr>
          <p:cNvSpPr>
            <a:spLocks noGrp="1"/>
          </p:cNvSpPr>
          <p:nvPr>
            <p:ph type="body" sz="half" idx="10"/>
          </p:nvPr>
        </p:nvSpPr>
        <p:spPr/>
        <p:txBody>
          <a:bodyPr/>
          <a:lstStyle/>
          <a:p>
            <a:endParaRPr lang="en-US"/>
          </a:p>
        </p:txBody>
      </p:sp>
      <p:sp>
        <p:nvSpPr>
          <p:cNvPr id="5" name="Title 4">
            <a:extLst>
              <a:ext uri="{FF2B5EF4-FFF2-40B4-BE49-F238E27FC236}">
                <a16:creationId xmlns:a16="http://schemas.microsoft.com/office/drawing/2014/main" id="{F790396D-0BEB-94D9-7099-4B5AA489087B}"/>
              </a:ext>
            </a:extLst>
          </p:cNvPr>
          <p:cNvSpPr>
            <a:spLocks noGrp="1"/>
          </p:cNvSpPr>
          <p:nvPr>
            <p:ph type="title"/>
          </p:nvPr>
        </p:nvSpPr>
        <p:spPr/>
        <p:txBody>
          <a:bodyPr/>
          <a:lstStyle/>
          <a:p>
            <a:r>
              <a:rPr lang="en-GB" dirty="0"/>
              <a:t>How to convert a customer?</a:t>
            </a:r>
            <a:endParaRPr lang="en-DK" dirty="0"/>
          </a:p>
        </p:txBody>
      </p:sp>
      <p:sp>
        <p:nvSpPr>
          <p:cNvPr id="7" name="Text Placeholder 6">
            <a:extLst>
              <a:ext uri="{FF2B5EF4-FFF2-40B4-BE49-F238E27FC236}">
                <a16:creationId xmlns:a16="http://schemas.microsoft.com/office/drawing/2014/main" id="{0F9475A8-0C6D-BC3D-A7B6-D374194F2CA0}"/>
              </a:ext>
            </a:extLst>
          </p:cNvPr>
          <p:cNvSpPr>
            <a:spLocks noGrp="1"/>
          </p:cNvSpPr>
          <p:nvPr>
            <p:ph type="body" sz="half" idx="2"/>
          </p:nvPr>
        </p:nvSpPr>
        <p:spPr/>
        <p:txBody>
          <a:bodyPr/>
          <a:lstStyle/>
          <a:p>
            <a:endParaRPr lang="en-GB" sz="1440" dirty="0"/>
          </a:p>
          <a:p>
            <a:r>
              <a:rPr lang="en-GB" sz="2880" dirty="0">
                <a:solidFill>
                  <a:srgbClr val="1F6898"/>
                </a:solidFill>
              </a:rPr>
              <a:t>If all goes as planned, you will reach a deal! </a:t>
            </a:r>
          </a:p>
          <a:p>
            <a:endParaRPr lang="en-GB" sz="2880" dirty="0">
              <a:solidFill>
                <a:srgbClr val="1F6898"/>
              </a:solidFill>
            </a:endParaRPr>
          </a:p>
          <a:p>
            <a:r>
              <a:rPr lang="en-GB" sz="2880" dirty="0">
                <a:solidFill>
                  <a:srgbClr val="1F6898"/>
                </a:solidFill>
              </a:rPr>
              <a:t>Converting a new account is the sales team superpower. </a:t>
            </a:r>
          </a:p>
          <a:p>
            <a:endParaRPr lang="en-GB" sz="2880" dirty="0">
              <a:solidFill>
                <a:srgbClr val="1F6898"/>
              </a:solidFill>
            </a:endParaRPr>
          </a:p>
          <a:p>
            <a:r>
              <a:rPr lang="en-GB" sz="2880" dirty="0">
                <a:solidFill>
                  <a:srgbClr val="1F6898"/>
                </a:solidFill>
              </a:rPr>
              <a:t>Only we can do it!</a:t>
            </a:r>
            <a:endParaRPr lang="en-DK" sz="1680" dirty="0">
              <a:solidFill>
                <a:srgbClr val="1F6898"/>
              </a:solidFill>
            </a:endParaRPr>
          </a:p>
        </p:txBody>
      </p:sp>
    </p:spTree>
    <p:extLst>
      <p:ext uri="{BB962C8B-B14F-4D97-AF65-F5344CB8AC3E}">
        <p14:creationId xmlns:p14="http://schemas.microsoft.com/office/powerpoint/2010/main" val="41076790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161399E8-ACC1-671B-5E93-B020AEA70B94}"/>
              </a:ext>
            </a:extLst>
          </p:cNvPr>
          <p:cNvSpPr>
            <a:spLocks noGrp="1"/>
          </p:cNvSpPr>
          <p:nvPr>
            <p:ph type="body" sz="half" idx="10"/>
          </p:nvPr>
        </p:nvSpPr>
        <p:spPr/>
        <p:txBody>
          <a:bodyPr/>
          <a:lstStyle/>
          <a:p>
            <a:endParaRPr lang="en-US"/>
          </a:p>
        </p:txBody>
      </p:sp>
      <p:sp>
        <p:nvSpPr>
          <p:cNvPr id="10" name="Text Placeholder 9">
            <a:extLst>
              <a:ext uri="{FF2B5EF4-FFF2-40B4-BE49-F238E27FC236}">
                <a16:creationId xmlns:a16="http://schemas.microsoft.com/office/drawing/2014/main" id="{1A9D61C4-29E0-B5D2-78A0-5949A3C98DD6}"/>
              </a:ext>
            </a:extLst>
          </p:cNvPr>
          <p:cNvSpPr>
            <a:spLocks noGrp="1"/>
          </p:cNvSpPr>
          <p:nvPr>
            <p:ph type="body" sz="half" idx="2"/>
          </p:nvPr>
        </p:nvSpPr>
        <p:spPr/>
        <p:txBody>
          <a:bodyPr/>
          <a:lstStyle/>
          <a:p>
            <a:endParaRPr lang="en-US"/>
          </a:p>
        </p:txBody>
      </p:sp>
      <p:sp>
        <p:nvSpPr>
          <p:cNvPr id="5" name="Title 4">
            <a:extLst>
              <a:ext uri="{FF2B5EF4-FFF2-40B4-BE49-F238E27FC236}">
                <a16:creationId xmlns:a16="http://schemas.microsoft.com/office/drawing/2014/main" id="{BC2D456F-5BA7-7877-A131-3D7D7722760F}"/>
              </a:ext>
            </a:extLst>
          </p:cNvPr>
          <p:cNvSpPr>
            <a:spLocks noGrp="1"/>
          </p:cNvSpPr>
          <p:nvPr>
            <p:ph type="title"/>
          </p:nvPr>
        </p:nvSpPr>
        <p:spPr/>
        <p:txBody>
          <a:bodyPr/>
          <a:lstStyle/>
          <a:p>
            <a:r>
              <a:rPr lang="sv-SE" dirty="0"/>
              <a:t>Value-based sales</a:t>
            </a:r>
            <a:endParaRPr lang="en-SG" dirty="0"/>
          </a:p>
        </p:txBody>
      </p:sp>
    </p:spTree>
    <p:extLst>
      <p:ext uri="{BB962C8B-B14F-4D97-AF65-F5344CB8AC3E}">
        <p14:creationId xmlns:p14="http://schemas.microsoft.com/office/powerpoint/2010/main" val="38745224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71DAB6-ED0D-77EF-DB6F-42129774E064}"/>
              </a:ext>
            </a:extLst>
          </p:cNvPr>
          <p:cNvSpPr>
            <a:spLocks noGrp="1"/>
          </p:cNvSpPr>
          <p:nvPr>
            <p:ph type="body" sz="half" idx="10"/>
          </p:nvPr>
        </p:nvSpPr>
        <p:spPr/>
        <p:txBody>
          <a:bodyPr/>
          <a:lstStyle/>
          <a:p>
            <a:endParaRPr lang="en-US"/>
          </a:p>
        </p:txBody>
      </p:sp>
      <p:sp>
        <p:nvSpPr>
          <p:cNvPr id="6" name="Title 5">
            <a:extLst>
              <a:ext uri="{FF2B5EF4-FFF2-40B4-BE49-F238E27FC236}">
                <a16:creationId xmlns:a16="http://schemas.microsoft.com/office/drawing/2014/main" id="{D8C4C026-7D10-C1CE-AA19-85D1F99402B6}"/>
              </a:ext>
            </a:extLst>
          </p:cNvPr>
          <p:cNvSpPr>
            <a:spLocks noGrp="1"/>
          </p:cNvSpPr>
          <p:nvPr>
            <p:ph type="title"/>
          </p:nvPr>
        </p:nvSpPr>
        <p:spPr/>
        <p:txBody>
          <a:bodyPr/>
          <a:lstStyle/>
          <a:p>
            <a:r>
              <a:rPr lang="sv-SE" dirty="0"/>
              <a:t>What we’ll cover for the next hour</a:t>
            </a:r>
            <a:endParaRPr lang="en-SG" dirty="0"/>
          </a:p>
        </p:txBody>
      </p:sp>
      <p:sp>
        <p:nvSpPr>
          <p:cNvPr id="14" name="Text Placeholder 13">
            <a:extLst>
              <a:ext uri="{FF2B5EF4-FFF2-40B4-BE49-F238E27FC236}">
                <a16:creationId xmlns:a16="http://schemas.microsoft.com/office/drawing/2014/main" id="{F6396F5D-1347-7E9B-647A-4CAFEA4F5BB7}"/>
              </a:ext>
            </a:extLst>
          </p:cNvPr>
          <p:cNvSpPr>
            <a:spLocks noGrp="1"/>
          </p:cNvSpPr>
          <p:nvPr>
            <p:ph type="body" sz="half" idx="2"/>
          </p:nvPr>
        </p:nvSpPr>
        <p:spPr/>
        <p:txBody>
          <a:bodyPr/>
          <a:lstStyle/>
          <a:p>
            <a:r>
              <a:rPr lang="sv-SE" dirty="0"/>
              <a:t>Value based sales – what is it and when is it the right play?</a:t>
            </a:r>
            <a:endParaRPr lang="en-SG" dirty="0"/>
          </a:p>
        </p:txBody>
      </p:sp>
      <p:grpSp>
        <p:nvGrpSpPr>
          <p:cNvPr id="45" name="Group 44">
            <a:extLst>
              <a:ext uri="{FF2B5EF4-FFF2-40B4-BE49-F238E27FC236}">
                <a16:creationId xmlns:a16="http://schemas.microsoft.com/office/drawing/2014/main" id="{A9CFD892-1D1E-C3F2-F398-B64D9B84A1B4}"/>
              </a:ext>
            </a:extLst>
          </p:cNvPr>
          <p:cNvGrpSpPr/>
          <p:nvPr/>
        </p:nvGrpSpPr>
        <p:grpSpPr>
          <a:xfrm>
            <a:off x="2090560" y="5951188"/>
            <a:ext cx="6235229" cy="497549"/>
            <a:chOff x="1234133" y="4959323"/>
            <a:chExt cx="5196024" cy="414624"/>
          </a:xfrm>
        </p:grpSpPr>
        <p:sp>
          <p:nvSpPr>
            <p:cNvPr id="20" name="TextBox 19">
              <a:extLst>
                <a:ext uri="{FF2B5EF4-FFF2-40B4-BE49-F238E27FC236}">
                  <a16:creationId xmlns:a16="http://schemas.microsoft.com/office/drawing/2014/main" id="{3DE59B05-828A-FFA7-7D38-E249362AE6A0}"/>
                </a:ext>
              </a:extLst>
            </p:cNvPr>
            <p:cNvSpPr txBox="1"/>
            <p:nvPr/>
          </p:nvSpPr>
          <p:spPr>
            <a:xfrm>
              <a:off x="1675277" y="4981969"/>
              <a:ext cx="4754880" cy="307777"/>
            </a:xfrm>
            <a:prstGeom prst="rect">
              <a:avLst/>
            </a:prstGeom>
            <a:noFill/>
          </p:spPr>
          <p:txBody>
            <a:bodyPr wrap="square">
              <a:spAutoFit/>
            </a:bodyPr>
            <a:lstStyle/>
            <a:p>
              <a:r>
                <a:rPr lang="en-US" dirty="0"/>
                <a:t>Role-play example</a:t>
              </a:r>
            </a:p>
          </p:txBody>
        </p:sp>
        <p:pic>
          <p:nvPicPr>
            <p:cNvPr id="22" name="Graphic 21" descr="Drama with solid fill">
              <a:extLst>
                <a:ext uri="{FF2B5EF4-FFF2-40B4-BE49-F238E27FC236}">
                  <a16:creationId xmlns:a16="http://schemas.microsoft.com/office/drawing/2014/main" id="{393BAA0E-98A4-3E2A-B3F2-3EACCE381B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34133" y="4959323"/>
              <a:ext cx="414624" cy="414624"/>
            </a:xfrm>
            <a:prstGeom prst="rect">
              <a:avLst/>
            </a:prstGeom>
          </p:spPr>
        </p:pic>
      </p:grpSp>
      <p:grpSp>
        <p:nvGrpSpPr>
          <p:cNvPr id="44" name="Group 43">
            <a:extLst>
              <a:ext uri="{FF2B5EF4-FFF2-40B4-BE49-F238E27FC236}">
                <a16:creationId xmlns:a16="http://schemas.microsoft.com/office/drawing/2014/main" id="{62408883-BFE4-1875-A045-B0375734DC09}"/>
              </a:ext>
            </a:extLst>
          </p:cNvPr>
          <p:cNvGrpSpPr/>
          <p:nvPr/>
        </p:nvGrpSpPr>
        <p:grpSpPr>
          <a:xfrm>
            <a:off x="2119878" y="5278245"/>
            <a:ext cx="6205910" cy="438912"/>
            <a:chOff x="1258565" y="4398533"/>
            <a:chExt cx="5171592" cy="365760"/>
          </a:xfrm>
        </p:grpSpPr>
        <p:sp>
          <p:nvSpPr>
            <p:cNvPr id="5" name="TextBox 4">
              <a:extLst>
                <a:ext uri="{FF2B5EF4-FFF2-40B4-BE49-F238E27FC236}">
                  <a16:creationId xmlns:a16="http://schemas.microsoft.com/office/drawing/2014/main" id="{88936ADF-B268-5A6A-C253-C948E2797312}"/>
                </a:ext>
              </a:extLst>
            </p:cNvPr>
            <p:cNvSpPr txBox="1"/>
            <p:nvPr/>
          </p:nvSpPr>
          <p:spPr>
            <a:xfrm>
              <a:off x="1675277" y="4398533"/>
              <a:ext cx="4754880" cy="307777"/>
            </a:xfrm>
            <a:prstGeom prst="rect">
              <a:avLst/>
            </a:prstGeom>
            <a:noFill/>
          </p:spPr>
          <p:txBody>
            <a:bodyPr wrap="square">
              <a:spAutoFit/>
            </a:bodyPr>
            <a:lstStyle/>
            <a:p>
              <a:r>
                <a:rPr lang="en-US" dirty="0"/>
                <a:t>What does it mean for Ellab?</a:t>
              </a:r>
            </a:p>
          </p:txBody>
        </p:sp>
        <p:grpSp>
          <p:nvGrpSpPr>
            <p:cNvPr id="23" name="Graphic 19">
              <a:extLst>
                <a:ext uri="{FF2B5EF4-FFF2-40B4-BE49-F238E27FC236}">
                  <a16:creationId xmlns:a16="http://schemas.microsoft.com/office/drawing/2014/main" id="{4D9EFC04-1C28-3642-28FA-D15B4BCA818F}"/>
                </a:ext>
              </a:extLst>
            </p:cNvPr>
            <p:cNvGrpSpPr/>
            <p:nvPr/>
          </p:nvGrpSpPr>
          <p:grpSpPr>
            <a:xfrm>
              <a:off x="1258565" y="4398533"/>
              <a:ext cx="365760" cy="365760"/>
              <a:chOff x="5206708" y="2443780"/>
              <a:chExt cx="437513" cy="437513"/>
            </a:xfrm>
            <a:solidFill>
              <a:schemeClr val="tx1"/>
            </a:solidFill>
          </p:grpSpPr>
          <p:sp>
            <p:nvSpPr>
              <p:cNvPr id="24" name="Freeform 67">
                <a:extLst>
                  <a:ext uri="{FF2B5EF4-FFF2-40B4-BE49-F238E27FC236}">
                    <a16:creationId xmlns:a16="http://schemas.microsoft.com/office/drawing/2014/main" id="{D588AD1C-73D2-27B3-1205-01FDBBD7836A}"/>
                  </a:ext>
                </a:extLst>
              </p:cNvPr>
              <p:cNvSpPr/>
              <p:nvPr/>
            </p:nvSpPr>
            <p:spPr>
              <a:xfrm>
                <a:off x="5232193" y="2534673"/>
                <a:ext cx="189060" cy="284684"/>
              </a:xfrm>
              <a:custGeom>
                <a:avLst/>
                <a:gdLst>
                  <a:gd name="connsiteX0" fmla="*/ 147961 w 189060"/>
                  <a:gd name="connsiteY0" fmla="*/ 273473 h 284684"/>
                  <a:gd name="connsiteX1" fmla="*/ 85069 w 189060"/>
                  <a:gd name="connsiteY1" fmla="*/ 239074 h 284684"/>
                  <a:gd name="connsiteX2" fmla="*/ 68908 w 189060"/>
                  <a:gd name="connsiteY2" fmla="*/ 222257 h 284684"/>
                  <a:gd name="connsiteX3" fmla="*/ 71397 w 189060"/>
                  <a:gd name="connsiteY3" fmla="*/ 222257 h 284684"/>
                  <a:gd name="connsiteX4" fmla="*/ 81924 w 189060"/>
                  <a:gd name="connsiteY4" fmla="*/ 222612 h 284684"/>
                  <a:gd name="connsiteX5" fmla="*/ 79819 w 189060"/>
                  <a:gd name="connsiteY5" fmla="*/ 219714 h 284684"/>
                  <a:gd name="connsiteX6" fmla="*/ 75963 w 189060"/>
                  <a:gd name="connsiteY6" fmla="*/ 213479 h 284684"/>
                  <a:gd name="connsiteX7" fmla="*/ 71397 w 189060"/>
                  <a:gd name="connsiteY7" fmla="*/ 213643 h 284684"/>
                  <a:gd name="connsiteX8" fmla="*/ 62728 w 189060"/>
                  <a:gd name="connsiteY8" fmla="*/ 213999 h 284684"/>
                  <a:gd name="connsiteX9" fmla="*/ 39868 w 189060"/>
                  <a:gd name="connsiteY9" fmla="*/ 148946 h 284684"/>
                  <a:gd name="connsiteX10" fmla="*/ 46540 w 189060"/>
                  <a:gd name="connsiteY10" fmla="*/ 149219 h 284684"/>
                  <a:gd name="connsiteX11" fmla="*/ 57150 w 189060"/>
                  <a:gd name="connsiteY11" fmla="*/ 149547 h 284684"/>
                  <a:gd name="connsiteX12" fmla="*/ 56849 w 189060"/>
                  <a:gd name="connsiteY12" fmla="*/ 140250 h 284684"/>
                  <a:gd name="connsiteX13" fmla="*/ 46540 w 189060"/>
                  <a:gd name="connsiteY13" fmla="*/ 140578 h 284684"/>
                  <a:gd name="connsiteX14" fmla="*/ 39732 w 189060"/>
                  <a:gd name="connsiteY14" fmla="*/ 140879 h 284684"/>
                  <a:gd name="connsiteX15" fmla="*/ 58599 w 189060"/>
                  <a:gd name="connsiteY15" fmla="*/ 76975 h 284684"/>
                  <a:gd name="connsiteX16" fmla="*/ 67486 w 189060"/>
                  <a:gd name="connsiteY16" fmla="*/ 77358 h 284684"/>
                  <a:gd name="connsiteX17" fmla="*/ 71944 w 189060"/>
                  <a:gd name="connsiteY17" fmla="*/ 77494 h 284684"/>
                  <a:gd name="connsiteX18" fmla="*/ 76756 w 189060"/>
                  <a:gd name="connsiteY18" fmla="*/ 68416 h 284684"/>
                  <a:gd name="connsiteX19" fmla="*/ 67486 w 189060"/>
                  <a:gd name="connsiteY19" fmla="*/ 68717 h 284684"/>
                  <a:gd name="connsiteX20" fmla="*/ 64068 w 189060"/>
                  <a:gd name="connsiteY20" fmla="*/ 68717 h 284684"/>
                  <a:gd name="connsiteX21" fmla="*/ 85151 w 189060"/>
                  <a:gd name="connsiteY21" fmla="*/ 45474 h 284684"/>
                  <a:gd name="connsiteX22" fmla="*/ 135602 w 189060"/>
                  <a:gd name="connsiteY22" fmla="*/ 15340 h 284684"/>
                  <a:gd name="connsiteX23" fmla="*/ 180365 w 189060"/>
                  <a:gd name="connsiteY23" fmla="*/ 1313 h 284684"/>
                  <a:gd name="connsiteX24" fmla="*/ 188322 w 189060"/>
                  <a:gd name="connsiteY24" fmla="*/ 0 h 284684"/>
                  <a:gd name="connsiteX25" fmla="*/ 163028 w 189060"/>
                  <a:gd name="connsiteY25" fmla="*/ 0 h 284684"/>
                  <a:gd name="connsiteX26" fmla="*/ 0 w 189060"/>
                  <a:gd name="connsiteY26" fmla="*/ 142356 h 284684"/>
                  <a:gd name="connsiteX27" fmla="*/ 163028 w 189060"/>
                  <a:gd name="connsiteY27" fmla="*/ 284684 h 284684"/>
                  <a:gd name="connsiteX28" fmla="*/ 189060 w 189060"/>
                  <a:gd name="connsiteY28" fmla="*/ 284684 h 284684"/>
                  <a:gd name="connsiteX29" fmla="*/ 147961 w 189060"/>
                  <a:gd name="connsiteY29" fmla="*/ 273473 h 284684"/>
                  <a:gd name="connsiteX30" fmla="*/ 4895 w 189060"/>
                  <a:gd name="connsiteY30" fmla="*/ 142356 h 284684"/>
                  <a:gd name="connsiteX31" fmla="*/ 144817 w 189060"/>
                  <a:gd name="connsiteY31" fmla="*/ 5824 h 284684"/>
                  <a:gd name="connsiteX32" fmla="*/ 50451 w 189060"/>
                  <a:gd name="connsiteY32" fmla="*/ 69537 h 284684"/>
                  <a:gd name="connsiteX33" fmla="*/ 32103 w 189060"/>
                  <a:gd name="connsiteY33" fmla="*/ 73037 h 284684"/>
                  <a:gd name="connsiteX34" fmla="*/ 46103 w 189060"/>
                  <a:gd name="connsiteY34" fmla="*/ 76264 h 284684"/>
                  <a:gd name="connsiteX35" fmla="*/ 27345 w 189060"/>
                  <a:gd name="connsiteY35" fmla="*/ 141535 h 284684"/>
                  <a:gd name="connsiteX36" fmla="*/ 11157 w 189060"/>
                  <a:gd name="connsiteY36" fmla="*/ 144899 h 284684"/>
                  <a:gd name="connsiteX37" fmla="*/ 27563 w 189060"/>
                  <a:gd name="connsiteY37" fmla="*/ 148290 h 284684"/>
                  <a:gd name="connsiteX38" fmla="*/ 50314 w 189060"/>
                  <a:gd name="connsiteY38" fmla="*/ 214792 h 284684"/>
                  <a:gd name="connsiteX39" fmla="*/ 36204 w 189060"/>
                  <a:gd name="connsiteY39" fmla="*/ 218018 h 284684"/>
                  <a:gd name="connsiteX40" fmla="*/ 55345 w 189060"/>
                  <a:gd name="connsiteY40" fmla="*/ 221600 h 284684"/>
                  <a:gd name="connsiteX41" fmla="*/ 144981 w 189060"/>
                  <a:gd name="connsiteY41" fmla="*/ 278887 h 284684"/>
                  <a:gd name="connsiteX42" fmla="*/ 4895 w 189060"/>
                  <a:gd name="connsiteY42" fmla="*/ 142356 h 28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9060" h="284684">
                    <a:moveTo>
                      <a:pt x="147961" y="273473"/>
                    </a:moveTo>
                    <a:cubicBezTo>
                      <a:pt x="124724" y="266768"/>
                      <a:pt x="103251" y="255024"/>
                      <a:pt x="85069" y="239074"/>
                    </a:cubicBezTo>
                    <a:cubicBezTo>
                      <a:pt x="79249" y="233900"/>
                      <a:pt x="73845" y="228278"/>
                      <a:pt x="68908" y="222257"/>
                    </a:cubicBezTo>
                    <a:lnTo>
                      <a:pt x="71397" y="222257"/>
                    </a:lnTo>
                    <a:lnTo>
                      <a:pt x="81924" y="222612"/>
                    </a:lnTo>
                    <a:cubicBezTo>
                      <a:pt x="81241" y="221628"/>
                      <a:pt x="80475" y="220725"/>
                      <a:pt x="79819" y="219714"/>
                    </a:cubicBezTo>
                    <a:cubicBezTo>
                      <a:pt x="78479" y="217690"/>
                      <a:pt x="77084" y="215612"/>
                      <a:pt x="75963" y="213479"/>
                    </a:cubicBezTo>
                    <a:lnTo>
                      <a:pt x="71397" y="213643"/>
                    </a:lnTo>
                    <a:lnTo>
                      <a:pt x="62728" y="213999"/>
                    </a:lnTo>
                    <a:cubicBezTo>
                      <a:pt x="49144" y="194896"/>
                      <a:pt x="41221" y="172348"/>
                      <a:pt x="39868" y="148946"/>
                    </a:cubicBezTo>
                    <a:lnTo>
                      <a:pt x="46540" y="149219"/>
                    </a:lnTo>
                    <a:lnTo>
                      <a:pt x="57150" y="149547"/>
                    </a:lnTo>
                    <a:cubicBezTo>
                      <a:pt x="56959" y="146457"/>
                      <a:pt x="56849" y="143340"/>
                      <a:pt x="56849" y="140250"/>
                    </a:cubicBezTo>
                    <a:lnTo>
                      <a:pt x="46540" y="140578"/>
                    </a:lnTo>
                    <a:lnTo>
                      <a:pt x="39732" y="140879"/>
                    </a:lnTo>
                    <a:cubicBezTo>
                      <a:pt x="40043" y="118251"/>
                      <a:pt x="46570" y="96143"/>
                      <a:pt x="58599" y="76975"/>
                    </a:cubicBezTo>
                    <a:lnTo>
                      <a:pt x="67486" y="77358"/>
                    </a:lnTo>
                    <a:lnTo>
                      <a:pt x="71944" y="77494"/>
                    </a:lnTo>
                    <a:cubicBezTo>
                      <a:pt x="73420" y="74377"/>
                      <a:pt x="75033" y="71369"/>
                      <a:pt x="76756" y="68416"/>
                    </a:cubicBezTo>
                    <a:lnTo>
                      <a:pt x="67486" y="68717"/>
                    </a:lnTo>
                    <a:lnTo>
                      <a:pt x="64068" y="68717"/>
                    </a:lnTo>
                    <a:cubicBezTo>
                      <a:pt x="70225" y="60222"/>
                      <a:pt x="77295" y="52428"/>
                      <a:pt x="85151" y="45474"/>
                    </a:cubicBezTo>
                    <a:cubicBezTo>
                      <a:pt x="99998" y="32448"/>
                      <a:pt x="117094" y="22237"/>
                      <a:pt x="135602" y="15340"/>
                    </a:cubicBezTo>
                    <a:cubicBezTo>
                      <a:pt x="149737" y="8451"/>
                      <a:pt x="164826" y="3722"/>
                      <a:pt x="180365" y="1313"/>
                    </a:cubicBezTo>
                    <a:cubicBezTo>
                      <a:pt x="183099" y="820"/>
                      <a:pt x="185642" y="410"/>
                      <a:pt x="188322" y="0"/>
                    </a:cubicBezTo>
                    <a:lnTo>
                      <a:pt x="163028" y="0"/>
                    </a:lnTo>
                    <a:cubicBezTo>
                      <a:pt x="73147" y="0"/>
                      <a:pt x="0" y="63850"/>
                      <a:pt x="0" y="142356"/>
                    </a:cubicBezTo>
                    <a:cubicBezTo>
                      <a:pt x="0" y="220862"/>
                      <a:pt x="73147" y="284684"/>
                      <a:pt x="163028" y="284684"/>
                    </a:cubicBezTo>
                    <a:lnTo>
                      <a:pt x="189060" y="284684"/>
                    </a:lnTo>
                    <a:cubicBezTo>
                      <a:pt x="174993" y="282458"/>
                      <a:pt x="161211" y="278699"/>
                      <a:pt x="147961" y="273473"/>
                    </a:cubicBezTo>
                    <a:close/>
                    <a:moveTo>
                      <a:pt x="4895" y="142356"/>
                    </a:moveTo>
                    <a:cubicBezTo>
                      <a:pt x="4895" y="71916"/>
                      <a:pt x="66174" y="13672"/>
                      <a:pt x="144817" y="5824"/>
                    </a:cubicBezTo>
                    <a:cubicBezTo>
                      <a:pt x="106730" y="15040"/>
                      <a:pt x="73233" y="37656"/>
                      <a:pt x="50451" y="69537"/>
                    </a:cubicBezTo>
                    <a:cubicBezTo>
                      <a:pt x="32103" y="70631"/>
                      <a:pt x="32103" y="71807"/>
                      <a:pt x="32103" y="73037"/>
                    </a:cubicBezTo>
                    <a:cubicBezTo>
                      <a:pt x="32103" y="74268"/>
                      <a:pt x="32103" y="75252"/>
                      <a:pt x="46103" y="76264"/>
                    </a:cubicBezTo>
                    <a:cubicBezTo>
                      <a:pt x="34039" y="95914"/>
                      <a:pt x="27554" y="118479"/>
                      <a:pt x="27345" y="141535"/>
                    </a:cubicBezTo>
                    <a:cubicBezTo>
                      <a:pt x="11184" y="142575"/>
                      <a:pt x="11157" y="143723"/>
                      <a:pt x="11157" y="144899"/>
                    </a:cubicBezTo>
                    <a:cubicBezTo>
                      <a:pt x="11157" y="146075"/>
                      <a:pt x="11157" y="147223"/>
                      <a:pt x="27563" y="148290"/>
                    </a:cubicBezTo>
                    <a:cubicBezTo>
                      <a:pt x="28820" y="172140"/>
                      <a:pt x="36699" y="195169"/>
                      <a:pt x="50314" y="214792"/>
                    </a:cubicBezTo>
                    <a:cubicBezTo>
                      <a:pt x="36232" y="215831"/>
                      <a:pt x="36204" y="216897"/>
                      <a:pt x="36204" y="218018"/>
                    </a:cubicBezTo>
                    <a:cubicBezTo>
                      <a:pt x="36204" y="219139"/>
                      <a:pt x="36204" y="220479"/>
                      <a:pt x="55345" y="221600"/>
                    </a:cubicBezTo>
                    <a:cubicBezTo>
                      <a:pt x="78085" y="250063"/>
                      <a:pt x="109601" y="270203"/>
                      <a:pt x="144981" y="278887"/>
                    </a:cubicBezTo>
                    <a:cubicBezTo>
                      <a:pt x="66174" y="271012"/>
                      <a:pt x="4895" y="212768"/>
                      <a:pt x="4895" y="142356"/>
                    </a:cubicBezTo>
                    <a:close/>
                  </a:path>
                </a:pathLst>
              </a:custGeom>
              <a:grpFill/>
              <a:ln w="26789" cap="flat">
                <a:noFill/>
                <a:prstDash val="solid"/>
                <a:miter/>
              </a:ln>
            </p:spPr>
            <p:txBody>
              <a:bodyPr anchor="ctr"/>
              <a:lstStyle/>
              <a:p>
                <a:pPr eaLnBrk="1" fontAlgn="auto" hangingPunct="1">
                  <a:spcBef>
                    <a:spcPts val="0"/>
                  </a:spcBef>
                  <a:spcAft>
                    <a:spcPts val="0"/>
                  </a:spcAft>
                  <a:defRPr/>
                </a:pPr>
                <a:endParaRPr lang="en-SG">
                  <a:latin typeface="Avenir Next" panose="020B0503020202020204" pitchFamily="34" charset="0"/>
                </a:endParaRPr>
              </a:p>
            </p:txBody>
          </p:sp>
          <p:sp>
            <p:nvSpPr>
              <p:cNvPr id="25" name="Freeform 68">
                <a:extLst>
                  <a:ext uri="{FF2B5EF4-FFF2-40B4-BE49-F238E27FC236}">
                    <a16:creationId xmlns:a16="http://schemas.microsoft.com/office/drawing/2014/main" id="{CD4CB088-B504-4146-4E8F-DB14A6377710}"/>
                  </a:ext>
                </a:extLst>
              </p:cNvPr>
              <p:cNvSpPr/>
              <p:nvPr/>
            </p:nvSpPr>
            <p:spPr>
              <a:xfrm>
                <a:off x="5207739" y="2525345"/>
                <a:ext cx="447118" cy="305385"/>
              </a:xfrm>
              <a:custGeom>
                <a:avLst/>
                <a:gdLst>
                  <a:gd name="connsiteX0" fmla="*/ 183653 w 447118"/>
                  <a:gd name="connsiteY0" fmla="*/ 305305 h 305385"/>
                  <a:gd name="connsiteX1" fmla="*/ 171184 w 447118"/>
                  <a:gd name="connsiteY1" fmla="*/ 305305 h 305385"/>
                  <a:gd name="connsiteX2" fmla="*/ 24235 w 447118"/>
                  <a:gd name="connsiteY2" fmla="*/ 234209 h 305385"/>
                  <a:gd name="connsiteX3" fmla="*/ 14883 w 447118"/>
                  <a:gd name="connsiteY3" fmla="*/ 86740 h 305385"/>
                  <a:gd name="connsiteX4" fmla="*/ 129484 w 447118"/>
                  <a:gd name="connsiteY4" fmla="*/ 4706 h 305385"/>
                  <a:gd name="connsiteX5" fmla="*/ 183626 w 447118"/>
                  <a:gd name="connsiteY5" fmla="*/ 3 h 305385"/>
                  <a:gd name="connsiteX6" fmla="*/ 255706 w 447118"/>
                  <a:gd name="connsiteY6" fmla="*/ 3 h 305385"/>
                  <a:gd name="connsiteX7" fmla="*/ 345943 w 447118"/>
                  <a:gd name="connsiteY7" fmla="*/ 12718 h 305385"/>
                  <a:gd name="connsiteX8" fmla="*/ 409137 w 447118"/>
                  <a:gd name="connsiteY8" fmla="*/ 53270 h 305385"/>
                  <a:gd name="connsiteX9" fmla="*/ 409137 w 447118"/>
                  <a:gd name="connsiteY9" fmla="*/ 53462 h 305385"/>
                  <a:gd name="connsiteX10" fmla="*/ 447118 w 447118"/>
                  <a:gd name="connsiteY10" fmla="*/ 154336 h 305385"/>
                  <a:gd name="connsiteX11" fmla="*/ 348678 w 447118"/>
                  <a:gd name="connsiteY11" fmla="*/ 292317 h 305385"/>
                  <a:gd name="connsiteX12" fmla="*/ 255706 w 447118"/>
                  <a:gd name="connsiteY12" fmla="*/ 305278 h 305385"/>
                  <a:gd name="connsiteX13" fmla="*/ 184310 w 447118"/>
                  <a:gd name="connsiteY13" fmla="*/ 13730 h 305385"/>
                  <a:gd name="connsiteX14" fmla="*/ 131726 w 447118"/>
                  <a:gd name="connsiteY14" fmla="*/ 18269 h 305385"/>
                  <a:gd name="connsiteX15" fmla="*/ 27133 w 447118"/>
                  <a:gd name="connsiteY15" fmla="*/ 92756 h 305385"/>
                  <a:gd name="connsiteX16" fmla="*/ 35583 w 447118"/>
                  <a:gd name="connsiteY16" fmla="*/ 226608 h 305385"/>
                  <a:gd name="connsiteX17" fmla="*/ 171512 w 447118"/>
                  <a:gd name="connsiteY17" fmla="*/ 291524 h 305385"/>
                  <a:gd name="connsiteX18" fmla="*/ 183653 w 447118"/>
                  <a:gd name="connsiteY18" fmla="*/ 291524 h 305385"/>
                  <a:gd name="connsiteX19" fmla="*/ 255542 w 447118"/>
                  <a:gd name="connsiteY19" fmla="*/ 291524 h 305385"/>
                  <a:gd name="connsiteX20" fmla="*/ 344248 w 447118"/>
                  <a:gd name="connsiteY20" fmla="*/ 279273 h 305385"/>
                  <a:gd name="connsiteX21" fmla="*/ 433501 w 447118"/>
                  <a:gd name="connsiteY21" fmla="*/ 154090 h 305385"/>
                  <a:gd name="connsiteX22" fmla="*/ 398965 w 447118"/>
                  <a:gd name="connsiteY22" fmla="*/ 62403 h 305385"/>
                  <a:gd name="connsiteX23" fmla="*/ 341705 w 447118"/>
                  <a:gd name="connsiteY23" fmla="*/ 25652 h 305385"/>
                  <a:gd name="connsiteX24" fmla="*/ 255843 w 447118"/>
                  <a:gd name="connsiteY24" fmla="*/ 13648 h 305385"/>
                  <a:gd name="connsiteX25" fmla="*/ 184310 w 447118"/>
                  <a:gd name="connsiteY25" fmla="*/ 13648 h 30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7118" h="305385">
                    <a:moveTo>
                      <a:pt x="183653" y="305305"/>
                    </a:moveTo>
                    <a:lnTo>
                      <a:pt x="171184" y="305305"/>
                    </a:lnTo>
                    <a:cubicBezTo>
                      <a:pt x="113526" y="307047"/>
                      <a:pt x="58655" y="280501"/>
                      <a:pt x="24235" y="234209"/>
                    </a:cubicBezTo>
                    <a:cubicBezTo>
                      <a:pt x="-4344" y="190033"/>
                      <a:pt x="-7886" y="134172"/>
                      <a:pt x="14883" y="86740"/>
                    </a:cubicBezTo>
                    <a:cubicBezTo>
                      <a:pt x="36988" y="41974"/>
                      <a:pt x="79982" y="11199"/>
                      <a:pt x="129484" y="4706"/>
                    </a:cubicBezTo>
                    <a:cubicBezTo>
                      <a:pt x="147357" y="1545"/>
                      <a:pt x="165475" y="-29"/>
                      <a:pt x="183626" y="3"/>
                    </a:cubicBezTo>
                    <a:lnTo>
                      <a:pt x="255706" y="3"/>
                    </a:lnTo>
                    <a:cubicBezTo>
                      <a:pt x="286242" y="-133"/>
                      <a:pt x="316636" y="4150"/>
                      <a:pt x="345943" y="12718"/>
                    </a:cubicBezTo>
                    <a:cubicBezTo>
                      <a:pt x="370029" y="20820"/>
                      <a:pt x="391737" y="34751"/>
                      <a:pt x="409137" y="53270"/>
                    </a:cubicBezTo>
                    <a:lnTo>
                      <a:pt x="409137" y="53462"/>
                    </a:lnTo>
                    <a:cubicBezTo>
                      <a:pt x="433703" y="81313"/>
                      <a:pt x="447214" y="117199"/>
                      <a:pt x="447118" y="154336"/>
                    </a:cubicBezTo>
                    <a:cubicBezTo>
                      <a:pt x="445899" y="216230"/>
                      <a:pt x="406807" y="271023"/>
                      <a:pt x="348678" y="292317"/>
                    </a:cubicBezTo>
                    <a:cubicBezTo>
                      <a:pt x="318555" y="301474"/>
                      <a:pt x="287183" y="305847"/>
                      <a:pt x="255706" y="305278"/>
                    </a:cubicBezTo>
                    <a:close/>
                    <a:moveTo>
                      <a:pt x="184310" y="13730"/>
                    </a:moveTo>
                    <a:cubicBezTo>
                      <a:pt x="166682" y="13688"/>
                      <a:pt x="149086" y="15207"/>
                      <a:pt x="131726" y="18269"/>
                    </a:cubicBezTo>
                    <a:cubicBezTo>
                      <a:pt x="86602" y="24052"/>
                      <a:pt x="47353" y="52003"/>
                      <a:pt x="27133" y="92756"/>
                    </a:cubicBezTo>
                    <a:cubicBezTo>
                      <a:pt x="6808" y="135870"/>
                      <a:pt x="9997" y="186392"/>
                      <a:pt x="35583" y="226608"/>
                    </a:cubicBezTo>
                    <a:cubicBezTo>
                      <a:pt x="67623" y="269085"/>
                      <a:pt x="118336" y="293304"/>
                      <a:pt x="171512" y="291524"/>
                    </a:cubicBezTo>
                    <a:cubicBezTo>
                      <a:pt x="175541" y="291524"/>
                      <a:pt x="179588" y="291524"/>
                      <a:pt x="183653" y="291524"/>
                    </a:cubicBezTo>
                    <a:lnTo>
                      <a:pt x="255542" y="291524"/>
                    </a:lnTo>
                    <a:cubicBezTo>
                      <a:pt x="285567" y="292076"/>
                      <a:pt x="315495" y="287944"/>
                      <a:pt x="344248" y="279273"/>
                    </a:cubicBezTo>
                    <a:cubicBezTo>
                      <a:pt x="396946" y="259916"/>
                      <a:pt x="432380" y="210220"/>
                      <a:pt x="433501" y="154090"/>
                    </a:cubicBezTo>
                    <a:cubicBezTo>
                      <a:pt x="433558" y="120338"/>
                      <a:pt x="421275" y="87729"/>
                      <a:pt x="398965" y="62403"/>
                    </a:cubicBezTo>
                    <a:cubicBezTo>
                      <a:pt x="383181" y="45641"/>
                      <a:pt x="363518" y="33019"/>
                      <a:pt x="341705" y="25652"/>
                    </a:cubicBezTo>
                    <a:cubicBezTo>
                      <a:pt x="313811" y="17539"/>
                      <a:pt x="284891" y="13496"/>
                      <a:pt x="255843" y="13648"/>
                    </a:cubicBezTo>
                    <a:lnTo>
                      <a:pt x="184310" y="13648"/>
                    </a:lnTo>
                    <a:close/>
                  </a:path>
                </a:pathLst>
              </a:custGeom>
              <a:grpFill/>
              <a:ln w="26789" cap="flat">
                <a:noFill/>
                <a:prstDash val="solid"/>
                <a:miter/>
              </a:ln>
            </p:spPr>
            <p:txBody>
              <a:bodyPr anchor="ctr"/>
              <a:lstStyle/>
              <a:p>
                <a:pPr eaLnBrk="1" fontAlgn="auto" hangingPunct="1">
                  <a:spcBef>
                    <a:spcPts val="0"/>
                  </a:spcBef>
                  <a:spcAft>
                    <a:spcPts val="0"/>
                  </a:spcAft>
                  <a:defRPr/>
                </a:pPr>
                <a:endParaRPr lang="en-SG">
                  <a:latin typeface="Avenir Next" panose="020B0503020202020204" pitchFamily="34" charset="0"/>
                </a:endParaRPr>
              </a:p>
            </p:txBody>
          </p:sp>
          <p:sp>
            <p:nvSpPr>
              <p:cNvPr id="26" name="Freeform 69">
                <a:extLst>
                  <a:ext uri="{FF2B5EF4-FFF2-40B4-BE49-F238E27FC236}">
                    <a16:creationId xmlns:a16="http://schemas.microsoft.com/office/drawing/2014/main" id="{68BC132F-D00A-36B6-8C17-1E35FC2DA917}"/>
                  </a:ext>
                </a:extLst>
              </p:cNvPr>
              <p:cNvSpPr/>
              <p:nvPr/>
            </p:nvSpPr>
            <p:spPr>
              <a:xfrm>
                <a:off x="5285629" y="2528544"/>
                <a:ext cx="367534" cy="298723"/>
              </a:xfrm>
              <a:custGeom>
                <a:avLst/>
                <a:gdLst>
                  <a:gd name="connsiteX0" fmla="*/ 177926 w 367534"/>
                  <a:gd name="connsiteY0" fmla="*/ 298634 h 298723"/>
                  <a:gd name="connsiteX1" fmla="*/ 167535 w 367534"/>
                  <a:gd name="connsiteY1" fmla="*/ 298634 h 298723"/>
                  <a:gd name="connsiteX2" fmla="*/ 23730 w 367534"/>
                  <a:gd name="connsiteY2" fmla="*/ 229151 h 298723"/>
                  <a:gd name="connsiteX3" fmla="*/ 14570 w 367534"/>
                  <a:gd name="connsiteY3" fmla="*/ 84772 h 298723"/>
                  <a:gd name="connsiteX4" fmla="*/ 126683 w 367534"/>
                  <a:gd name="connsiteY4" fmla="*/ 4571 h 298723"/>
                  <a:gd name="connsiteX5" fmla="*/ 268492 w 367534"/>
                  <a:gd name="connsiteY5" fmla="*/ 12391 h 298723"/>
                  <a:gd name="connsiteX6" fmla="*/ 330236 w 367534"/>
                  <a:gd name="connsiteY6" fmla="*/ 51959 h 298723"/>
                  <a:gd name="connsiteX7" fmla="*/ 330400 w 367534"/>
                  <a:gd name="connsiteY7" fmla="*/ 52150 h 298723"/>
                  <a:gd name="connsiteX8" fmla="*/ 367534 w 367534"/>
                  <a:gd name="connsiteY8" fmla="*/ 150919 h 298723"/>
                  <a:gd name="connsiteX9" fmla="*/ 271089 w 367534"/>
                  <a:gd name="connsiteY9" fmla="*/ 285919 h 298723"/>
                  <a:gd name="connsiteX10" fmla="*/ 177926 w 367534"/>
                  <a:gd name="connsiteY10" fmla="*/ 298634 h 298723"/>
                  <a:gd name="connsiteX11" fmla="*/ 180223 w 367534"/>
                  <a:gd name="connsiteY11" fmla="*/ 13676 h 298723"/>
                  <a:gd name="connsiteX12" fmla="*/ 128898 w 367534"/>
                  <a:gd name="connsiteY12" fmla="*/ 17969 h 298723"/>
                  <a:gd name="connsiteX13" fmla="*/ 26820 w 367534"/>
                  <a:gd name="connsiteY13" fmla="*/ 90733 h 298723"/>
                  <a:gd name="connsiteX14" fmla="*/ 35024 w 367534"/>
                  <a:gd name="connsiteY14" fmla="*/ 221413 h 298723"/>
                  <a:gd name="connsiteX15" fmla="*/ 167782 w 367534"/>
                  <a:gd name="connsiteY15" fmla="*/ 284852 h 298723"/>
                  <a:gd name="connsiteX16" fmla="*/ 266687 w 367534"/>
                  <a:gd name="connsiteY16" fmla="*/ 272985 h 298723"/>
                  <a:gd name="connsiteX17" fmla="*/ 353807 w 367534"/>
                  <a:gd name="connsiteY17" fmla="*/ 150727 h 298723"/>
                  <a:gd name="connsiteX18" fmla="*/ 320310 w 367534"/>
                  <a:gd name="connsiteY18" fmla="*/ 61174 h 298723"/>
                  <a:gd name="connsiteX19" fmla="*/ 264253 w 367534"/>
                  <a:gd name="connsiteY19" fmla="*/ 25298 h 298723"/>
                  <a:gd name="connsiteX20" fmla="*/ 180223 w 367534"/>
                  <a:gd name="connsiteY20" fmla="*/ 13676 h 2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7534" h="298723">
                    <a:moveTo>
                      <a:pt x="177926" y="298634"/>
                    </a:moveTo>
                    <a:cubicBezTo>
                      <a:pt x="174536" y="298634"/>
                      <a:pt x="171063" y="298634"/>
                      <a:pt x="167535" y="298634"/>
                    </a:cubicBezTo>
                    <a:cubicBezTo>
                      <a:pt x="111128" y="300354"/>
                      <a:pt x="57437" y="274412"/>
                      <a:pt x="23730" y="229151"/>
                    </a:cubicBezTo>
                    <a:cubicBezTo>
                      <a:pt x="-4252" y="185902"/>
                      <a:pt x="-7722" y="131211"/>
                      <a:pt x="14570" y="84772"/>
                    </a:cubicBezTo>
                    <a:cubicBezTo>
                      <a:pt x="36222" y="41010"/>
                      <a:pt x="78273" y="10929"/>
                      <a:pt x="126683" y="4571"/>
                    </a:cubicBezTo>
                    <a:cubicBezTo>
                      <a:pt x="173939" y="-3519"/>
                      <a:pt x="222411" y="-845"/>
                      <a:pt x="268492" y="12391"/>
                    </a:cubicBezTo>
                    <a:cubicBezTo>
                      <a:pt x="292013" y="20301"/>
                      <a:pt x="313222" y="33892"/>
                      <a:pt x="330236" y="51959"/>
                    </a:cubicBezTo>
                    <a:lnTo>
                      <a:pt x="330400" y="52150"/>
                    </a:lnTo>
                    <a:cubicBezTo>
                      <a:pt x="354446" y="79420"/>
                      <a:pt x="367659" y="114561"/>
                      <a:pt x="367534" y="150919"/>
                    </a:cubicBezTo>
                    <a:cubicBezTo>
                      <a:pt x="366300" y="211501"/>
                      <a:pt x="328002" y="265112"/>
                      <a:pt x="271089" y="285919"/>
                    </a:cubicBezTo>
                    <a:cubicBezTo>
                      <a:pt x="240917" y="295117"/>
                      <a:pt x="209460" y="299411"/>
                      <a:pt x="177926" y="298634"/>
                    </a:cubicBezTo>
                    <a:close/>
                    <a:moveTo>
                      <a:pt x="180223" y="13676"/>
                    </a:moveTo>
                    <a:cubicBezTo>
                      <a:pt x="163021" y="13583"/>
                      <a:pt x="145845" y="15020"/>
                      <a:pt x="128898" y="17969"/>
                    </a:cubicBezTo>
                    <a:cubicBezTo>
                      <a:pt x="84855" y="23654"/>
                      <a:pt x="46558" y="50953"/>
                      <a:pt x="26820" y="90733"/>
                    </a:cubicBezTo>
                    <a:cubicBezTo>
                      <a:pt x="6950" y="132815"/>
                      <a:pt x="10046" y="182147"/>
                      <a:pt x="35024" y="221413"/>
                    </a:cubicBezTo>
                    <a:cubicBezTo>
                      <a:pt x="66312" y="262908"/>
                      <a:pt x="115841" y="286575"/>
                      <a:pt x="167782" y="284852"/>
                    </a:cubicBezTo>
                    <a:cubicBezTo>
                      <a:pt x="201188" y="286619"/>
                      <a:pt x="234647" y="282605"/>
                      <a:pt x="266687" y="272985"/>
                    </a:cubicBezTo>
                    <a:cubicBezTo>
                      <a:pt x="318133" y="254062"/>
                      <a:pt x="352716" y="205531"/>
                      <a:pt x="353807" y="150727"/>
                    </a:cubicBezTo>
                    <a:cubicBezTo>
                      <a:pt x="353941" y="117789"/>
                      <a:pt x="342027" y="85939"/>
                      <a:pt x="320310" y="61174"/>
                    </a:cubicBezTo>
                    <a:cubicBezTo>
                      <a:pt x="304843" y="44805"/>
                      <a:pt x="285596" y="32485"/>
                      <a:pt x="264253" y="25298"/>
                    </a:cubicBezTo>
                    <a:cubicBezTo>
                      <a:pt x="236947" y="17414"/>
                      <a:pt x="208645" y="13500"/>
                      <a:pt x="180223" y="13676"/>
                    </a:cubicBezTo>
                    <a:close/>
                  </a:path>
                </a:pathLst>
              </a:custGeom>
              <a:grpFill/>
              <a:ln w="26789" cap="flat">
                <a:noFill/>
                <a:prstDash val="solid"/>
                <a:miter/>
              </a:ln>
            </p:spPr>
            <p:txBody>
              <a:bodyPr anchor="ctr"/>
              <a:lstStyle/>
              <a:p>
                <a:pPr eaLnBrk="1" fontAlgn="auto" hangingPunct="1">
                  <a:spcBef>
                    <a:spcPts val="0"/>
                  </a:spcBef>
                  <a:spcAft>
                    <a:spcPts val="0"/>
                  </a:spcAft>
                  <a:defRPr/>
                </a:pPr>
                <a:endParaRPr lang="en-SG">
                  <a:latin typeface="Avenir Next" panose="020B0503020202020204" pitchFamily="34" charset="0"/>
                </a:endParaRPr>
              </a:p>
            </p:txBody>
          </p:sp>
          <p:sp>
            <p:nvSpPr>
              <p:cNvPr id="27" name="Freeform 70">
                <a:extLst>
                  <a:ext uri="{FF2B5EF4-FFF2-40B4-BE49-F238E27FC236}">
                    <a16:creationId xmlns:a16="http://schemas.microsoft.com/office/drawing/2014/main" id="{57CF42D9-D5CC-5747-13A9-508B30A6D930}"/>
                  </a:ext>
                </a:extLst>
              </p:cNvPr>
              <p:cNvSpPr/>
              <p:nvPr/>
            </p:nvSpPr>
            <p:spPr>
              <a:xfrm>
                <a:off x="5320583" y="2554891"/>
                <a:ext cx="238431" cy="170674"/>
              </a:xfrm>
              <a:custGeom>
                <a:avLst/>
                <a:gdLst>
                  <a:gd name="connsiteX0" fmla="*/ 238432 w 238431"/>
                  <a:gd name="connsiteY0" fmla="*/ 16943 h 170674"/>
                  <a:gd name="connsiteX1" fmla="*/ 18664 w 238431"/>
                  <a:gd name="connsiteY1" fmla="*/ 58890 h 170674"/>
                  <a:gd name="connsiteX2" fmla="*/ 7972 w 238431"/>
                  <a:gd name="connsiteY2" fmla="*/ 170675 h 170674"/>
                  <a:gd name="connsiteX3" fmla="*/ 238432 w 238431"/>
                  <a:gd name="connsiteY3" fmla="*/ 16943 h 170674"/>
                </a:gdLst>
                <a:ahLst/>
                <a:cxnLst>
                  <a:cxn ang="0">
                    <a:pos x="connsiteX0" y="connsiteY0"/>
                  </a:cxn>
                  <a:cxn ang="0">
                    <a:pos x="connsiteX1" y="connsiteY1"/>
                  </a:cxn>
                  <a:cxn ang="0">
                    <a:pos x="connsiteX2" y="connsiteY2"/>
                  </a:cxn>
                  <a:cxn ang="0">
                    <a:pos x="connsiteX3" y="connsiteY3"/>
                  </a:cxn>
                </a:cxnLst>
                <a:rect l="l" t="t" r="r" b="b"/>
                <a:pathLst>
                  <a:path w="238431" h="170674">
                    <a:moveTo>
                      <a:pt x="238432" y="16943"/>
                    </a:moveTo>
                    <a:cubicBezTo>
                      <a:pt x="238432" y="16943"/>
                      <a:pt x="86806" y="-41574"/>
                      <a:pt x="18664" y="58890"/>
                    </a:cubicBezTo>
                    <a:cubicBezTo>
                      <a:pt x="-1687" y="92596"/>
                      <a:pt x="-5620" y="133722"/>
                      <a:pt x="7972" y="170675"/>
                    </a:cubicBezTo>
                    <a:cubicBezTo>
                      <a:pt x="7972" y="170675"/>
                      <a:pt x="3132" y="-27327"/>
                      <a:pt x="238432" y="16943"/>
                    </a:cubicBezTo>
                    <a:close/>
                  </a:path>
                </a:pathLst>
              </a:custGeom>
              <a:grpFill/>
              <a:ln w="26789" cap="flat">
                <a:noFill/>
                <a:prstDash val="solid"/>
                <a:miter/>
              </a:ln>
            </p:spPr>
            <p:txBody>
              <a:bodyPr anchor="ctr"/>
              <a:lstStyle/>
              <a:p>
                <a:pPr eaLnBrk="1" fontAlgn="auto" hangingPunct="1">
                  <a:spcBef>
                    <a:spcPts val="0"/>
                  </a:spcBef>
                  <a:spcAft>
                    <a:spcPts val="0"/>
                  </a:spcAft>
                  <a:defRPr/>
                </a:pPr>
                <a:endParaRPr lang="en-SG">
                  <a:latin typeface="Avenir Next" panose="020B0503020202020204" pitchFamily="34" charset="0"/>
                </a:endParaRPr>
              </a:p>
            </p:txBody>
          </p:sp>
          <p:sp>
            <p:nvSpPr>
              <p:cNvPr id="28" name="Freeform 71">
                <a:extLst>
                  <a:ext uri="{FF2B5EF4-FFF2-40B4-BE49-F238E27FC236}">
                    <a16:creationId xmlns:a16="http://schemas.microsoft.com/office/drawing/2014/main" id="{56BC98C3-E674-B30F-0A4C-81264117AA55}"/>
                  </a:ext>
                </a:extLst>
              </p:cNvPr>
              <p:cNvSpPr/>
              <p:nvPr/>
            </p:nvSpPr>
            <p:spPr>
              <a:xfrm>
                <a:off x="5381697" y="2608777"/>
                <a:ext cx="202285" cy="138319"/>
              </a:xfrm>
              <a:custGeom>
                <a:avLst/>
                <a:gdLst>
                  <a:gd name="connsiteX0" fmla="*/ 79315 w 202285"/>
                  <a:gd name="connsiteY0" fmla="*/ 1805 h 138319"/>
                  <a:gd name="connsiteX1" fmla="*/ 61814 w 202285"/>
                  <a:gd name="connsiteY1" fmla="*/ 38036 h 138319"/>
                  <a:gd name="connsiteX2" fmla="*/ 53994 w 202285"/>
                  <a:gd name="connsiteY2" fmla="*/ 122804 h 138319"/>
                  <a:gd name="connsiteX3" fmla="*/ 56728 w 202285"/>
                  <a:gd name="connsiteY3" fmla="*/ 125293 h 138319"/>
                  <a:gd name="connsiteX4" fmla="*/ 71276 w 202285"/>
                  <a:gd name="connsiteY4" fmla="*/ 112496 h 138319"/>
                  <a:gd name="connsiteX5" fmla="*/ 98456 w 202285"/>
                  <a:gd name="connsiteY5" fmla="*/ 7875 h 138319"/>
                  <a:gd name="connsiteX6" fmla="*/ 108601 w 202285"/>
                  <a:gd name="connsiteY6" fmla="*/ 246 h 138319"/>
                  <a:gd name="connsiteX7" fmla="*/ 109203 w 202285"/>
                  <a:gd name="connsiteY7" fmla="*/ 2406 h 138319"/>
                  <a:gd name="connsiteX8" fmla="*/ 98593 w 202285"/>
                  <a:gd name="connsiteY8" fmla="*/ 16079 h 138319"/>
                  <a:gd name="connsiteX9" fmla="*/ 95476 w 202285"/>
                  <a:gd name="connsiteY9" fmla="*/ 25895 h 138319"/>
                  <a:gd name="connsiteX10" fmla="*/ 83882 w 202285"/>
                  <a:gd name="connsiteY10" fmla="*/ 122258 h 138319"/>
                  <a:gd name="connsiteX11" fmla="*/ 87846 w 202285"/>
                  <a:gd name="connsiteY11" fmla="*/ 124992 h 138319"/>
                  <a:gd name="connsiteX12" fmla="*/ 100534 w 202285"/>
                  <a:gd name="connsiteY12" fmla="*/ 112468 h 138319"/>
                  <a:gd name="connsiteX13" fmla="*/ 123039 w 202285"/>
                  <a:gd name="connsiteY13" fmla="*/ 65982 h 138319"/>
                  <a:gd name="connsiteX14" fmla="*/ 145762 w 202285"/>
                  <a:gd name="connsiteY14" fmla="*/ 65189 h 138319"/>
                  <a:gd name="connsiteX15" fmla="*/ 139774 w 202285"/>
                  <a:gd name="connsiteY15" fmla="*/ 118457 h 138319"/>
                  <a:gd name="connsiteX16" fmla="*/ 142153 w 202285"/>
                  <a:gd name="connsiteY16" fmla="*/ 125867 h 138319"/>
                  <a:gd name="connsiteX17" fmla="*/ 144614 w 202285"/>
                  <a:gd name="connsiteY17" fmla="*/ 125293 h 138319"/>
                  <a:gd name="connsiteX18" fmla="*/ 159790 w 202285"/>
                  <a:gd name="connsiteY18" fmla="*/ 109706 h 138319"/>
                  <a:gd name="connsiteX19" fmla="*/ 171822 w 202285"/>
                  <a:gd name="connsiteY19" fmla="*/ 35521 h 138319"/>
                  <a:gd name="connsiteX20" fmla="*/ 192932 w 202285"/>
                  <a:gd name="connsiteY20" fmla="*/ 7957 h 138319"/>
                  <a:gd name="connsiteX21" fmla="*/ 188611 w 202285"/>
                  <a:gd name="connsiteY21" fmla="*/ 12961 h 138319"/>
                  <a:gd name="connsiteX22" fmla="*/ 170865 w 202285"/>
                  <a:gd name="connsiteY22" fmla="*/ 70959 h 138319"/>
                  <a:gd name="connsiteX23" fmla="*/ 177646 w 202285"/>
                  <a:gd name="connsiteY23" fmla="*/ 68225 h 138319"/>
                  <a:gd name="connsiteX24" fmla="*/ 191893 w 202285"/>
                  <a:gd name="connsiteY24" fmla="*/ 56330 h 138319"/>
                  <a:gd name="connsiteX25" fmla="*/ 198264 w 202285"/>
                  <a:gd name="connsiteY25" fmla="*/ 62564 h 138319"/>
                  <a:gd name="connsiteX26" fmla="*/ 191045 w 202285"/>
                  <a:gd name="connsiteY26" fmla="*/ 115804 h 138319"/>
                  <a:gd name="connsiteX27" fmla="*/ 167775 w 202285"/>
                  <a:gd name="connsiteY27" fmla="*/ 137680 h 138319"/>
                  <a:gd name="connsiteX28" fmla="*/ 162825 w 202285"/>
                  <a:gd name="connsiteY28" fmla="*/ 137188 h 138319"/>
                  <a:gd name="connsiteX29" fmla="*/ 160091 w 202285"/>
                  <a:gd name="connsiteY29" fmla="*/ 117007 h 138319"/>
                  <a:gd name="connsiteX30" fmla="*/ 159161 w 202285"/>
                  <a:gd name="connsiteY30" fmla="*/ 116406 h 138319"/>
                  <a:gd name="connsiteX31" fmla="*/ 135645 w 202285"/>
                  <a:gd name="connsiteY31" fmla="*/ 138063 h 138319"/>
                  <a:gd name="connsiteX32" fmla="*/ 132910 w 202285"/>
                  <a:gd name="connsiteY32" fmla="*/ 137434 h 138319"/>
                  <a:gd name="connsiteX33" fmla="*/ 129656 w 202285"/>
                  <a:gd name="connsiteY33" fmla="*/ 125074 h 138319"/>
                  <a:gd name="connsiteX34" fmla="*/ 112046 w 202285"/>
                  <a:gd name="connsiteY34" fmla="*/ 138172 h 138319"/>
                  <a:gd name="connsiteX35" fmla="*/ 105976 w 202285"/>
                  <a:gd name="connsiteY35" fmla="*/ 131500 h 138319"/>
                  <a:gd name="connsiteX36" fmla="*/ 101191 w 202285"/>
                  <a:gd name="connsiteY36" fmla="*/ 118019 h 138319"/>
                  <a:gd name="connsiteX37" fmla="*/ 78905 w 202285"/>
                  <a:gd name="connsiteY37" fmla="*/ 137871 h 138319"/>
                  <a:gd name="connsiteX38" fmla="*/ 74366 w 202285"/>
                  <a:gd name="connsiteY38" fmla="*/ 134426 h 138319"/>
                  <a:gd name="connsiteX39" fmla="*/ 71631 w 202285"/>
                  <a:gd name="connsiteY39" fmla="*/ 117773 h 138319"/>
                  <a:gd name="connsiteX40" fmla="*/ 70401 w 202285"/>
                  <a:gd name="connsiteY40" fmla="*/ 118046 h 138319"/>
                  <a:gd name="connsiteX41" fmla="*/ 48744 w 202285"/>
                  <a:gd name="connsiteY41" fmla="*/ 137899 h 138319"/>
                  <a:gd name="connsiteX42" fmla="*/ 44478 w 202285"/>
                  <a:gd name="connsiteY42" fmla="*/ 135164 h 138319"/>
                  <a:gd name="connsiteX43" fmla="*/ 41579 w 202285"/>
                  <a:gd name="connsiteY43" fmla="*/ 113917 h 138319"/>
                  <a:gd name="connsiteX44" fmla="*/ 40349 w 202285"/>
                  <a:gd name="connsiteY44" fmla="*/ 113917 h 138319"/>
                  <a:gd name="connsiteX45" fmla="*/ 9750 w 202285"/>
                  <a:gd name="connsiteY45" fmla="*/ 138281 h 138319"/>
                  <a:gd name="connsiteX46" fmla="*/ 6387 w 202285"/>
                  <a:gd name="connsiteY46" fmla="*/ 135793 h 138319"/>
                  <a:gd name="connsiteX47" fmla="*/ 13469 w 202285"/>
                  <a:gd name="connsiteY47" fmla="*/ 64971 h 138319"/>
                  <a:gd name="connsiteX48" fmla="*/ 27142 w 202285"/>
                  <a:gd name="connsiteY48" fmla="*/ 58845 h 138319"/>
                  <a:gd name="connsiteX49" fmla="*/ 33403 w 202285"/>
                  <a:gd name="connsiteY49" fmla="*/ 68525 h 138319"/>
                  <a:gd name="connsiteX50" fmla="*/ 33403 w 202285"/>
                  <a:gd name="connsiteY50" fmla="*/ 78698 h 138319"/>
                  <a:gd name="connsiteX51" fmla="*/ 12047 w 202285"/>
                  <a:gd name="connsiteY51" fmla="*/ 98550 h 138319"/>
                  <a:gd name="connsiteX52" fmla="*/ 15192 w 202285"/>
                  <a:gd name="connsiteY52" fmla="*/ 126332 h 138319"/>
                  <a:gd name="connsiteX53" fmla="*/ 19212 w 202285"/>
                  <a:gd name="connsiteY53" fmla="*/ 126906 h 138319"/>
                  <a:gd name="connsiteX54" fmla="*/ 19786 w 202285"/>
                  <a:gd name="connsiteY54" fmla="*/ 126332 h 138319"/>
                  <a:gd name="connsiteX55" fmla="*/ 41662 w 202285"/>
                  <a:gd name="connsiteY55" fmla="*/ 105577 h 138319"/>
                  <a:gd name="connsiteX56" fmla="*/ 65807 w 202285"/>
                  <a:gd name="connsiteY56" fmla="*/ 12387 h 138319"/>
                  <a:gd name="connsiteX57" fmla="*/ 79042 w 202285"/>
                  <a:gd name="connsiteY57" fmla="*/ 0 h 138319"/>
                  <a:gd name="connsiteX58" fmla="*/ 79664 w 202285"/>
                  <a:gd name="connsiteY58" fmla="*/ 1331 h 138319"/>
                  <a:gd name="connsiteX59" fmla="*/ 79315 w 202285"/>
                  <a:gd name="connsiteY59" fmla="*/ 1805 h 138319"/>
                  <a:gd name="connsiteX60" fmla="*/ 25173 w 202285"/>
                  <a:gd name="connsiteY60" fmla="*/ 61142 h 138319"/>
                  <a:gd name="connsiteX61" fmla="*/ 20852 w 202285"/>
                  <a:gd name="connsiteY61" fmla="*/ 63877 h 138319"/>
                  <a:gd name="connsiteX62" fmla="*/ 12922 w 202285"/>
                  <a:gd name="connsiteY62" fmla="*/ 92780 h 138319"/>
                  <a:gd name="connsiteX63" fmla="*/ 26212 w 202285"/>
                  <a:gd name="connsiteY63" fmla="*/ 81186 h 138319"/>
                  <a:gd name="connsiteX64" fmla="*/ 28208 w 202285"/>
                  <a:gd name="connsiteY64" fmla="*/ 65189 h 138319"/>
                  <a:gd name="connsiteX65" fmla="*/ 25173 w 202285"/>
                  <a:gd name="connsiteY65" fmla="*/ 61142 h 138319"/>
                  <a:gd name="connsiteX66" fmla="*/ 134989 w 202285"/>
                  <a:gd name="connsiteY66" fmla="*/ 67076 h 138319"/>
                  <a:gd name="connsiteX67" fmla="*/ 123066 w 202285"/>
                  <a:gd name="connsiteY67" fmla="*/ 70166 h 138319"/>
                  <a:gd name="connsiteX68" fmla="*/ 112894 w 202285"/>
                  <a:gd name="connsiteY68" fmla="*/ 109214 h 138319"/>
                  <a:gd name="connsiteX69" fmla="*/ 117351 w 202285"/>
                  <a:gd name="connsiteY69" fmla="*/ 125894 h 138319"/>
                  <a:gd name="connsiteX70" fmla="*/ 128754 w 202285"/>
                  <a:gd name="connsiteY70" fmla="*/ 119222 h 138319"/>
                  <a:gd name="connsiteX71" fmla="*/ 135344 w 202285"/>
                  <a:gd name="connsiteY71" fmla="*/ 68717 h 138319"/>
                  <a:gd name="connsiteX72" fmla="*/ 184209 w 202285"/>
                  <a:gd name="connsiteY72" fmla="*/ 68443 h 138319"/>
                  <a:gd name="connsiteX73" fmla="*/ 172751 w 202285"/>
                  <a:gd name="connsiteY73" fmla="*/ 80065 h 138319"/>
                  <a:gd name="connsiteX74" fmla="*/ 172286 w 202285"/>
                  <a:gd name="connsiteY74" fmla="*/ 124855 h 138319"/>
                  <a:gd name="connsiteX75" fmla="*/ 173490 w 202285"/>
                  <a:gd name="connsiteY75" fmla="*/ 127945 h 138319"/>
                  <a:gd name="connsiteX76" fmla="*/ 181693 w 202285"/>
                  <a:gd name="connsiteY76" fmla="*/ 122285 h 138319"/>
                  <a:gd name="connsiteX77" fmla="*/ 189158 w 202285"/>
                  <a:gd name="connsiteY77" fmla="*/ 73830 h 138319"/>
                  <a:gd name="connsiteX78" fmla="*/ 184072 w 202285"/>
                  <a:gd name="connsiteY78" fmla="*/ 68443 h 13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02285" h="138319">
                    <a:moveTo>
                      <a:pt x="79315" y="1805"/>
                    </a:moveTo>
                    <a:cubicBezTo>
                      <a:pt x="66983" y="9407"/>
                      <a:pt x="66217" y="25130"/>
                      <a:pt x="61814" y="38036"/>
                    </a:cubicBezTo>
                    <a:cubicBezTo>
                      <a:pt x="53949" y="65558"/>
                      <a:pt x="51296" y="94308"/>
                      <a:pt x="53994" y="122804"/>
                    </a:cubicBezTo>
                    <a:cubicBezTo>
                      <a:pt x="54502" y="123991"/>
                      <a:pt x="55500" y="124899"/>
                      <a:pt x="56728" y="125293"/>
                    </a:cubicBezTo>
                    <a:cubicBezTo>
                      <a:pt x="62132" y="121702"/>
                      <a:pt x="67025" y="117398"/>
                      <a:pt x="71276" y="112496"/>
                    </a:cubicBezTo>
                    <a:cubicBezTo>
                      <a:pt x="72592" y="76056"/>
                      <a:pt x="81870" y="40347"/>
                      <a:pt x="98456" y="7875"/>
                    </a:cubicBezTo>
                    <a:cubicBezTo>
                      <a:pt x="100813" y="4198"/>
                      <a:pt x="104415" y="1490"/>
                      <a:pt x="108601" y="246"/>
                    </a:cubicBezTo>
                    <a:cubicBezTo>
                      <a:pt x="109531" y="246"/>
                      <a:pt x="109832" y="1805"/>
                      <a:pt x="109203" y="2406"/>
                    </a:cubicBezTo>
                    <a:cubicBezTo>
                      <a:pt x="102968" y="4703"/>
                      <a:pt x="100780" y="10063"/>
                      <a:pt x="98593" y="16079"/>
                    </a:cubicBezTo>
                    <a:cubicBezTo>
                      <a:pt x="97357" y="19285"/>
                      <a:pt x="96316" y="22563"/>
                      <a:pt x="95476" y="25895"/>
                    </a:cubicBezTo>
                    <a:cubicBezTo>
                      <a:pt x="85432" y="56968"/>
                      <a:pt x="81495" y="89690"/>
                      <a:pt x="83882" y="122258"/>
                    </a:cubicBezTo>
                    <a:cubicBezTo>
                      <a:pt x="84483" y="123816"/>
                      <a:pt x="85987" y="125676"/>
                      <a:pt x="87846" y="124992"/>
                    </a:cubicBezTo>
                    <a:cubicBezTo>
                      <a:pt x="92808" y="121631"/>
                      <a:pt x="97108" y="117385"/>
                      <a:pt x="100534" y="112468"/>
                    </a:cubicBezTo>
                    <a:cubicBezTo>
                      <a:pt x="98697" y="93974"/>
                      <a:pt x="107392" y="76012"/>
                      <a:pt x="123039" y="65982"/>
                    </a:cubicBezTo>
                    <a:cubicBezTo>
                      <a:pt x="130039" y="62057"/>
                      <a:pt x="138505" y="61762"/>
                      <a:pt x="145762" y="65189"/>
                    </a:cubicBezTo>
                    <a:cubicBezTo>
                      <a:pt x="142057" y="82711"/>
                      <a:pt x="140050" y="100550"/>
                      <a:pt x="139774" y="118457"/>
                    </a:cubicBezTo>
                    <a:cubicBezTo>
                      <a:pt x="139965" y="120617"/>
                      <a:pt x="139774" y="124308"/>
                      <a:pt x="142153" y="125867"/>
                    </a:cubicBezTo>
                    <a:lnTo>
                      <a:pt x="144614" y="125293"/>
                    </a:lnTo>
                    <a:lnTo>
                      <a:pt x="159790" y="109706"/>
                    </a:lnTo>
                    <a:cubicBezTo>
                      <a:pt x="162205" y="84745"/>
                      <a:pt x="166224" y="59966"/>
                      <a:pt x="171822" y="35521"/>
                    </a:cubicBezTo>
                    <a:cubicBezTo>
                      <a:pt x="175294" y="24446"/>
                      <a:pt x="183388" y="9160"/>
                      <a:pt x="192932" y="7957"/>
                    </a:cubicBezTo>
                    <a:cubicBezTo>
                      <a:pt x="196459" y="11102"/>
                      <a:pt x="192576" y="9215"/>
                      <a:pt x="188611" y="12961"/>
                    </a:cubicBezTo>
                    <a:cubicBezTo>
                      <a:pt x="177321" y="30222"/>
                      <a:pt x="171165" y="50336"/>
                      <a:pt x="170865" y="70959"/>
                    </a:cubicBezTo>
                    <a:cubicBezTo>
                      <a:pt x="173244" y="71615"/>
                      <a:pt x="173599" y="71342"/>
                      <a:pt x="177646" y="68225"/>
                    </a:cubicBezTo>
                    <a:lnTo>
                      <a:pt x="191893" y="56330"/>
                    </a:lnTo>
                    <a:cubicBezTo>
                      <a:pt x="195256" y="56056"/>
                      <a:pt x="197061" y="60076"/>
                      <a:pt x="198264" y="62564"/>
                    </a:cubicBezTo>
                    <a:cubicBezTo>
                      <a:pt x="205557" y="80324"/>
                      <a:pt x="202803" y="100628"/>
                      <a:pt x="191045" y="115804"/>
                    </a:cubicBezTo>
                    <a:cubicBezTo>
                      <a:pt x="185056" y="124773"/>
                      <a:pt x="177096" y="132255"/>
                      <a:pt x="167775" y="137680"/>
                    </a:cubicBezTo>
                    <a:cubicBezTo>
                      <a:pt x="164028" y="138938"/>
                      <a:pt x="163044" y="137434"/>
                      <a:pt x="162825" y="137188"/>
                    </a:cubicBezTo>
                    <a:cubicBezTo>
                      <a:pt x="160558" y="130715"/>
                      <a:pt x="159626" y="123849"/>
                      <a:pt x="160091" y="117007"/>
                    </a:cubicBezTo>
                    <a:lnTo>
                      <a:pt x="159161" y="116406"/>
                    </a:lnTo>
                    <a:lnTo>
                      <a:pt x="135645" y="138063"/>
                    </a:lnTo>
                    <a:cubicBezTo>
                      <a:pt x="135043" y="138063"/>
                      <a:pt x="133430" y="138500"/>
                      <a:pt x="132910" y="137434"/>
                    </a:cubicBezTo>
                    <a:cubicBezTo>
                      <a:pt x="131089" y="133545"/>
                      <a:pt x="129984" y="129356"/>
                      <a:pt x="129656" y="125074"/>
                    </a:cubicBezTo>
                    <a:cubicBezTo>
                      <a:pt x="123476" y="128711"/>
                      <a:pt x="118226" y="134508"/>
                      <a:pt x="112046" y="138172"/>
                    </a:cubicBezTo>
                    <a:cubicBezTo>
                      <a:pt x="108683" y="138446"/>
                      <a:pt x="107152" y="134289"/>
                      <a:pt x="105976" y="131500"/>
                    </a:cubicBezTo>
                    <a:cubicBezTo>
                      <a:pt x="103241" y="124746"/>
                      <a:pt x="103105" y="123160"/>
                      <a:pt x="101191" y="118019"/>
                    </a:cubicBezTo>
                    <a:lnTo>
                      <a:pt x="78905" y="137871"/>
                    </a:lnTo>
                    <a:cubicBezTo>
                      <a:pt x="76444" y="139074"/>
                      <a:pt x="74995" y="136395"/>
                      <a:pt x="74366" y="134426"/>
                    </a:cubicBezTo>
                    <a:cubicBezTo>
                      <a:pt x="73101" y="128938"/>
                      <a:pt x="72188" y="123376"/>
                      <a:pt x="71631" y="117773"/>
                    </a:cubicBezTo>
                    <a:lnTo>
                      <a:pt x="70401" y="118046"/>
                    </a:lnTo>
                    <a:lnTo>
                      <a:pt x="48744" y="137899"/>
                    </a:lnTo>
                    <a:cubicBezTo>
                      <a:pt x="46447" y="138582"/>
                      <a:pt x="45626" y="137680"/>
                      <a:pt x="44478" y="135164"/>
                    </a:cubicBezTo>
                    <a:cubicBezTo>
                      <a:pt x="42874" y="128183"/>
                      <a:pt x="41904" y="121074"/>
                      <a:pt x="41579" y="113917"/>
                    </a:cubicBezTo>
                    <a:lnTo>
                      <a:pt x="40349" y="113917"/>
                    </a:lnTo>
                    <a:cubicBezTo>
                      <a:pt x="30854" y="122886"/>
                      <a:pt x="20618" y="131038"/>
                      <a:pt x="9750" y="138281"/>
                    </a:cubicBezTo>
                    <a:cubicBezTo>
                      <a:pt x="8219" y="138582"/>
                      <a:pt x="7016" y="137051"/>
                      <a:pt x="6387" y="135793"/>
                    </a:cubicBezTo>
                    <a:cubicBezTo>
                      <a:pt x="-4195" y="112635"/>
                      <a:pt x="-1488" y="85574"/>
                      <a:pt x="13469" y="64971"/>
                    </a:cubicBezTo>
                    <a:cubicBezTo>
                      <a:pt x="15356" y="62975"/>
                      <a:pt x="20880" y="56166"/>
                      <a:pt x="27142" y="58845"/>
                    </a:cubicBezTo>
                    <a:cubicBezTo>
                      <a:pt x="30696" y="60103"/>
                      <a:pt x="32364" y="62920"/>
                      <a:pt x="33403" y="68525"/>
                    </a:cubicBezTo>
                    <a:cubicBezTo>
                      <a:pt x="34481" y="71831"/>
                      <a:pt x="34481" y="75393"/>
                      <a:pt x="33403" y="78698"/>
                    </a:cubicBezTo>
                    <a:lnTo>
                      <a:pt x="12047" y="98550"/>
                    </a:lnTo>
                    <a:cubicBezTo>
                      <a:pt x="10580" y="107925"/>
                      <a:pt x="11666" y="117521"/>
                      <a:pt x="15192" y="126332"/>
                    </a:cubicBezTo>
                    <a:cubicBezTo>
                      <a:pt x="16143" y="127601"/>
                      <a:pt x="17943" y="127858"/>
                      <a:pt x="19212" y="126906"/>
                    </a:cubicBezTo>
                    <a:cubicBezTo>
                      <a:pt x="19429" y="126742"/>
                      <a:pt x="19623" y="126551"/>
                      <a:pt x="19786" y="126332"/>
                    </a:cubicBezTo>
                    <a:lnTo>
                      <a:pt x="41662" y="105577"/>
                    </a:lnTo>
                    <a:cubicBezTo>
                      <a:pt x="43758" y="73269"/>
                      <a:pt x="51951" y="41649"/>
                      <a:pt x="65807" y="12387"/>
                    </a:cubicBezTo>
                    <a:cubicBezTo>
                      <a:pt x="67557" y="9133"/>
                      <a:pt x="73299" y="246"/>
                      <a:pt x="79042" y="0"/>
                    </a:cubicBezTo>
                    <a:cubicBezTo>
                      <a:pt x="79581" y="196"/>
                      <a:pt x="79860" y="792"/>
                      <a:pt x="79664" y="1331"/>
                    </a:cubicBezTo>
                    <a:cubicBezTo>
                      <a:pt x="79596" y="1519"/>
                      <a:pt x="79474" y="1684"/>
                      <a:pt x="79315" y="1805"/>
                    </a:cubicBezTo>
                    <a:close/>
                    <a:moveTo>
                      <a:pt x="25173" y="61142"/>
                    </a:moveTo>
                    <a:cubicBezTo>
                      <a:pt x="23568" y="61763"/>
                      <a:pt x="22100" y="62692"/>
                      <a:pt x="20852" y="63877"/>
                    </a:cubicBezTo>
                    <a:cubicBezTo>
                      <a:pt x="16294" y="72881"/>
                      <a:pt x="13597" y="82711"/>
                      <a:pt x="12922" y="92780"/>
                    </a:cubicBezTo>
                    <a:cubicBezTo>
                      <a:pt x="17844" y="88870"/>
                      <a:pt x="22192" y="84850"/>
                      <a:pt x="26212" y="81186"/>
                    </a:cubicBezTo>
                    <a:lnTo>
                      <a:pt x="28208" y="65189"/>
                    </a:lnTo>
                    <a:cubicBezTo>
                      <a:pt x="29138" y="62728"/>
                      <a:pt x="27634" y="61170"/>
                      <a:pt x="25173" y="61142"/>
                    </a:cubicBezTo>
                    <a:close/>
                    <a:moveTo>
                      <a:pt x="134989" y="67076"/>
                    </a:moveTo>
                    <a:cubicBezTo>
                      <a:pt x="130780" y="65197"/>
                      <a:pt x="125831" y="66479"/>
                      <a:pt x="123066" y="70166"/>
                    </a:cubicBezTo>
                    <a:cubicBezTo>
                      <a:pt x="114146" y="81077"/>
                      <a:pt x="110430" y="95338"/>
                      <a:pt x="112894" y="109214"/>
                    </a:cubicBezTo>
                    <a:cubicBezTo>
                      <a:pt x="112916" y="115066"/>
                      <a:pt x="114450" y="120811"/>
                      <a:pt x="117351" y="125894"/>
                    </a:cubicBezTo>
                    <a:cubicBezTo>
                      <a:pt x="122000" y="126332"/>
                      <a:pt x="125555" y="121957"/>
                      <a:pt x="128754" y="119222"/>
                    </a:cubicBezTo>
                    <a:cubicBezTo>
                      <a:pt x="130449" y="102296"/>
                      <a:pt x="132445" y="85342"/>
                      <a:pt x="135344" y="68717"/>
                    </a:cubicBezTo>
                    <a:close/>
                    <a:moveTo>
                      <a:pt x="184209" y="68443"/>
                    </a:moveTo>
                    <a:cubicBezTo>
                      <a:pt x="178863" y="70436"/>
                      <a:pt x="174668" y="74690"/>
                      <a:pt x="172751" y="80065"/>
                    </a:cubicBezTo>
                    <a:cubicBezTo>
                      <a:pt x="170438" y="94895"/>
                      <a:pt x="170282" y="109980"/>
                      <a:pt x="172286" y="124855"/>
                    </a:cubicBezTo>
                    <a:lnTo>
                      <a:pt x="173490" y="127945"/>
                    </a:lnTo>
                    <a:cubicBezTo>
                      <a:pt x="176525" y="127945"/>
                      <a:pt x="180134" y="124254"/>
                      <a:pt x="181693" y="122285"/>
                    </a:cubicBezTo>
                    <a:cubicBezTo>
                      <a:pt x="191499" y="108140"/>
                      <a:pt x="194252" y="90271"/>
                      <a:pt x="189158" y="73830"/>
                    </a:cubicBezTo>
                    <a:cubicBezTo>
                      <a:pt x="188967" y="72463"/>
                      <a:pt x="188365" y="67131"/>
                      <a:pt x="184072" y="68443"/>
                    </a:cubicBezTo>
                    <a:close/>
                  </a:path>
                </a:pathLst>
              </a:custGeom>
              <a:grpFill/>
              <a:ln w="26789" cap="flat">
                <a:noFill/>
                <a:prstDash val="solid"/>
                <a:miter/>
              </a:ln>
            </p:spPr>
            <p:txBody>
              <a:bodyPr anchor="ctr"/>
              <a:lstStyle/>
              <a:p>
                <a:pPr eaLnBrk="1" fontAlgn="auto" hangingPunct="1">
                  <a:spcBef>
                    <a:spcPts val="0"/>
                  </a:spcBef>
                  <a:spcAft>
                    <a:spcPts val="0"/>
                  </a:spcAft>
                  <a:defRPr/>
                </a:pPr>
                <a:endParaRPr lang="en-SG">
                  <a:latin typeface="Avenir Next" panose="020B0503020202020204" pitchFamily="34" charset="0"/>
                </a:endParaRPr>
              </a:p>
            </p:txBody>
          </p:sp>
        </p:grpSp>
      </p:grpSp>
      <p:grpSp>
        <p:nvGrpSpPr>
          <p:cNvPr id="43" name="Group 42">
            <a:extLst>
              <a:ext uri="{FF2B5EF4-FFF2-40B4-BE49-F238E27FC236}">
                <a16:creationId xmlns:a16="http://schemas.microsoft.com/office/drawing/2014/main" id="{D3B1AA6B-3334-7F7D-C0C8-EAD73120AE1A}"/>
              </a:ext>
            </a:extLst>
          </p:cNvPr>
          <p:cNvGrpSpPr/>
          <p:nvPr/>
        </p:nvGrpSpPr>
        <p:grpSpPr>
          <a:xfrm>
            <a:off x="2056748" y="4517131"/>
            <a:ext cx="6269041" cy="565175"/>
            <a:chOff x="1205956" y="3764275"/>
            <a:chExt cx="5224201" cy="470979"/>
          </a:xfrm>
        </p:grpSpPr>
        <p:sp>
          <p:nvSpPr>
            <p:cNvPr id="11" name="TextBox 10">
              <a:extLst>
                <a:ext uri="{FF2B5EF4-FFF2-40B4-BE49-F238E27FC236}">
                  <a16:creationId xmlns:a16="http://schemas.microsoft.com/office/drawing/2014/main" id="{4B077436-5F32-24D4-6C4F-7F74E694E19F}"/>
                </a:ext>
              </a:extLst>
            </p:cNvPr>
            <p:cNvSpPr txBox="1"/>
            <p:nvPr/>
          </p:nvSpPr>
          <p:spPr>
            <a:xfrm>
              <a:off x="1675277" y="3815099"/>
              <a:ext cx="4754880" cy="307777"/>
            </a:xfrm>
            <a:prstGeom prst="rect">
              <a:avLst/>
            </a:prstGeom>
            <a:noFill/>
          </p:spPr>
          <p:txBody>
            <a:bodyPr wrap="square">
              <a:spAutoFit/>
            </a:bodyPr>
            <a:lstStyle/>
            <a:p>
              <a:r>
                <a:rPr lang="sv-SE" dirty="0"/>
                <a:t>Personas </a:t>
              </a:r>
            </a:p>
          </p:txBody>
        </p:sp>
        <p:pic>
          <p:nvPicPr>
            <p:cNvPr id="30" name="Graphic 29" descr="Children with solid fill">
              <a:extLst>
                <a:ext uri="{FF2B5EF4-FFF2-40B4-BE49-F238E27FC236}">
                  <a16:creationId xmlns:a16="http://schemas.microsoft.com/office/drawing/2014/main" id="{8B37D37A-C842-FF68-75C1-470D98D475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05956" y="3764275"/>
              <a:ext cx="470979" cy="470979"/>
            </a:xfrm>
            <a:prstGeom prst="rect">
              <a:avLst/>
            </a:prstGeom>
          </p:spPr>
        </p:pic>
      </p:grpSp>
      <p:grpSp>
        <p:nvGrpSpPr>
          <p:cNvPr id="39" name="Group 38">
            <a:extLst>
              <a:ext uri="{FF2B5EF4-FFF2-40B4-BE49-F238E27FC236}">
                <a16:creationId xmlns:a16="http://schemas.microsoft.com/office/drawing/2014/main" id="{ED9E5EBC-62C7-B18F-7FE1-B8EDB46984B8}"/>
              </a:ext>
            </a:extLst>
          </p:cNvPr>
          <p:cNvGrpSpPr/>
          <p:nvPr/>
        </p:nvGrpSpPr>
        <p:grpSpPr>
          <a:xfrm>
            <a:off x="1944280" y="1613437"/>
            <a:ext cx="6381509" cy="783470"/>
            <a:chOff x="1112233" y="1344531"/>
            <a:chExt cx="5317924" cy="652892"/>
          </a:xfrm>
        </p:grpSpPr>
        <p:sp>
          <p:nvSpPr>
            <p:cNvPr id="4" name="TextBox 3">
              <a:extLst>
                <a:ext uri="{FF2B5EF4-FFF2-40B4-BE49-F238E27FC236}">
                  <a16:creationId xmlns:a16="http://schemas.microsoft.com/office/drawing/2014/main" id="{B7CF8F18-E724-688C-B05F-1B93D6DA1986}"/>
                </a:ext>
              </a:extLst>
            </p:cNvPr>
            <p:cNvSpPr txBox="1"/>
            <p:nvPr/>
          </p:nvSpPr>
          <p:spPr>
            <a:xfrm>
              <a:off x="1675277" y="1481363"/>
              <a:ext cx="4754880" cy="307777"/>
            </a:xfrm>
            <a:prstGeom prst="rect">
              <a:avLst/>
            </a:prstGeom>
            <a:noFill/>
          </p:spPr>
          <p:txBody>
            <a:bodyPr wrap="square">
              <a:spAutoFit/>
            </a:bodyPr>
            <a:lstStyle/>
            <a:p>
              <a:r>
                <a:rPr lang="en-US" dirty="0"/>
                <a:t>Definition </a:t>
              </a:r>
            </a:p>
          </p:txBody>
        </p:sp>
        <p:pic>
          <p:nvPicPr>
            <p:cNvPr id="32" name="Picture 31">
              <a:extLst>
                <a:ext uri="{FF2B5EF4-FFF2-40B4-BE49-F238E27FC236}">
                  <a16:creationId xmlns:a16="http://schemas.microsoft.com/office/drawing/2014/main" id="{514F9422-E759-4688-8CD4-BBB827554A2B}"/>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tretch>
              <a:fillRect/>
            </a:stretch>
          </p:blipFill>
          <p:spPr>
            <a:xfrm>
              <a:off x="1112233" y="1344531"/>
              <a:ext cx="658425" cy="652892"/>
            </a:xfrm>
            <a:prstGeom prst="rect">
              <a:avLst/>
            </a:prstGeom>
          </p:spPr>
        </p:pic>
      </p:grpSp>
      <p:grpSp>
        <p:nvGrpSpPr>
          <p:cNvPr id="40" name="Group 39">
            <a:extLst>
              <a:ext uri="{FF2B5EF4-FFF2-40B4-BE49-F238E27FC236}">
                <a16:creationId xmlns:a16="http://schemas.microsoft.com/office/drawing/2014/main" id="{D6900DF4-F34F-5C5E-F58E-61BBA94DD039}"/>
              </a:ext>
            </a:extLst>
          </p:cNvPr>
          <p:cNvGrpSpPr/>
          <p:nvPr/>
        </p:nvGrpSpPr>
        <p:grpSpPr>
          <a:xfrm>
            <a:off x="2067831" y="2444401"/>
            <a:ext cx="6257958" cy="543007"/>
            <a:chOff x="1215192" y="2037001"/>
            <a:chExt cx="5214965" cy="452506"/>
          </a:xfrm>
        </p:grpSpPr>
        <p:sp>
          <p:nvSpPr>
            <p:cNvPr id="19" name="TextBox 18">
              <a:extLst>
                <a:ext uri="{FF2B5EF4-FFF2-40B4-BE49-F238E27FC236}">
                  <a16:creationId xmlns:a16="http://schemas.microsoft.com/office/drawing/2014/main" id="{F1DF44B5-3793-3615-A2DC-1297A45FDC11}"/>
                </a:ext>
              </a:extLst>
            </p:cNvPr>
            <p:cNvSpPr txBox="1"/>
            <p:nvPr/>
          </p:nvSpPr>
          <p:spPr>
            <a:xfrm>
              <a:off x="1675277" y="2064797"/>
              <a:ext cx="4754880" cy="307777"/>
            </a:xfrm>
            <a:prstGeom prst="rect">
              <a:avLst/>
            </a:prstGeom>
            <a:noFill/>
          </p:spPr>
          <p:txBody>
            <a:bodyPr wrap="square">
              <a:spAutoFit/>
            </a:bodyPr>
            <a:lstStyle/>
            <a:p>
              <a:r>
                <a:rPr lang="en-US" dirty="0"/>
                <a:t>Process</a:t>
              </a:r>
            </a:p>
          </p:txBody>
        </p:sp>
        <p:pic>
          <p:nvPicPr>
            <p:cNvPr id="34" name="Picture 33">
              <a:extLst>
                <a:ext uri="{FF2B5EF4-FFF2-40B4-BE49-F238E27FC236}">
                  <a16:creationId xmlns:a16="http://schemas.microsoft.com/office/drawing/2014/main" id="{4F274565-E10E-BFC7-E186-31C3040FEFBC}"/>
                </a:ext>
              </a:extLst>
            </p:cNvPr>
            <p:cNvPicPr>
              <a:picLocks noChangeAspect="1"/>
            </p:cNvPicPr>
            <p:nvPr/>
          </p:nvPicPr>
          <p:blipFill>
            <a:blip r:embed="rId9">
              <a:extLst>
                <a:ext uri="{BEBA8EAE-BF5A-486C-A8C5-ECC9F3942E4B}">
                  <a14:imgProps xmlns:a14="http://schemas.microsoft.com/office/drawing/2010/main">
                    <a14:imgLayer r:embed="rId10">
                      <a14:imgEffect>
                        <a14:saturation sat="66000"/>
                      </a14:imgEffect>
                    </a14:imgLayer>
                  </a14:imgProps>
                </a:ext>
              </a:extLst>
            </a:blip>
            <a:stretch>
              <a:fillRect/>
            </a:stretch>
          </p:blipFill>
          <p:spPr>
            <a:xfrm>
              <a:off x="1215192" y="2037001"/>
              <a:ext cx="452506" cy="452506"/>
            </a:xfrm>
            <a:prstGeom prst="rect">
              <a:avLst/>
            </a:prstGeom>
          </p:spPr>
        </p:pic>
      </p:grpSp>
      <p:grpSp>
        <p:nvGrpSpPr>
          <p:cNvPr id="41" name="Group 40">
            <a:extLst>
              <a:ext uri="{FF2B5EF4-FFF2-40B4-BE49-F238E27FC236}">
                <a16:creationId xmlns:a16="http://schemas.microsoft.com/office/drawing/2014/main" id="{62CCAD2E-8E63-5291-DAEF-5C089A6B2BDC}"/>
              </a:ext>
            </a:extLst>
          </p:cNvPr>
          <p:cNvGrpSpPr/>
          <p:nvPr/>
        </p:nvGrpSpPr>
        <p:grpSpPr>
          <a:xfrm>
            <a:off x="2017420" y="3057486"/>
            <a:ext cx="6308369" cy="649790"/>
            <a:chOff x="1173183" y="2547905"/>
            <a:chExt cx="5256974" cy="541492"/>
          </a:xfrm>
        </p:grpSpPr>
        <p:sp>
          <p:nvSpPr>
            <p:cNvPr id="17" name="TextBox 16">
              <a:extLst>
                <a:ext uri="{FF2B5EF4-FFF2-40B4-BE49-F238E27FC236}">
                  <a16:creationId xmlns:a16="http://schemas.microsoft.com/office/drawing/2014/main" id="{6960FDEE-0681-B5A9-0779-598BAF88895C}"/>
                </a:ext>
              </a:extLst>
            </p:cNvPr>
            <p:cNvSpPr txBox="1"/>
            <p:nvPr/>
          </p:nvSpPr>
          <p:spPr>
            <a:xfrm>
              <a:off x="1675277" y="2648231"/>
              <a:ext cx="4754880" cy="307777"/>
            </a:xfrm>
            <a:prstGeom prst="rect">
              <a:avLst/>
            </a:prstGeom>
            <a:noFill/>
          </p:spPr>
          <p:txBody>
            <a:bodyPr wrap="square">
              <a:spAutoFit/>
            </a:bodyPr>
            <a:lstStyle/>
            <a:p>
              <a:r>
                <a:rPr lang="en-US" dirty="0"/>
                <a:t>Overall structure of value-based sales</a:t>
              </a:r>
            </a:p>
          </p:txBody>
        </p:sp>
        <p:pic>
          <p:nvPicPr>
            <p:cNvPr id="36" name="Picture 35">
              <a:extLst>
                <a:ext uri="{FF2B5EF4-FFF2-40B4-BE49-F238E27FC236}">
                  <a16:creationId xmlns:a16="http://schemas.microsoft.com/office/drawing/2014/main" id="{D8482D6E-6707-52C9-CE6E-CB6BA535BE99}"/>
                </a:ext>
              </a:extLst>
            </p:cNvPr>
            <p:cNvPicPr>
              <a:picLocks noChangeAspect="1"/>
            </p:cNvPicPr>
            <p:nvPr/>
          </p:nvPicPr>
          <p:blipFill>
            <a:blip r:embed="rId11" cstate="screen">
              <a:extLst>
                <a:ext uri="{BEBA8EAE-BF5A-486C-A8C5-ECC9F3942E4B}">
                  <a14:imgProps xmlns:a14="http://schemas.microsoft.com/office/drawing/2010/main">
                    <a14:imgLayer r:embed="rId12">
                      <a14:imgEffect>
                        <a14:saturation sat="66000"/>
                      </a14:imgEffect>
                    </a14:imgLayer>
                  </a14:imgProps>
                </a:ext>
                <a:ext uri="{28A0092B-C50C-407E-A947-70E740481C1C}">
                  <a14:useLocalDpi xmlns:a14="http://schemas.microsoft.com/office/drawing/2010/main"/>
                </a:ext>
              </a:extLst>
            </a:blip>
            <a:stretch>
              <a:fillRect/>
            </a:stretch>
          </p:blipFill>
          <p:spPr>
            <a:xfrm>
              <a:off x="1173183" y="2547905"/>
              <a:ext cx="536524" cy="541492"/>
            </a:xfrm>
            <a:prstGeom prst="rect">
              <a:avLst/>
            </a:prstGeom>
          </p:spPr>
        </p:pic>
      </p:grpSp>
      <p:grpSp>
        <p:nvGrpSpPr>
          <p:cNvPr id="42" name="Group 41">
            <a:extLst>
              <a:ext uri="{FF2B5EF4-FFF2-40B4-BE49-F238E27FC236}">
                <a16:creationId xmlns:a16="http://schemas.microsoft.com/office/drawing/2014/main" id="{45156F5E-76F4-4F98-42E3-A4594FBD3494}"/>
              </a:ext>
            </a:extLst>
          </p:cNvPr>
          <p:cNvGrpSpPr/>
          <p:nvPr/>
        </p:nvGrpSpPr>
        <p:grpSpPr>
          <a:xfrm>
            <a:off x="2011285" y="3739192"/>
            <a:ext cx="6314504" cy="649790"/>
            <a:chOff x="1168070" y="3115993"/>
            <a:chExt cx="5262087" cy="541492"/>
          </a:xfrm>
        </p:grpSpPr>
        <p:sp>
          <p:nvSpPr>
            <p:cNvPr id="9" name="TextBox 8">
              <a:extLst>
                <a:ext uri="{FF2B5EF4-FFF2-40B4-BE49-F238E27FC236}">
                  <a16:creationId xmlns:a16="http://schemas.microsoft.com/office/drawing/2014/main" id="{44080690-2361-80B7-A571-C7DACD6C4099}"/>
                </a:ext>
              </a:extLst>
            </p:cNvPr>
            <p:cNvSpPr txBox="1"/>
            <p:nvPr/>
          </p:nvSpPr>
          <p:spPr>
            <a:xfrm>
              <a:off x="1675277" y="3231665"/>
              <a:ext cx="4754880" cy="307777"/>
            </a:xfrm>
            <a:prstGeom prst="rect">
              <a:avLst/>
            </a:prstGeom>
            <a:noFill/>
          </p:spPr>
          <p:txBody>
            <a:bodyPr wrap="square">
              <a:spAutoFit/>
            </a:bodyPr>
            <a:lstStyle/>
            <a:p>
              <a:r>
                <a:rPr lang="en-US" dirty="0"/>
                <a:t>Underlying need</a:t>
              </a:r>
            </a:p>
          </p:txBody>
        </p:sp>
        <p:pic>
          <p:nvPicPr>
            <p:cNvPr id="38" name="Picture 37">
              <a:extLst>
                <a:ext uri="{FF2B5EF4-FFF2-40B4-BE49-F238E27FC236}">
                  <a16:creationId xmlns:a16="http://schemas.microsoft.com/office/drawing/2014/main" id="{498F1194-B1B9-8448-4B5B-4F98BAC23AE4}"/>
                </a:ext>
              </a:extLst>
            </p:cNvPr>
            <p:cNvPicPr>
              <a:picLocks noChangeAspect="1"/>
            </p:cNvPicPr>
            <p:nvPr/>
          </p:nvPicPr>
          <p:blipFill>
            <a:blip r:embed="rId13">
              <a:extLst>
                <a:ext uri="{BEBA8EAE-BF5A-486C-A8C5-ECC9F3942E4B}">
                  <a14:imgProps xmlns:a14="http://schemas.microsoft.com/office/drawing/2010/main">
                    <a14:imgLayer r:embed="rId14">
                      <a14:imgEffect>
                        <a14:saturation sat="66000"/>
                      </a14:imgEffect>
                    </a14:imgLayer>
                  </a14:imgProps>
                </a:ext>
              </a:extLst>
            </a:blip>
            <a:stretch>
              <a:fillRect/>
            </a:stretch>
          </p:blipFill>
          <p:spPr>
            <a:xfrm>
              <a:off x="1168070" y="3115993"/>
              <a:ext cx="546750" cy="541492"/>
            </a:xfrm>
            <a:prstGeom prst="rect">
              <a:avLst/>
            </a:prstGeom>
          </p:spPr>
        </p:pic>
      </p:grpSp>
      <p:pic>
        <p:nvPicPr>
          <p:cNvPr id="3" name="Picture 2" descr="Light bulb glowing">
            <a:extLst>
              <a:ext uri="{FF2B5EF4-FFF2-40B4-BE49-F238E27FC236}">
                <a16:creationId xmlns:a16="http://schemas.microsoft.com/office/drawing/2014/main" id="{8FF9B626-D59F-0DDE-15B0-22E202B34C03}"/>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0" y="0"/>
            <a:ext cx="12075790" cy="7022591"/>
          </a:xfrm>
          <a:prstGeom prst="rect">
            <a:avLst/>
          </a:prstGeom>
        </p:spPr>
      </p:pic>
      <p:sp>
        <p:nvSpPr>
          <p:cNvPr id="8" name="Title 5">
            <a:extLst>
              <a:ext uri="{FF2B5EF4-FFF2-40B4-BE49-F238E27FC236}">
                <a16:creationId xmlns:a16="http://schemas.microsoft.com/office/drawing/2014/main" id="{12687CD1-3634-C37E-C182-34275245762D}"/>
              </a:ext>
            </a:extLst>
          </p:cNvPr>
          <p:cNvSpPr txBox="1">
            <a:spLocks/>
          </p:cNvSpPr>
          <p:nvPr/>
        </p:nvSpPr>
        <p:spPr>
          <a:xfrm>
            <a:off x="4591320" y="3367748"/>
            <a:ext cx="4042970" cy="493775"/>
          </a:xfrm>
          <a:prstGeom prst="rect">
            <a:avLst/>
          </a:prstGeom>
        </p:spPr>
        <p:txBody>
          <a:bodyPr spcFirstLastPara="1" wrap="square" lIns="109710" tIns="109710" rIns="109710" bIns="109710" anchor="b" anchorCtr="0">
            <a:noAutofit/>
          </a:bodyPr>
          <a:lstStyle>
            <a:lvl1pPr lvl="0" algn="l" defTabSz="685800" rtl="0" eaLnBrk="1" fontAlgn="base" hangingPunct="1">
              <a:lnSpc>
                <a:spcPct val="100000"/>
              </a:lnSpc>
              <a:spcBef>
                <a:spcPts val="0"/>
              </a:spcBef>
              <a:spcAft>
                <a:spcPts val="0"/>
              </a:spcAft>
              <a:buSzPts val="2400"/>
              <a:buNone/>
              <a:defRPr sz="2400" b="1" i="0" kern="1200">
                <a:solidFill>
                  <a:schemeClr val="tx1"/>
                </a:solidFill>
                <a:latin typeface="+mj-lt"/>
                <a:ea typeface="+mj-ea"/>
                <a:cs typeface="+mj-cs"/>
              </a:defRPr>
            </a:lvl1pPr>
            <a:lvl2pPr lvl="1"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2pPr>
            <a:lvl3pPr lvl="2"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3pPr>
            <a:lvl4pPr lvl="3"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4pPr>
            <a:lvl5pPr lvl="4"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5pPr>
            <a:lvl6pPr marL="457200" lvl="5"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6pPr>
            <a:lvl7pPr marL="914400" lvl="6"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7pPr>
            <a:lvl8pPr marL="1371600" lvl="7"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8pPr>
            <a:lvl9pPr marL="1828800" lvl="8"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9pPr>
          </a:lstStyle>
          <a:p>
            <a:r>
              <a:rPr lang="en-US" sz="4400" dirty="0">
                <a:solidFill>
                  <a:schemeClr val="accent1"/>
                </a:solidFill>
              </a:rPr>
              <a:t>Inspiration </a:t>
            </a:r>
          </a:p>
        </p:txBody>
      </p:sp>
    </p:spTree>
    <p:extLst>
      <p:ext uri="{BB962C8B-B14F-4D97-AF65-F5344CB8AC3E}">
        <p14:creationId xmlns:p14="http://schemas.microsoft.com/office/powerpoint/2010/main" val="39919332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A70DA59-51D0-75F7-9D19-5834DAA019A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6268"/>
          <a:stretch/>
        </p:blipFill>
        <p:spPr>
          <a:xfrm>
            <a:off x="609600" y="-1"/>
            <a:ext cx="10972800" cy="6858001"/>
          </a:xfrm>
          <a:prstGeom prst="rect">
            <a:avLst/>
          </a:prstGeom>
        </p:spPr>
      </p:pic>
      <p:sp>
        <p:nvSpPr>
          <p:cNvPr id="7" name="Text Placeholder 6">
            <a:extLst>
              <a:ext uri="{FF2B5EF4-FFF2-40B4-BE49-F238E27FC236}">
                <a16:creationId xmlns:a16="http://schemas.microsoft.com/office/drawing/2014/main" id="{4083A3B8-8B51-73BD-0DBA-31F6E4BC3C33}"/>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7B712704-9E7D-4DC6-0485-016B12884F1B}"/>
              </a:ext>
            </a:extLst>
          </p:cNvPr>
          <p:cNvSpPr>
            <a:spLocks noGrp="1"/>
          </p:cNvSpPr>
          <p:nvPr>
            <p:ph type="title"/>
          </p:nvPr>
        </p:nvSpPr>
        <p:spPr>
          <a:solidFill>
            <a:srgbClr val="FFFFFF">
              <a:alpha val="80000"/>
            </a:srgbClr>
          </a:solidFill>
        </p:spPr>
        <p:txBody>
          <a:bodyPr spcFirstLastPara="1" vert="horz" wrap="square" lIns="109710" tIns="109710" rIns="109710" bIns="109710" numCol="1" anchor="ctr" anchorCtr="0" compatLnSpc="1">
            <a:prstTxWarp prst="textNoShape">
              <a:avLst/>
            </a:prstTxWarp>
            <a:noAutofit/>
          </a:bodyPr>
          <a:lstStyle/>
          <a:p>
            <a:r>
              <a:rPr lang="sv-SE" dirty="0"/>
              <a:t>Taking a customer from a lead to a closed deal has never been more complex</a:t>
            </a:r>
            <a:endParaRPr lang="en-SG" dirty="0"/>
          </a:p>
        </p:txBody>
      </p:sp>
      <p:sp>
        <p:nvSpPr>
          <p:cNvPr id="3" name="Text Placeholder 2">
            <a:extLst>
              <a:ext uri="{FF2B5EF4-FFF2-40B4-BE49-F238E27FC236}">
                <a16:creationId xmlns:a16="http://schemas.microsoft.com/office/drawing/2014/main" id="{66EDDF63-93E4-3592-430B-1AFE04BC5DBE}"/>
              </a:ext>
            </a:extLst>
          </p:cNvPr>
          <p:cNvSpPr>
            <a:spLocks noGrp="1"/>
          </p:cNvSpPr>
          <p:nvPr>
            <p:ph type="body" sz="half" idx="2"/>
          </p:nvPr>
        </p:nvSpPr>
        <p:spPr/>
        <p:txBody>
          <a:bodyPr/>
          <a:lstStyle/>
          <a:p>
            <a:endParaRPr lang="en-US"/>
          </a:p>
        </p:txBody>
      </p:sp>
      <p:sp>
        <p:nvSpPr>
          <p:cNvPr id="19" name="TextBox 18">
            <a:extLst>
              <a:ext uri="{FF2B5EF4-FFF2-40B4-BE49-F238E27FC236}">
                <a16:creationId xmlns:a16="http://schemas.microsoft.com/office/drawing/2014/main" id="{15BFDB73-1373-4387-C4A9-75BDFA7B438E}"/>
              </a:ext>
            </a:extLst>
          </p:cNvPr>
          <p:cNvSpPr txBox="1"/>
          <p:nvPr/>
        </p:nvSpPr>
        <p:spPr>
          <a:xfrm>
            <a:off x="6375443" y="1904219"/>
            <a:ext cx="4328160" cy="461665"/>
          </a:xfrm>
          <a:prstGeom prst="rect">
            <a:avLst/>
          </a:prstGeom>
          <a:solidFill>
            <a:srgbClr val="FFFFFF">
              <a:alpha val="69804"/>
            </a:srgbClr>
          </a:solidFill>
          <a:ln>
            <a:solidFill>
              <a:schemeClr val="bg2">
                <a:lumMod val="90000"/>
              </a:schemeClr>
            </a:solidFill>
          </a:ln>
        </p:spPr>
        <p:txBody>
          <a:bodyPr wrap="square" rtlCol="0">
            <a:spAutoFit/>
          </a:bodyPr>
          <a:lstStyle/>
          <a:p>
            <a:pPr eaLnBrk="1" fontAlgn="auto" hangingPunct="1">
              <a:spcBef>
                <a:spcPts val="0"/>
              </a:spcBef>
              <a:spcAft>
                <a:spcPts val="0"/>
              </a:spcAft>
            </a:pPr>
            <a:r>
              <a:rPr lang="sv-SE" sz="2400" b="1" dirty="0">
                <a:solidFill>
                  <a:schemeClr val="tx2"/>
                </a:solidFill>
                <a:latin typeface="+mn-lt"/>
              </a:rPr>
              <a:t>Information available</a:t>
            </a:r>
            <a:endParaRPr lang="en-SG" sz="2400" b="1" dirty="0">
              <a:solidFill>
                <a:schemeClr val="tx2"/>
              </a:solidFill>
              <a:latin typeface="+mn-lt"/>
            </a:endParaRPr>
          </a:p>
        </p:txBody>
      </p:sp>
      <p:sp>
        <p:nvSpPr>
          <p:cNvPr id="20" name="TextBox 19">
            <a:extLst>
              <a:ext uri="{FF2B5EF4-FFF2-40B4-BE49-F238E27FC236}">
                <a16:creationId xmlns:a16="http://schemas.microsoft.com/office/drawing/2014/main" id="{88B57FDD-805A-9692-85FF-73D9B3FF1056}"/>
              </a:ext>
            </a:extLst>
          </p:cNvPr>
          <p:cNvSpPr txBox="1"/>
          <p:nvPr/>
        </p:nvSpPr>
        <p:spPr>
          <a:xfrm>
            <a:off x="6375443" y="2946985"/>
            <a:ext cx="4328160" cy="461665"/>
          </a:xfrm>
          <a:prstGeom prst="rect">
            <a:avLst/>
          </a:prstGeom>
          <a:solidFill>
            <a:srgbClr val="FFFFFF">
              <a:alpha val="69804"/>
            </a:srgbClr>
          </a:solidFill>
          <a:ln>
            <a:solidFill>
              <a:schemeClr val="bg2">
                <a:lumMod val="90000"/>
              </a:schemeClr>
            </a:solidFill>
          </a:ln>
        </p:spPr>
        <p:txBody>
          <a:bodyPr wrap="square" rtlCol="0">
            <a:spAutoFit/>
          </a:bodyPr>
          <a:lstStyle/>
          <a:p>
            <a:pPr eaLnBrk="1" fontAlgn="auto" hangingPunct="1">
              <a:spcBef>
                <a:spcPts val="0"/>
              </a:spcBef>
              <a:spcAft>
                <a:spcPts val="0"/>
              </a:spcAft>
            </a:pPr>
            <a:r>
              <a:rPr lang="sv-SE" sz="2400" b="1" dirty="0">
                <a:solidFill>
                  <a:schemeClr val="accent1"/>
                </a:solidFill>
                <a:latin typeface="+mn-lt"/>
              </a:rPr>
              <a:t>Corporate complexity</a:t>
            </a:r>
            <a:endParaRPr lang="en-SG" sz="2400" b="1" dirty="0">
              <a:solidFill>
                <a:schemeClr val="accent1"/>
              </a:solidFill>
              <a:latin typeface="+mn-lt"/>
            </a:endParaRPr>
          </a:p>
        </p:txBody>
      </p:sp>
      <p:sp>
        <p:nvSpPr>
          <p:cNvPr id="21" name="TextBox 20">
            <a:extLst>
              <a:ext uri="{FF2B5EF4-FFF2-40B4-BE49-F238E27FC236}">
                <a16:creationId xmlns:a16="http://schemas.microsoft.com/office/drawing/2014/main" id="{3C67C7F0-E750-33A7-400A-1E8FBCC504DF}"/>
              </a:ext>
            </a:extLst>
          </p:cNvPr>
          <p:cNvSpPr txBox="1"/>
          <p:nvPr/>
        </p:nvSpPr>
        <p:spPr>
          <a:xfrm>
            <a:off x="6375443" y="3989750"/>
            <a:ext cx="4328160" cy="461665"/>
          </a:xfrm>
          <a:prstGeom prst="rect">
            <a:avLst/>
          </a:prstGeom>
          <a:solidFill>
            <a:srgbClr val="FFFFFF">
              <a:alpha val="69804"/>
            </a:srgbClr>
          </a:solidFill>
          <a:ln>
            <a:solidFill>
              <a:schemeClr val="bg2">
                <a:lumMod val="90000"/>
              </a:schemeClr>
            </a:solidFill>
          </a:ln>
        </p:spPr>
        <p:txBody>
          <a:bodyPr wrap="square" rtlCol="0">
            <a:spAutoFit/>
          </a:bodyPr>
          <a:lstStyle/>
          <a:p>
            <a:pPr eaLnBrk="1" fontAlgn="auto" hangingPunct="1">
              <a:spcBef>
                <a:spcPts val="0"/>
              </a:spcBef>
              <a:spcAft>
                <a:spcPts val="0"/>
              </a:spcAft>
            </a:pPr>
            <a:r>
              <a:rPr lang="sv-SE" sz="2400" b="1" dirty="0">
                <a:solidFill>
                  <a:schemeClr val="tx2"/>
                </a:solidFill>
                <a:latin typeface="+mn-lt"/>
              </a:rPr>
              <a:t>Regulatory complexity</a:t>
            </a:r>
            <a:endParaRPr lang="en-SG" sz="2400" b="1" dirty="0">
              <a:solidFill>
                <a:schemeClr val="tx2"/>
              </a:solidFill>
              <a:latin typeface="+mn-lt"/>
            </a:endParaRPr>
          </a:p>
        </p:txBody>
      </p:sp>
      <p:sp>
        <p:nvSpPr>
          <p:cNvPr id="4" name="Rectangle 3">
            <a:extLst>
              <a:ext uri="{FF2B5EF4-FFF2-40B4-BE49-F238E27FC236}">
                <a16:creationId xmlns:a16="http://schemas.microsoft.com/office/drawing/2014/main" id="{4C00657D-2D83-0F96-05CC-D383C3C6A961}"/>
              </a:ext>
            </a:extLst>
          </p:cNvPr>
          <p:cNvSpPr/>
          <p:nvPr/>
        </p:nvSpPr>
        <p:spPr>
          <a:xfrm>
            <a:off x="4435745" y="5422907"/>
            <a:ext cx="5209374" cy="493775"/>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SG"/>
          </a:p>
        </p:txBody>
      </p:sp>
      <p:sp>
        <p:nvSpPr>
          <p:cNvPr id="5" name="TextBox 4">
            <a:extLst>
              <a:ext uri="{FF2B5EF4-FFF2-40B4-BE49-F238E27FC236}">
                <a16:creationId xmlns:a16="http://schemas.microsoft.com/office/drawing/2014/main" id="{E7CEEF2A-1E09-97F2-35E8-2D816C4044C3}"/>
              </a:ext>
            </a:extLst>
          </p:cNvPr>
          <p:cNvSpPr txBox="1"/>
          <p:nvPr/>
        </p:nvSpPr>
        <p:spPr>
          <a:xfrm>
            <a:off x="4655201" y="5429728"/>
            <a:ext cx="4899906" cy="461665"/>
          </a:xfrm>
          <a:prstGeom prst="rect">
            <a:avLst/>
          </a:prstGeom>
          <a:noFill/>
        </p:spPr>
        <p:txBody>
          <a:bodyPr wrap="square" rtlCol="0">
            <a:spAutoFit/>
          </a:bodyPr>
          <a:lstStyle/>
          <a:p>
            <a:pPr algn="ctr" eaLnBrk="1" fontAlgn="auto" hangingPunct="1">
              <a:spcBef>
                <a:spcPts val="0"/>
              </a:spcBef>
              <a:spcAft>
                <a:spcPts val="0"/>
              </a:spcAft>
            </a:pPr>
            <a:r>
              <a:rPr lang="sv-SE" sz="1200" b="1" dirty="0">
                <a:solidFill>
                  <a:schemeClr val="bg1"/>
                </a:solidFill>
                <a:latin typeface="+mn-lt"/>
              </a:rPr>
              <a:t>Successful sales people guide customers through the complex and sometimes overwhelming amount of available content</a:t>
            </a:r>
            <a:endParaRPr lang="en-SG" sz="1200" b="1" dirty="0">
              <a:solidFill>
                <a:schemeClr val="bg1"/>
              </a:solidFill>
              <a:latin typeface="+mn-lt"/>
            </a:endParaRPr>
          </a:p>
        </p:txBody>
      </p:sp>
      <p:sp>
        <p:nvSpPr>
          <p:cNvPr id="6" name="TextBox 5">
            <a:extLst>
              <a:ext uri="{FF2B5EF4-FFF2-40B4-BE49-F238E27FC236}">
                <a16:creationId xmlns:a16="http://schemas.microsoft.com/office/drawing/2014/main" id="{F5E8CF89-A89F-48C9-79AF-CDC2C13065FC}"/>
              </a:ext>
            </a:extLst>
          </p:cNvPr>
          <p:cNvSpPr txBox="1"/>
          <p:nvPr/>
        </p:nvSpPr>
        <p:spPr>
          <a:xfrm>
            <a:off x="4454034" y="5392796"/>
            <a:ext cx="402336" cy="535531"/>
          </a:xfrm>
          <a:prstGeom prst="rect">
            <a:avLst/>
          </a:prstGeom>
          <a:noFill/>
        </p:spPr>
        <p:txBody>
          <a:bodyPr wrap="square" rtlCol="0">
            <a:spAutoFit/>
          </a:bodyPr>
          <a:lstStyle/>
          <a:p>
            <a:pPr eaLnBrk="1" fontAlgn="auto" hangingPunct="1">
              <a:spcBef>
                <a:spcPts val="0"/>
              </a:spcBef>
              <a:spcAft>
                <a:spcPts val="0"/>
              </a:spcAft>
            </a:pPr>
            <a:r>
              <a:rPr lang="sv-SE" sz="2880" b="1" dirty="0">
                <a:solidFill>
                  <a:schemeClr val="bg1"/>
                </a:solidFill>
                <a:latin typeface="+mn-lt"/>
              </a:rPr>
              <a:t>!</a:t>
            </a:r>
            <a:endParaRPr lang="en-SG" sz="1200" b="1" dirty="0">
              <a:solidFill>
                <a:schemeClr val="bg1"/>
              </a:solidFill>
              <a:latin typeface="+mn-lt"/>
            </a:endParaRPr>
          </a:p>
        </p:txBody>
      </p:sp>
    </p:spTree>
    <p:extLst>
      <p:ext uri="{BB962C8B-B14F-4D97-AF65-F5344CB8AC3E}">
        <p14:creationId xmlns:p14="http://schemas.microsoft.com/office/powerpoint/2010/main" val="3789500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5"/>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4" grpId="0" animBg="1"/>
      <p:bldP spid="5"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2AEF4BAD-A7AF-381E-D077-78B9280B6F13}"/>
              </a:ext>
            </a:extLst>
          </p:cNvPr>
          <p:cNvSpPr/>
          <p:nvPr/>
        </p:nvSpPr>
        <p:spPr>
          <a:xfrm>
            <a:off x="7338060" y="2819400"/>
            <a:ext cx="2697480" cy="1066800"/>
          </a:xfrm>
          <a:prstGeom prst="roundRect">
            <a:avLst/>
          </a:prstGeom>
          <a:solidFill>
            <a:schemeClr val="accent5"/>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5" name="Rectangle: Rounded Corners 4">
            <a:extLst>
              <a:ext uri="{FF2B5EF4-FFF2-40B4-BE49-F238E27FC236}">
                <a16:creationId xmlns:a16="http://schemas.microsoft.com/office/drawing/2014/main" id="{C64E15DA-9ACB-B515-9590-483711DD4D54}"/>
              </a:ext>
            </a:extLst>
          </p:cNvPr>
          <p:cNvSpPr/>
          <p:nvPr/>
        </p:nvSpPr>
        <p:spPr>
          <a:xfrm>
            <a:off x="2004060" y="2819400"/>
            <a:ext cx="2697480" cy="1066800"/>
          </a:xfrm>
          <a:prstGeom prst="roundRect">
            <a:avLst/>
          </a:prstGeom>
          <a:solidFill>
            <a:schemeClr val="accent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0" name="Title 9">
            <a:extLst>
              <a:ext uri="{FF2B5EF4-FFF2-40B4-BE49-F238E27FC236}">
                <a16:creationId xmlns:a16="http://schemas.microsoft.com/office/drawing/2014/main" id="{09BE2240-782E-D2C5-7BD7-5108B409EBFC}"/>
              </a:ext>
            </a:extLst>
          </p:cNvPr>
          <p:cNvSpPr>
            <a:spLocks noGrp="1"/>
          </p:cNvSpPr>
          <p:nvPr>
            <p:ph type="title"/>
          </p:nvPr>
        </p:nvSpPr>
        <p:spPr/>
        <p:txBody>
          <a:bodyPr/>
          <a:lstStyle/>
          <a:p>
            <a:r>
              <a:rPr lang="sv-SE" dirty="0"/>
              <a:t>Let’s start with some definitions</a:t>
            </a:r>
            <a:endParaRPr lang="en-SG" dirty="0"/>
          </a:p>
        </p:txBody>
      </p:sp>
      <p:sp>
        <p:nvSpPr>
          <p:cNvPr id="9" name="Text Placeholder 8">
            <a:extLst>
              <a:ext uri="{FF2B5EF4-FFF2-40B4-BE49-F238E27FC236}">
                <a16:creationId xmlns:a16="http://schemas.microsoft.com/office/drawing/2014/main" id="{4DF71DCC-98EA-CA71-BF9A-3F31CC1D9479}"/>
              </a:ext>
            </a:extLst>
          </p:cNvPr>
          <p:cNvSpPr>
            <a:spLocks noGrp="1"/>
          </p:cNvSpPr>
          <p:nvPr>
            <p:ph type="body" sz="half" idx="2"/>
          </p:nvPr>
        </p:nvSpPr>
        <p:spPr/>
        <p:txBody>
          <a:bodyPr/>
          <a:lstStyle/>
          <a:p>
            <a:endParaRPr lang="en-US"/>
          </a:p>
        </p:txBody>
      </p:sp>
      <p:sp>
        <p:nvSpPr>
          <p:cNvPr id="11" name="TextBox 10">
            <a:extLst>
              <a:ext uri="{FF2B5EF4-FFF2-40B4-BE49-F238E27FC236}">
                <a16:creationId xmlns:a16="http://schemas.microsoft.com/office/drawing/2014/main" id="{25930246-B387-A8D3-5F54-450C6ED6458F}"/>
              </a:ext>
            </a:extLst>
          </p:cNvPr>
          <p:cNvSpPr txBox="1"/>
          <p:nvPr/>
        </p:nvSpPr>
        <p:spPr>
          <a:xfrm>
            <a:off x="1865376" y="3001936"/>
            <a:ext cx="2974848" cy="683264"/>
          </a:xfrm>
          <a:prstGeom prst="rect">
            <a:avLst/>
          </a:prstGeom>
          <a:noFill/>
        </p:spPr>
        <p:txBody>
          <a:bodyPr wrap="square" rtlCol="0">
            <a:spAutoFit/>
          </a:bodyPr>
          <a:lstStyle/>
          <a:p>
            <a:pPr algn="ctr" eaLnBrk="1" fontAlgn="auto" hangingPunct="1">
              <a:spcBef>
                <a:spcPts val="0"/>
              </a:spcBef>
              <a:spcAft>
                <a:spcPts val="0"/>
              </a:spcAft>
            </a:pPr>
            <a:r>
              <a:rPr lang="sv-SE" sz="3840" dirty="0">
                <a:solidFill>
                  <a:schemeClr val="bg1"/>
                </a:solidFill>
                <a:latin typeface="+mn-lt"/>
              </a:rPr>
              <a:t>Feature </a:t>
            </a:r>
            <a:endParaRPr lang="en-SG" sz="3840" dirty="0">
              <a:solidFill>
                <a:schemeClr val="bg1"/>
              </a:solidFill>
              <a:latin typeface="+mn-lt"/>
            </a:endParaRPr>
          </a:p>
        </p:txBody>
      </p:sp>
      <p:sp>
        <p:nvSpPr>
          <p:cNvPr id="12" name="TextBox 11">
            <a:extLst>
              <a:ext uri="{FF2B5EF4-FFF2-40B4-BE49-F238E27FC236}">
                <a16:creationId xmlns:a16="http://schemas.microsoft.com/office/drawing/2014/main" id="{394ED0F5-62CB-5BEF-C461-7630985BFB76}"/>
              </a:ext>
            </a:extLst>
          </p:cNvPr>
          <p:cNvSpPr txBox="1"/>
          <p:nvPr/>
        </p:nvSpPr>
        <p:spPr>
          <a:xfrm>
            <a:off x="7199376" y="3001936"/>
            <a:ext cx="2974848" cy="683264"/>
          </a:xfrm>
          <a:prstGeom prst="rect">
            <a:avLst/>
          </a:prstGeom>
          <a:noFill/>
        </p:spPr>
        <p:txBody>
          <a:bodyPr wrap="square" rtlCol="0">
            <a:spAutoFit/>
          </a:bodyPr>
          <a:lstStyle/>
          <a:p>
            <a:pPr algn="ctr" eaLnBrk="1" fontAlgn="auto" hangingPunct="1">
              <a:spcBef>
                <a:spcPts val="0"/>
              </a:spcBef>
              <a:spcAft>
                <a:spcPts val="0"/>
              </a:spcAft>
            </a:pPr>
            <a:r>
              <a:rPr lang="sv-SE" sz="3840" dirty="0">
                <a:solidFill>
                  <a:schemeClr val="bg1"/>
                </a:solidFill>
                <a:latin typeface="+mn-lt"/>
              </a:rPr>
              <a:t>Benefit</a:t>
            </a:r>
            <a:r>
              <a:rPr lang="sv-SE" sz="3840" dirty="0">
                <a:solidFill>
                  <a:schemeClr val="bg2">
                    <a:lumMod val="10000"/>
                  </a:schemeClr>
                </a:solidFill>
                <a:latin typeface="+mn-lt"/>
              </a:rPr>
              <a:t> </a:t>
            </a:r>
            <a:endParaRPr lang="en-SG" sz="3840" dirty="0">
              <a:solidFill>
                <a:schemeClr val="bg2">
                  <a:lumMod val="10000"/>
                </a:schemeClr>
              </a:solidFill>
              <a:latin typeface="+mn-lt"/>
            </a:endParaRPr>
          </a:p>
        </p:txBody>
      </p:sp>
      <p:sp>
        <p:nvSpPr>
          <p:cNvPr id="2" name="TextBox 1">
            <a:extLst>
              <a:ext uri="{FF2B5EF4-FFF2-40B4-BE49-F238E27FC236}">
                <a16:creationId xmlns:a16="http://schemas.microsoft.com/office/drawing/2014/main" id="{BD2D896F-CBA2-A72D-ADEE-54E1127D2503}"/>
              </a:ext>
            </a:extLst>
          </p:cNvPr>
          <p:cNvSpPr txBox="1"/>
          <p:nvPr/>
        </p:nvSpPr>
        <p:spPr>
          <a:xfrm>
            <a:off x="1127760" y="3886201"/>
            <a:ext cx="4450080" cy="276999"/>
          </a:xfrm>
          <a:prstGeom prst="rect">
            <a:avLst/>
          </a:prstGeom>
          <a:noFill/>
        </p:spPr>
        <p:txBody>
          <a:bodyPr wrap="square" rtlCol="0">
            <a:spAutoFit/>
          </a:bodyPr>
          <a:lstStyle/>
          <a:p>
            <a:pPr algn="ctr" eaLnBrk="1" fontAlgn="auto" hangingPunct="1">
              <a:spcBef>
                <a:spcPts val="0"/>
              </a:spcBef>
              <a:spcAft>
                <a:spcPts val="0"/>
              </a:spcAft>
            </a:pPr>
            <a:r>
              <a:rPr lang="sv-SE" sz="1200" dirty="0">
                <a:solidFill>
                  <a:schemeClr val="bg2">
                    <a:lumMod val="10000"/>
                  </a:schemeClr>
                </a:solidFill>
                <a:latin typeface="+mn-lt"/>
              </a:rPr>
              <a:t>What the product does</a:t>
            </a:r>
            <a:endParaRPr lang="en-SG" sz="1200" dirty="0">
              <a:solidFill>
                <a:schemeClr val="bg2">
                  <a:lumMod val="10000"/>
                </a:schemeClr>
              </a:solidFill>
              <a:latin typeface="+mn-lt"/>
            </a:endParaRPr>
          </a:p>
        </p:txBody>
      </p:sp>
      <p:sp>
        <p:nvSpPr>
          <p:cNvPr id="3" name="TextBox 2">
            <a:extLst>
              <a:ext uri="{FF2B5EF4-FFF2-40B4-BE49-F238E27FC236}">
                <a16:creationId xmlns:a16="http://schemas.microsoft.com/office/drawing/2014/main" id="{2D2D36D5-BEAB-0EC8-7396-931CCCB54A0E}"/>
              </a:ext>
            </a:extLst>
          </p:cNvPr>
          <p:cNvSpPr txBox="1"/>
          <p:nvPr/>
        </p:nvSpPr>
        <p:spPr>
          <a:xfrm>
            <a:off x="6461760" y="3886201"/>
            <a:ext cx="4450080" cy="276999"/>
          </a:xfrm>
          <a:prstGeom prst="rect">
            <a:avLst/>
          </a:prstGeom>
          <a:noFill/>
        </p:spPr>
        <p:txBody>
          <a:bodyPr wrap="square" rtlCol="0">
            <a:spAutoFit/>
          </a:bodyPr>
          <a:lstStyle/>
          <a:p>
            <a:pPr algn="ctr" eaLnBrk="1" fontAlgn="auto" hangingPunct="1">
              <a:spcBef>
                <a:spcPts val="0"/>
              </a:spcBef>
              <a:spcAft>
                <a:spcPts val="0"/>
              </a:spcAft>
            </a:pPr>
            <a:r>
              <a:rPr lang="sv-SE" sz="1200" dirty="0">
                <a:solidFill>
                  <a:schemeClr val="bg2">
                    <a:lumMod val="10000"/>
                  </a:schemeClr>
                </a:solidFill>
                <a:latin typeface="+mn-lt"/>
              </a:rPr>
              <a:t>Why the feature is relevant</a:t>
            </a:r>
            <a:endParaRPr lang="en-SG" sz="1200" dirty="0">
              <a:solidFill>
                <a:schemeClr val="bg2">
                  <a:lumMod val="10000"/>
                </a:schemeClr>
              </a:solidFill>
              <a:latin typeface="+mn-lt"/>
            </a:endParaRPr>
          </a:p>
        </p:txBody>
      </p:sp>
      <p:grpSp>
        <p:nvGrpSpPr>
          <p:cNvPr id="8" name="Group 7">
            <a:extLst>
              <a:ext uri="{FF2B5EF4-FFF2-40B4-BE49-F238E27FC236}">
                <a16:creationId xmlns:a16="http://schemas.microsoft.com/office/drawing/2014/main" id="{13BBA356-771F-9189-ACCD-20CCF6162C91}"/>
              </a:ext>
            </a:extLst>
          </p:cNvPr>
          <p:cNvGrpSpPr/>
          <p:nvPr/>
        </p:nvGrpSpPr>
        <p:grpSpPr>
          <a:xfrm>
            <a:off x="7199376" y="4793660"/>
            <a:ext cx="2974848" cy="1274195"/>
            <a:chOff x="5491480" y="3994715"/>
            <a:chExt cx="2479040" cy="1061829"/>
          </a:xfrm>
          <a:solidFill>
            <a:schemeClr val="accent4"/>
          </a:solidFill>
        </p:grpSpPr>
        <p:sp>
          <p:nvSpPr>
            <p:cNvPr id="4" name="Rectangle: Rounded Corners 3">
              <a:extLst>
                <a:ext uri="{FF2B5EF4-FFF2-40B4-BE49-F238E27FC236}">
                  <a16:creationId xmlns:a16="http://schemas.microsoft.com/office/drawing/2014/main" id="{37ACA296-21C1-7AEC-CF0E-5143323C38B1}"/>
                </a:ext>
              </a:extLst>
            </p:cNvPr>
            <p:cNvSpPr/>
            <p:nvPr/>
          </p:nvSpPr>
          <p:spPr>
            <a:xfrm>
              <a:off x="5607050" y="4088824"/>
              <a:ext cx="2247900" cy="889000"/>
            </a:xfrm>
            <a:prstGeom prst="roundRect">
              <a:avLst/>
            </a:prstGeom>
            <a:grp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7" name="TextBox 6">
              <a:extLst>
                <a:ext uri="{FF2B5EF4-FFF2-40B4-BE49-F238E27FC236}">
                  <a16:creationId xmlns:a16="http://schemas.microsoft.com/office/drawing/2014/main" id="{8E84FF91-E525-FFCA-AC2C-A5284AAD510D}"/>
                </a:ext>
              </a:extLst>
            </p:cNvPr>
            <p:cNvSpPr txBox="1"/>
            <p:nvPr/>
          </p:nvSpPr>
          <p:spPr>
            <a:xfrm>
              <a:off x="5491480" y="3994715"/>
              <a:ext cx="2479040" cy="1061829"/>
            </a:xfrm>
            <a:prstGeom prst="rect">
              <a:avLst/>
            </a:prstGeom>
            <a:grpFill/>
          </p:spPr>
          <p:txBody>
            <a:bodyPr wrap="square" rtlCol="0">
              <a:spAutoFit/>
            </a:bodyPr>
            <a:lstStyle/>
            <a:p>
              <a:pPr algn="ctr" eaLnBrk="1" fontAlgn="auto" hangingPunct="1">
                <a:spcBef>
                  <a:spcPts val="0"/>
                </a:spcBef>
                <a:spcAft>
                  <a:spcPts val="0"/>
                </a:spcAft>
              </a:pPr>
              <a:r>
                <a:rPr lang="sv-SE" sz="3840" dirty="0">
                  <a:solidFill>
                    <a:schemeClr val="bg1"/>
                  </a:solidFill>
                  <a:latin typeface="+mn-lt"/>
                </a:rPr>
                <a:t>Irrelevant Benefit</a:t>
              </a:r>
              <a:r>
                <a:rPr lang="sv-SE" sz="3840" dirty="0">
                  <a:solidFill>
                    <a:schemeClr val="bg2">
                      <a:lumMod val="10000"/>
                    </a:schemeClr>
                  </a:solidFill>
                  <a:latin typeface="+mn-lt"/>
                </a:rPr>
                <a:t> </a:t>
              </a:r>
              <a:endParaRPr lang="en-SG" sz="3840" dirty="0">
                <a:solidFill>
                  <a:schemeClr val="bg2">
                    <a:lumMod val="10000"/>
                  </a:schemeClr>
                </a:solidFill>
                <a:latin typeface="+mn-lt"/>
              </a:endParaRPr>
            </a:p>
          </p:txBody>
        </p:sp>
      </p:grpSp>
    </p:spTree>
    <p:extLst>
      <p:ext uri="{BB962C8B-B14F-4D97-AF65-F5344CB8AC3E}">
        <p14:creationId xmlns:p14="http://schemas.microsoft.com/office/powerpoint/2010/main" val="254047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8AF7E5F-50B6-D15C-D2FB-48838E1AB994}"/>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89518F5D-EDD4-F9A8-D817-04CAEA534371}"/>
              </a:ext>
            </a:extLst>
          </p:cNvPr>
          <p:cNvSpPr>
            <a:spLocks noGrp="1"/>
          </p:cNvSpPr>
          <p:nvPr>
            <p:ph type="title"/>
          </p:nvPr>
        </p:nvSpPr>
        <p:spPr/>
        <p:txBody>
          <a:bodyPr/>
          <a:lstStyle/>
          <a:p>
            <a:r>
              <a:rPr lang="sv-SE" dirty="0"/>
              <a:t>What could this mean for our products?</a:t>
            </a:r>
            <a:endParaRPr lang="en-SG" dirty="0"/>
          </a:p>
        </p:txBody>
      </p:sp>
      <p:sp>
        <p:nvSpPr>
          <p:cNvPr id="4" name="Text Placeholder 3">
            <a:extLst>
              <a:ext uri="{FF2B5EF4-FFF2-40B4-BE49-F238E27FC236}">
                <a16:creationId xmlns:a16="http://schemas.microsoft.com/office/drawing/2014/main" id="{FD41A24C-4B62-1A11-2651-76C56BC8A556}"/>
              </a:ext>
            </a:extLst>
          </p:cNvPr>
          <p:cNvSpPr>
            <a:spLocks noGrp="1"/>
          </p:cNvSpPr>
          <p:nvPr>
            <p:ph type="body" sz="half" idx="2"/>
          </p:nvPr>
        </p:nvSpPr>
        <p:spPr/>
        <p:txBody>
          <a:bodyPr/>
          <a:lstStyle/>
          <a:p>
            <a:endParaRPr lang="en-US"/>
          </a:p>
        </p:txBody>
      </p:sp>
      <p:sp>
        <p:nvSpPr>
          <p:cNvPr id="5" name="TextBox 4">
            <a:extLst>
              <a:ext uri="{FF2B5EF4-FFF2-40B4-BE49-F238E27FC236}">
                <a16:creationId xmlns:a16="http://schemas.microsoft.com/office/drawing/2014/main" id="{DAB7FD6D-7369-C99A-4E93-6829327952A1}"/>
              </a:ext>
            </a:extLst>
          </p:cNvPr>
          <p:cNvSpPr txBox="1"/>
          <p:nvPr/>
        </p:nvSpPr>
        <p:spPr>
          <a:xfrm>
            <a:off x="1587538" y="4736839"/>
            <a:ext cx="3989531" cy="1274195"/>
          </a:xfrm>
          <a:prstGeom prst="rect">
            <a:avLst/>
          </a:prstGeom>
          <a:noFill/>
        </p:spPr>
        <p:txBody>
          <a:bodyPr wrap="square" rtlCol="0">
            <a:spAutoFit/>
          </a:bodyPr>
          <a:lstStyle/>
          <a:p>
            <a:pPr marL="205740" indent="-205740" eaLnBrk="1" fontAlgn="auto" hangingPunct="1">
              <a:spcBef>
                <a:spcPts val="0"/>
              </a:spcBef>
              <a:spcAft>
                <a:spcPts val="0"/>
              </a:spcAft>
              <a:buFont typeface="Arial" panose="020B0604020202020204" pitchFamily="34" charset="0"/>
              <a:buChar char="•"/>
            </a:pPr>
            <a:r>
              <a:rPr lang="sv-SE" sz="1920" dirty="0">
                <a:solidFill>
                  <a:schemeClr val="bg2">
                    <a:lumMod val="10000"/>
                  </a:schemeClr>
                </a:solidFill>
                <a:latin typeface="+mn-lt"/>
              </a:rPr>
              <a:t>Probe length</a:t>
            </a:r>
          </a:p>
          <a:p>
            <a:pPr marL="205740" indent="-205740" eaLnBrk="1" fontAlgn="auto" hangingPunct="1">
              <a:spcBef>
                <a:spcPts val="0"/>
              </a:spcBef>
              <a:spcAft>
                <a:spcPts val="0"/>
              </a:spcAft>
              <a:buFont typeface="Arial" panose="020B0604020202020204" pitchFamily="34" charset="0"/>
              <a:buChar char="•"/>
            </a:pPr>
            <a:r>
              <a:rPr lang="sv-SE" sz="1920" dirty="0">
                <a:solidFill>
                  <a:schemeClr val="bg2">
                    <a:lumMod val="10000"/>
                  </a:schemeClr>
                </a:solidFill>
                <a:latin typeface="+mn-lt"/>
              </a:rPr>
              <a:t>Battery capacity</a:t>
            </a:r>
          </a:p>
          <a:p>
            <a:pPr marL="205740" indent="-205740" eaLnBrk="1" fontAlgn="auto" hangingPunct="1">
              <a:spcBef>
                <a:spcPts val="0"/>
              </a:spcBef>
              <a:spcAft>
                <a:spcPts val="0"/>
              </a:spcAft>
              <a:buFont typeface="Arial" panose="020B0604020202020204" pitchFamily="34" charset="0"/>
              <a:buChar char="•"/>
            </a:pPr>
            <a:r>
              <a:rPr lang="sv-SE" sz="1920" dirty="0">
                <a:solidFill>
                  <a:schemeClr val="bg2">
                    <a:lumMod val="10000"/>
                  </a:schemeClr>
                </a:solidFill>
                <a:latin typeface="+mn-lt"/>
              </a:rPr>
              <a:t>Guarantee</a:t>
            </a:r>
          </a:p>
          <a:p>
            <a:pPr marL="205740" indent="-205740" eaLnBrk="1" fontAlgn="auto" hangingPunct="1">
              <a:spcBef>
                <a:spcPts val="0"/>
              </a:spcBef>
              <a:spcAft>
                <a:spcPts val="0"/>
              </a:spcAft>
              <a:buFont typeface="Arial" panose="020B0604020202020204" pitchFamily="34" charset="0"/>
              <a:buChar char="•"/>
            </a:pPr>
            <a:r>
              <a:rPr lang="sv-SE" sz="1920" dirty="0">
                <a:solidFill>
                  <a:schemeClr val="bg2">
                    <a:lumMod val="10000"/>
                  </a:schemeClr>
                </a:solidFill>
                <a:latin typeface="+mn-lt"/>
              </a:rPr>
              <a:t>Robust</a:t>
            </a:r>
          </a:p>
        </p:txBody>
      </p:sp>
      <p:pic>
        <p:nvPicPr>
          <p:cNvPr id="3" name="Picture 2">
            <a:extLst>
              <a:ext uri="{FF2B5EF4-FFF2-40B4-BE49-F238E27FC236}">
                <a16:creationId xmlns:a16="http://schemas.microsoft.com/office/drawing/2014/main" id="{665B0A5F-4D8D-3F2D-2A91-38E5403F8E3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47467" y="2258170"/>
            <a:ext cx="2177627" cy="2449830"/>
          </a:xfrm>
          <a:prstGeom prst="rect">
            <a:avLst/>
          </a:prstGeom>
        </p:spPr>
      </p:pic>
      <p:pic>
        <p:nvPicPr>
          <p:cNvPr id="8" name="Picture 7">
            <a:extLst>
              <a:ext uri="{FF2B5EF4-FFF2-40B4-BE49-F238E27FC236}">
                <a16:creationId xmlns:a16="http://schemas.microsoft.com/office/drawing/2014/main" id="{A2CA129C-F994-EC37-DE11-3BE36ED67AC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16085" y="2258170"/>
            <a:ext cx="2177627" cy="2449830"/>
          </a:xfrm>
          <a:prstGeom prst="rect">
            <a:avLst/>
          </a:prstGeom>
        </p:spPr>
      </p:pic>
      <p:sp>
        <p:nvSpPr>
          <p:cNvPr id="10" name="TextBox 9">
            <a:extLst>
              <a:ext uri="{FF2B5EF4-FFF2-40B4-BE49-F238E27FC236}">
                <a16:creationId xmlns:a16="http://schemas.microsoft.com/office/drawing/2014/main" id="{6C87DAF3-9016-7B7D-7E93-F722DDB9058C}"/>
              </a:ext>
            </a:extLst>
          </p:cNvPr>
          <p:cNvSpPr txBox="1"/>
          <p:nvPr/>
        </p:nvSpPr>
        <p:spPr>
          <a:xfrm>
            <a:off x="-3625366" y="2192773"/>
            <a:ext cx="3151013" cy="1754326"/>
          </a:xfrm>
          <a:prstGeom prst="rect">
            <a:avLst/>
          </a:prstGeom>
          <a:noFill/>
        </p:spPr>
        <p:txBody>
          <a:bodyPr wrap="square" rtlCol="0">
            <a:spAutoFit/>
          </a:bodyPr>
          <a:lstStyle/>
          <a:p>
            <a:pPr eaLnBrk="1" fontAlgn="auto" hangingPunct="1">
              <a:spcBef>
                <a:spcPts val="0"/>
              </a:spcBef>
              <a:spcAft>
                <a:spcPts val="0"/>
              </a:spcAft>
            </a:pPr>
            <a:r>
              <a:rPr lang="sv-SE" sz="1200" dirty="0">
                <a:solidFill>
                  <a:schemeClr val="bg2">
                    <a:lumMod val="10000"/>
                  </a:schemeClr>
                </a:solidFill>
              </a:rPr>
              <a:t>If we think this is the need we’re in trouble – because who else can support this need</a:t>
            </a:r>
            <a:endParaRPr lang="en-SG" sz="1200" dirty="0">
              <a:solidFill>
                <a:schemeClr val="bg2">
                  <a:lumMod val="10000"/>
                </a:schemeClr>
              </a:solidFill>
            </a:endParaRPr>
          </a:p>
          <a:p>
            <a:pPr eaLnBrk="1" fontAlgn="auto" hangingPunct="1">
              <a:spcBef>
                <a:spcPts val="0"/>
              </a:spcBef>
              <a:spcAft>
                <a:spcPts val="0"/>
              </a:spcAft>
            </a:pPr>
            <a:endParaRPr lang="sv-SE" sz="1200" dirty="0">
              <a:solidFill>
                <a:schemeClr val="bg2">
                  <a:lumMod val="10000"/>
                </a:schemeClr>
              </a:solidFill>
              <a:latin typeface="+mn-lt"/>
            </a:endParaRPr>
          </a:p>
          <a:p>
            <a:pPr eaLnBrk="1" fontAlgn="auto" hangingPunct="1">
              <a:spcBef>
                <a:spcPts val="0"/>
              </a:spcBef>
              <a:spcAft>
                <a:spcPts val="0"/>
              </a:spcAft>
            </a:pPr>
            <a:r>
              <a:rPr lang="sv-SE" sz="1200" dirty="0">
                <a:solidFill>
                  <a:schemeClr val="bg2">
                    <a:lumMod val="10000"/>
                  </a:schemeClr>
                </a:solidFill>
                <a:latin typeface="+mn-lt"/>
              </a:rPr>
              <a:t>We need to understand more about the need, to the extend that we become more unique. The more we know the more we can show the customers our true unique features, and how it’s relevant for them. </a:t>
            </a:r>
            <a:endParaRPr lang="en-SG" sz="1200" dirty="0">
              <a:solidFill>
                <a:schemeClr val="bg2">
                  <a:lumMod val="10000"/>
                </a:schemeClr>
              </a:solidFill>
              <a:latin typeface="+mn-lt"/>
            </a:endParaRPr>
          </a:p>
        </p:txBody>
      </p:sp>
      <p:sp>
        <p:nvSpPr>
          <p:cNvPr id="7" name="Rectangle: Rounded Corners 6">
            <a:extLst>
              <a:ext uri="{FF2B5EF4-FFF2-40B4-BE49-F238E27FC236}">
                <a16:creationId xmlns:a16="http://schemas.microsoft.com/office/drawing/2014/main" id="{BD3D57DE-EF15-4A6D-0C97-EBB4688D1C18}"/>
              </a:ext>
            </a:extLst>
          </p:cNvPr>
          <p:cNvSpPr/>
          <p:nvPr/>
        </p:nvSpPr>
        <p:spPr>
          <a:xfrm>
            <a:off x="7056157" y="1622064"/>
            <a:ext cx="2697480" cy="1066800"/>
          </a:xfrm>
          <a:prstGeom prst="roundRect">
            <a:avLst/>
          </a:prstGeom>
          <a:solidFill>
            <a:schemeClr val="tx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1" name="Rectangle: Rounded Corners 10">
            <a:extLst>
              <a:ext uri="{FF2B5EF4-FFF2-40B4-BE49-F238E27FC236}">
                <a16:creationId xmlns:a16="http://schemas.microsoft.com/office/drawing/2014/main" id="{9A365107-AA19-AFC4-0B2B-A2FF0128944C}"/>
              </a:ext>
            </a:extLst>
          </p:cNvPr>
          <p:cNvSpPr/>
          <p:nvPr/>
        </p:nvSpPr>
        <p:spPr>
          <a:xfrm>
            <a:off x="1587539" y="1622064"/>
            <a:ext cx="2697480" cy="1066800"/>
          </a:xfrm>
          <a:prstGeom prst="roundRect">
            <a:avLst/>
          </a:prstGeom>
          <a:solidFill>
            <a:schemeClr val="accent2"/>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2" name="TextBox 11">
            <a:extLst>
              <a:ext uri="{FF2B5EF4-FFF2-40B4-BE49-F238E27FC236}">
                <a16:creationId xmlns:a16="http://schemas.microsoft.com/office/drawing/2014/main" id="{B7E33FE4-7AC1-5BCD-4ACC-FEB7E49696D4}"/>
              </a:ext>
            </a:extLst>
          </p:cNvPr>
          <p:cNvSpPr txBox="1"/>
          <p:nvPr/>
        </p:nvSpPr>
        <p:spPr>
          <a:xfrm>
            <a:off x="1448855" y="1804600"/>
            <a:ext cx="2974848" cy="683264"/>
          </a:xfrm>
          <a:prstGeom prst="rect">
            <a:avLst/>
          </a:prstGeom>
          <a:noFill/>
        </p:spPr>
        <p:txBody>
          <a:bodyPr wrap="square" rtlCol="0">
            <a:spAutoFit/>
          </a:bodyPr>
          <a:lstStyle/>
          <a:p>
            <a:pPr algn="ctr" eaLnBrk="1" fontAlgn="auto" hangingPunct="1">
              <a:spcBef>
                <a:spcPts val="0"/>
              </a:spcBef>
              <a:spcAft>
                <a:spcPts val="0"/>
              </a:spcAft>
            </a:pPr>
            <a:r>
              <a:rPr lang="sv-SE" sz="3840" dirty="0">
                <a:solidFill>
                  <a:schemeClr val="bg1"/>
                </a:solidFill>
                <a:latin typeface="+mn-lt"/>
              </a:rPr>
              <a:t>Feature </a:t>
            </a:r>
            <a:endParaRPr lang="en-SG" sz="3840" dirty="0">
              <a:solidFill>
                <a:schemeClr val="bg1"/>
              </a:solidFill>
              <a:latin typeface="+mn-lt"/>
            </a:endParaRPr>
          </a:p>
        </p:txBody>
      </p:sp>
      <p:sp>
        <p:nvSpPr>
          <p:cNvPr id="13" name="TextBox 12">
            <a:extLst>
              <a:ext uri="{FF2B5EF4-FFF2-40B4-BE49-F238E27FC236}">
                <a16:creationId xmlns:a16="http://schemas.microsoft.com/office/drawing/2014/main" id="{14A116AC-D78C-F866-130B-90389DF208A0}"/>
              </a:ext>
            </a:extLst>
          </p:cNvPr>
          <p:cNvSpPr txBox="1"/>
          <p:nvPr/>
        </p:nvSpPr>
        <p:spPr>
          <a:xfrm>
            <a:off x="6917473" y="1804600"/>
            <a:ext cx="2974848" cy="683264"/>
          </a:xfrm>
          <a:prstGeom prst="rect">
            <a:avLst/>
          </a:prstGeom>
          <a:noFill/>
        </p:spPr>
        <p:txBody>
          <a:bodyPr wrap="square" rtlCol="0">
            <a:spAutoFit/>
          </a:bodyPr>
          <a:lstStyle/>
          <a:p>
            <a:pPr algn="ctr" eaLnBrk="1" fontAlgn="auto" hangingPunct="1">
              <a:spcBef>
                <a:spcPts val="0"/>
              </a:spcBef>
              <a:spcAft>
                <a:spcPts val="0"/>
              </a:spcAft>
            </a:pPr>
            <a:r>
              <a:rPr lang="sv-SE" sz="3840" dirty="0">
                <a:solidFill>
                  <a:schemeClr val="bg1"/>
                </a:solidFill>
                <a:latin typeface="+mn-lt"/>
              </a:rPr>
              <a:t>Benefit</a:t>
            </a:r>
            <a:r>
              <a:rPr lang="sv-SE" sz="3840" dirty="0">
                <a:solidFill>
                  <a:schemeClr val="bg2">
                    <a:lumMod val="10000"/>
                  </a:schemeClr>
                </a:solidFill>
                <a:latin typeface="+mn-lt"/>
              </a:rPr>
              <a:t> </a:t>
            </a:r>
            <a:endParaRPr lang="en-SG" sz="3840" dirty="0">
              <a:solidFill>
                <a:schemeClr val="bg2">
                  <a:lumMod val="10000"/>
                </a:schemeClr>
              </a:solidFill>
              <a:latin typeface="+mn-lt"/>
            </a:endParaRPr>
          </a:p>
        </p:txBody>
      </p:sp>
      <p:sp>
        <p:nvSpPr>
          <p:cNvPr id="14" name="TextBox 13">
            <a:extLst>
              <a:ext uri="{FF2B5EF4-FFF2-40B4-BE49-F238E27FC236}">
                <a16:creationId xmlns:a16="http://schemas.microsoft.com/office/drawing/2014/main" id="{3C924EF1-F5D2-9685-C3E1-ED5250951879}"/>
              </a:ext>
            </a:extLst>
          </p:cNvPr>
          <p:cNvSpPr txBox="1"/>
          <p:nvPr/>
        </p:nvSpPr>
        <p:spPr>
          <a:xfrm>
            <a:off x="7056157" y="4736838"/>
            <a:ext cx="4537877" cy="1274195"/>
          </a:xfrm>
          <a:prstGeom prst="rect">
            <a:avLst/>
          </a:prstGeom>
          <a:noFill/>
        </p:spPr>
        <p:txBody>
          <a:bodyPr wrap="square" rtlCol="0">
            <a:spAutoFit/>
          </a:bodyPr>
          <a:lstStyle/>
          <a:p>
            <a:pPr marL="205740" indent="-205740" eaLnBrk="1" fontAlgn="auto" hangingPunct="1">
              <a:spcBef>
                <a:spcPts val="0"/>
              </a:spcBef>
              <a:spcAft>
                <a:spcPts val="0"/>
              </a:spcAft>
              <a:buFont typeface="Arial" panose="020B0604020202020204" pitchFamily="34" charset="0"/>
              <a:buChar char="•"/>
            </a:pPr>
            <a:r>
              <a:rPr lang="sv-SE" sz="1920" dirty="0">
                <a:solidFill>
                  <a:schemeClr val="bg2">
                    <a:lumMod val="10000"/>
                  </a:schemeClr>
                </a:solidFill>
                <a:latin typeface="+mn-lt"/>
              </a:rPr>
              <a:t>Temp reading in the right place</a:t>
            </a:r>
          </a:p>
          <a:p>
            <a:pPr marL="205740" indent="-205740" eaLnBrk="1" fontAlgn="auto" hangingPunct="1">
              <a:spcBef>
                <a:spcPts val="0"/>
              </a:spcBef>
              <a:spcAft>
                <a:spcPts val="0"/>
              </a:spcAft>
              <a:buFont typeface="Arial" panose="020B0604020202020204" pitchFamily="34" charset="0"/>
              <a:buChar char="•"/>
            </a:pPr>
            <a:r>
              <a:rPr lang="sv-SE" sz="1920" dirty="0">
                <a:solidFill>
                  <a:schemeClr val="bg2">
                    <a:lumMod val="10000"/>
                  </a:schemeClr>
                </a:solidFill>
                <a:latin typeface="+mn-lt"/>
              </a:rPr>
              <a:t>Less hassle</a:t>
            </a:r>
          </a:p>
          <a:p>
            <a:pPr marL="205740" indent="-205740" eaLnBrk="1" fontAlgn="auto" hangingPunct="1">
              <a:spcBef>
                <a:spcPts val="0"/>
              </a:spcBef>
              <a:spcAft>
                <a:spcPts val="0"/>
              </a:spcAft>
              <a:buFont typeface="Arial" panose="020B0604020202020204" pitchFamily="34" charset="0"/>
              <a:buChar char="•"/>
            </a:pPr>
            <a:r>
              <a:rPr lang="sv-SE" sz="1920" dirty="0">
                <a:solidFill>
                  <a:schemeClr val="bg2">
                    <a:lumMod val="10000"/>
                  </a:schemeClr>
                </a:solidFill>
                <a:latin typeface="+mn-lt"/>
              </a:rPr>
              <a:t>Predictability in budgeting</a:t>
            </a:r>
          </a:p>
          <a:p>
            <a:pPr marL="205740" indent="-205740" eaLnBrk="1" fontAlgn="auto" hangingPunct="1">
              <a:spcBef>
                <a:spcPts val="0"/>
              </a:spcBef>
              <a:spcAft>
                <a:spcPts val="0"/>
              </a:spcAft>
              <a:buFont typeface="Arial" panose="020B0604020202020204" pitchFamily="34" charset="0"/>
              <a:buChar char="•"/>
            </a:pPr>
            <a:r>
              <a:rPr lang="en-SG" sz="1920" dirty="0">
                <a:solidFill>
                  <a:schemeClr val="bg2">
                    <a:lumMod val="10000"/>
                  </a:schemeClr>
                </a:solidFill>
                <a:latin typeface="+mn-lt"/>
              </a:rPr>
              <a:t>Don’t break easily</a:t>
            </a:r>
          </a:p>
        </p:txBody>
      </p:sp>
      <p:cxnSp>
        <p:nvCxnSpPr>
          <p:cNvPr id="16" name="Straight Arrow Connector 15">
            <a:extLst>
              <a:ext uri="{FF2B5EF4-FFF2-40B4-BE49-F238E27FC236}">
                <a16:creationId xmlns:a16="http://schemas.microsoft.com/office/drawing/2014/main" id="{2818221C-5970-7DA9-F65D-E1B76E941958}"/>
              </a:ext>
            </a:extLst>
          </p:cNvPr>
          <p:cNvCxnSpPr>
            <a:cxnSpLocks/>
          </p:cNvCxnSpPr>
          <p:nvPr/>
        </p:nvCxnSpPr>
        <p:spPr>
          <a:xfrm>
            <a:off x="3737372" y="4907999"/>
            <a:ext cx="3291840" cy="0"/>
          </a:xfrm>
          <a:prstGeom prst="straightConnector1">
            <a:avLst/>
          </a:prstGeom>
          <a:ln>
            <a:gradFill flip="none" rotWithShape="1">
              <a:gsLst>
                <a:gs pos="0">
                  <a:schemeClr val="tx1"/>
                </a:gs>
                <a:gs pos="100000">
                  <a:schemeClr val="accent2"/>
                </a:gs>
              </a:gsLst>
              <a:lin ang="10800000" scaled="1"/>
              <a:tileRect/>
            </a:gra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B3DB213-4241-AEBF-8215-71662035887A}"/>
              </a:ext>
            </a:extLst>
          </p:cNvPr>
          <p:cNvCxnSpPr>
            <a:cxnSpLocks/>
          </p:cNvCxnSpPr>
          <p:nvPr/>
        </p:nvCxnSpPr>
        <p:spPr>
          <a:xfrm>
            <a:off x="3737372" y="5214541"/>
            <a:ext cx="3291840" cy="0"/>
          </a:xfrm>
          <a:prstGeom prst="straightConnector1">
            <a:avLst/>
          </a:prstGeom>
          <a:ln>
            <a:gradFill flip="none" rotWithShape="1">
              <a:gsLst>
                <a:gs pos="0">
                  <a:schemeClr val="tx1"/>
                </a:gs>
                <a:gs pos="100000">
                  <a:schemeClr val="accent2"/>
                </a:gs>
              </a:gsLst>
              <a:lin ang="10800000" scaled="1"/>
              <a:tileRect/>
            </a:gra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8E38CC5-3723-1857-E96D-ADD138DCCE87}"/>
              </a:ext>
            </a:extLst>
          </p:cNvPr>
          <p:cNvCxnSpPr>
            <a:cxnSpLocks/>
          </p:cNvCxnSpPr>
          <p:nvPr/>
        </p:nvCxnSpPr>
        <p:spPr>
          <a:xfrm>
            <a:off x="3737372" y="5521084"/>
            <a:ext cx="3291840" cy="0"/>
          </a:xfrm>
          <a:prstGeom prst="straightConnector1">
            <a:avLst/>
          </a:prstGeom>
          <a:ln>
            <a:gradFill flip="none" rotWithShape="1">
              <a:gsLst>
                <a:gs pos="0">
                  <a:schemeClr val="tx1"/>
                </a:gs>
                <a:gs pos="100000">
                  <a:schemeClr val="accent2"/>
                </a:gs>
              </a:gsLst>
              <a:lin ang="10800000" scaled="1"/>
              <a:tileRect/>
            </a:gra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910978EE-DA89-D8D2-EE7D-DEA4E9917018}"/>
              </a:ext>
            </a:extLst>
          </p:cNvPr>
          <p:cNvCxnSpPr>
            <a:cxnSpLocks/>
          </p:cNvCxnSpPr>
          <p:nvPr/>
        </p:nvCxnSpPr>
        <p:spPr>
          <a:xfrm>
            <a:off x="3737372" y="5827627"/>
            <a:ext cx="3291840" cy="0"/>
          </a:xfrm>
          <a:prstGeom prst="straightConnector1">
            <a:avLst/>
          </a:prstGeom>
          <a:ln>
            <a:gradFill flip="none" rotWithShape="1">
              <a:gsLst>
                <a:gs pos="0">
                  <a:schemeClr val="tx1"/>
                </a:gs>
                <a:gs pos="100000">
                  <a:schemeClr val="accent2"/>
                </a:gs>
              </a:gsLst>
              <a:lin ang="10800000" scaled="1"/>
              <a:tileRect/>
            </a:gra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3DB94BC-A9D2-E3A7-BB00-3E03126357BA}"/>
              </a:ext>
            </a:extLst>
          </p:cNvPr>
          <p:cNvSpPr txBox="1"/>
          <p:nvPr/>
        </p:nvSpPr>
        <p:spPr>
          <a:xfrm>
            <a:off x="3779554" y="4497336"/>
            <a:ext cx="3689282" cy="387798"/>
          </a:xfrm>
          <a:prstGeom prst="rect">
            <a:avLst/>
          </a:prstGeom>
          <a:noFill/>
        </p:spPr>
        <p:txBody>
          <a:bodyPr wrap="square" rtlCol="0">
            <a:spAutoFit/>
          </a:bodyPr>
          <a:lstStyle/>
          <a:p>
            <a:pPr algn="ctr" eaLnBrk="1" fontAlgn="auto" hangingPunct="1">
              <a:spcBef>
                <a:spcPts val="0"/>
              </a:spcBef>
              <a:spcAft>
                <a:spcPts val="0"/>
              </a:spcAft>
            </a:pPr>
            <a:r>
              <a:rPr lang="sv-SE" sz="1920" i="1" dirty="0">
                <a:solidFill>
                  <a:schemeClr val="bg2">
                    <a:lumMod val="10000"/>
                  </a:schemeClr>
                </a:solidFill>
                <a:latin typeface="+mn-lt"/>
              </a:rPr>
              <a:t>So that you...</a:t>
            </a:r>
            <a:endParaRPr lang="en-SG" sz="1920" i="1" dirty="0">
              <a:solidFill>
                <a:schemeClr val="bg2">
                  <a:lumMod val="10000"/>
                </a:schemeClr>
              </a:solidFill>
              <a:latin typeface="+mn-lt"/>
            </a:endParaRPr>
          </a:p>
        </p:txBody>
      </p:sp>
    </p:spTree>
    <p:extLst>
      <p:ext uri="{BB962C8B-B14F-4D97-AF65-F5344CB8AC3E}">
        <p14:creationId xmlns:p14="http://schemas.microsoft.com/office/powerpoint/2010/main" val="205187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par>
                                <p:cTn id="41" presetID="10" presetClass="entr" presetSubtype="0" fill="hold" nodeType="with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P spid="11" grpId="0" animBg="1"/>
      <p:bldP spid="12" grpId="0"/>
      <p:bldP spid="13" grpId="0"/>
      <p:bldP spid="14" grpId="0"/>
      <p:bldP spid="2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03DB41A-612F-0AAD-5902-60C49F8E8F0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08124" y="133293"/>
            <a:ext cx="2093836" cy="2759838"/>
          </a:xfrm>
          <a:prstGeom prst="rect">
            <a:avLst/>
          </a:prstGeom>
        </p:spPr>
      </p:pic>
      <p:grpSp>
        <p:nvGrpSpPr>
          <p:cNvPr id="35" name="Group 34">
            <a:extLst>
              <a:ext uri="{FF2B5EF4-FFF2-40B4-BE49-F238E27FC236}">
                <a16:creationId xmlns:a16="http://schemas.microsoft.com/office/drawing/2014/main" id="{CC37E983-BB3B-D333-489F-A2CED75F5FEC}"/>
              </a:ext>
            </a:extLst>
          </p:cNvPr>
          <p:cNvGrpSpPr/>
          <p:nvPr/>
        </p:nvGrpSpPr>
        <p:grpSpPr>
          <a:xfrm>
            <a:off x="1275646" y="2802608"/>
            <a:ext cx="2534178" cy="574113"/>
            <a:chOff x="243264" y="240428"/>
            <a:chExt cx="2111815" cy="478428"/>
          </a:xfrm>
        </p:grpSpPr>
        <p:sp>
          <p:nvSpPr>
            <p:cNvPr id="22" name="Rectangle 21">
              <a:extLst>
                <a:ext uri="{FF2B5EF4-FFF2-40B4-BE49-F238E27FC236}">
                  <a16:creationId xmlns:a16="http://schemas.microsoft.com/office/drawing/2014/main" id="{4A8EC65B-A29F-1B22-637A-3B2C09F6A6E9}"/>
                </a:ext>
              </a:extLst>
            </p:cNvPr>
            <p:cNvSpPr/>
            <p:nvPr/>
          </p:nvSpPr>
          <p:spPr>
            <a:xfrm>
              <a:off x="344479" y="240428"/>
              <a:ext cx="1909384" cy="4784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5" name="TextBox 4">
              <a:extLst>
                <a:ext uri="{FF2B5EF4-FFF2-40B4-BE49-F238E27FC236}">
                  <a16:creationId xmlns:a16="http://schemas.microsoft.com/office/drawing/2014/main" id="{EA070DED-E568-10B7-85DF-565AE6CEEC25}"/>
                </a:ext>
              </a:extLst>
            </p:cNvPr>
            <p:cNvSpPr txBox="1"/>
            <p:nvPr/>
          </p:nvSpPr>
          <p:spPr>
            <a:xfrm>
              <a:off x="243264" y="310365"/>
              <a:ext cx="2111815" cy="323165"/>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bg2">
                      <a:lumMod val="10000"/>
                    </a:schemeClr>
                  </a:solidFill>
                  <a:latin typeface="+mn-lt"/>
                </a:rPr>
                <a:t>Product features</a:t>
              </a:r>
              <a:endParaRPr lang="en-SG" sz="1920" dirty="0">
                <a:solidFill>
                  <a:schemeClr val="bg2">
                    <a:lumMod val="10000"/>
                  </a:schemeClr>
                </a:solidFill>
                <a:latin typeface="+mn-lt"/>
              </a:endParaRPr>
            </a:p>
          </p:txBody>
        </p:sp>
      </p:grpSp>
      <p:grpSp>
        <p:nvGrpSpPr>
          <p:cNvPr id="46" name="Group 45">
            <a:extLst>
              <a:ext uri="{FF2B5EF4-FFF2-40B4-BE49-F238E27FC236}">
                <a16:creationId xmlns:a16="http://schemas.microsoft.com/office/drawing/2014/main" id="{46B1DCD6-7AEE-B927-14CF-34382335F2DB}"/>
              </a:ext>
            </a:extLst>
          </p:cNvPr>
          <p:cNvGrpSpPr/>
          <p:nvPr/>
        </p:nvGrpSpPr>
        <p:grpSpPr>
          <a:xfrm>
            <a:off x="6049316" y="4812721"/>
            <a:ext cx="2291261" cy="683265"/>
            <a:chOff x="5132306" y="3509077"/>
            <a:chExt cx="1909384" cy="569387"/>
          </a:xfrm>
        </p:grpSpPr>
        <p:sp>
          <p:nvSpPr>
            <p:cNvPr id="43" name="Rectangle 42">
              <a:extLst>
                <a:ext uri="{FF2B5EF4-FFF2-40B4-BE49-F238E27FC236}">
                  <a16:creationId xmlns:a16="http://schemas.microsoft.com/office/drawing/2014/main" id="{62C089AE-D7D7-8BFA-9E97-4F07B2EC3845}"/>
                </a:ext>
              </a:extLst>
            </p:cNvPr>
            <p:cNvSpPr/>
            <p:nvPr/>
          </p:nvSpPr>
          <p:spPr>
            <a:xfrm>
              <a:off x="5132306" y="3562250"/>
              <a:ext cx="1909384" cy="4784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6" name="TextBox 5">
              <a:extLst>
                <a:ext uri="{FF2B5EF4-FFF2-40B4-BE49-F238E27FC236}">
                  <a16:creationId xmlns:a16="http://schemas.microsoft.com/office/drawing/2014/main" id="{A0FEBCBF-C7B1-F7E4-AAD2-227338B98AA2}"/>
                </a:ext>
              </a:extLst>
            </p:cNvPr>
            <p:cNvSpPr txBox="1"/>
            <p:nvPr/>
          </p:nvSpPr>
          <p:spPr>
            <a:xfrm>
              <a:off x="5342029" y="3509077"/>
              <a:ext cx="1489938" cy="569387"/>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bg2">
                      <a:lumMod val="10000"/>
                    </a:schemeClr>
                  </a:solidFill>
                  <a:latin typeface="+mn-lt"/>
                </a:rPr>
                <a:t>Product features</a:t>
              </a:r>
              <a:endParaRPr lang="en-SG" sz="1920" dirty="0">
                <a:solidFill>
                  <a:schemeClr val="bg2">
                    <a:lumMod val="10000"/>
                  </a:schemeClr>
                </a:solidFill>
                <a:latin typeface="+mn-lt"/>
              </a:endParaRPr>
            </a:p>
          </p:txBody>
        </p:sp>
      </p:grpSp>
      <p:grpSp>
        <p:nvGrpSpPr>
          <p:cNvPr id="36" name="Group 35">
            <a:extLst>
              <a:ext uri="{FF2B5EF4-FFF2-40B4-BE49-F238E27FC236}">
                <a16:creationId xmlns:a16="http://schemas.microsoft.com/office/drawing/2014/main" id="{3AA95284-6569-D7F5-D8F2-6A21568D3ED3}"/>
              </a:ext>
            </a:extLst>
          </p:cNvPr>
          <p:cNvGrpSpPr/>
          <p:nvPr/>
        </p:nvGrpSpPr>
        <p:grpSpPr>
          <a:xfrm>
            <a:off x="6948280" y="2802607"/>
            <a:ext cx="2534178" cy="574114"/>
            <a:chOff x="5270209" y="2291506"/>
            <a:chExt cx="2111815" cy="478428"/>
          </a:xfrm>
        </p:grpSpPr>
        <p:sp>
          <p:nvSpPr>
            <p:cNvPr id="26" name="Rectangle 25">
              <a:extLst>
                <a:ext uri="{FF2B5EF4-FFF2-40B4-BE49-F238E27FC236}">
                  <a16:creationId xmlns:a16="http://schemas.microsoft.com/office/drawing/2014/main" id="{A98B71DD-1419-458D-F18A-176F61D831F9}"/>
                </a:ext>
              </a:extLst>
            </p:cNvPr>
            <p:cNvSpPr/>
            <p:nvPr/>
          </p:nvSpPr>
          <p:spPr>
            <a:xfrm>
              <a:off x="5371424" y="2291506"/>
              <a:ext cx="1909384" cy="47842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8" name="TextBox 7">
              <a:extLst>
                <a:ext uri="{FF2B5EF4-FFF2-40B4-BE49-F238E27FC236}">
                  <a16:creationId xmlns:a16="http://schemas.microsoft.com/office/drawing/2014/main" id="{4AF6883D-F96C-1FC5-4BE4-BBBAE39035EE}"/>
                </a:ext>
              </a:extLst>
            </p:cNvPr>
            <p:cNvSpPr txBox="1"/>
            <p:nvPr/>
          </p:nvSpPr>
          <p:spPr>
            <a:xfrm>
              <a:off x="5270209" y="2361443"/>
              <a:ext cx="2111815" cy="323165"/>
            </a:xfrm>
            <a:prstGeom prst="rect">
              <a:avLst/>
            </a:prstGeom>
            <a:noFill/>
          </p:spPr>
          <p:txBody>
            <a:bodyPr wrap="square" rtlCol="0">
              <a:spAutoFit/>
            </a:bodyPr>
            <a:lstStyle/>
            <a:p>
              <a:pPr algn="ctr" eaLnBrk="1" fontAlgn="auto" hangingPunct="1">
                <a:spcBef>
                  <a:spcPts val="0"/>
                </a:spcBef>
                <a:spcAft>
                  <a:spcPts val="0"/>
                </a:spcAft>
              </a:pPr>
              <a:r>
                <a:rPr lang="sv-SE" sz="1920" b="1" dirty="0">
                  <a:solidFill>
                    <a:schemeClr val="bg1"/>
                  </a:solidFill>
                  <a:latin typeface="+mn-lt"/>
                </a:rPr>
                <a:t>Product sales</a:t>
              </a:r>
              <a:endParaRPr lang="en-SG" sz="1920" b="1" dirty="0">
                <a:solidFill>
                  <a:schemeClr val="bg1"/>
                </a:solidFill>
                <a:latin typeface="+mn-lt"/>
              </a:endParaRPr>
            </a:p>
          </p:txBody>
        </p:sp>
      </p:grpSp>
      <p:grpSp>
        <p:nvGrpSpPr>
          <p:cNvPr id="40" name="Group 39">
            <a:extLst>
              <a:ext uri="{FF2B5EF4-FFF2-40B4-BE49-F238E27FC236}">
                <a16:creationId xmlns:a16="http://schemas.microsoft.com/office/drawing/2014/main" id="{D29C6FA1-F06A-E05F-60CF-AC3C3C0BC204}"/>
              </a:ext>
            </a:extLst>
          </p:cNvPr>
          <p:cNvGrpSpPr/>
          <p:nvPr/>
        </p:nvGrpSpPr>
        <p:grpSpPr>
          <a:xfrm>
            <a:off x="791214" y="5663666"/>
            <a:ext cx="2291261" cy="683265"/>
            <a:chOff x="1573387" y="3754877"/>
            <a:chExt cx="1909384" cy="569387"/>
          </a:xfrm>
        </p:grpSpPr>
        <p:sp>
          <p:nvSpPr>
            <p:cNvPr id="28" name="Rectangle 27">
              <a:extLst>
                <a:ext uri="{FF2B5EF4-FFF2-40B4-BE49-F238E27FC236}">
                  <a16:creationId xmlns:a16="http://schemas.microsoft.com/office/drawing/2014/main" id="{0313F0D1-4FBB-3961-EC12-18E56BA043DA}"/>
                </a:ext>
              </a:extLst>
            </p:cNvPr>
            <p:cNvSpPr/>
            <p:nvPr/>
          </p:nvSpPr>
          <p:spPr>
            <a:xfrm>
              <a:off x="1573387" y="3811940"/>
              <a:ext cx="1909384" cy="4784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9" name="TextBox 8">
              <a:extLst>
                <a:ext uri="{FF2B5EF4-FFF2-40B4-BE49-F238E27FC236}">
                  <a16:creationId xmlns:a16="http://schemas.microsoft.com/office/drawing/2014/main" id="{6270EA27-C647-6A02-4842-861128099E24}"/>
                </a:ext>
              </a:extLst>
            </p:cNvPr>
            <p:cNvSpPr txBox="1"/>
            <p:nvPr/>
          </p:nvSpPr>
          <p:spPr>
            <a:xfrm>
              <a:off x="1698652" y="3754877"/>
              <a:ext cx="1658854" cy="569387"/>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bg2">
                      <a:lumMod val="10000"/>
                    </a:schemeClr>
                  </a:solidFill>
                  <a:latin typeface="+mn-lt"/>
                </a:rPr>
                <a:t>Customer’s problem</a:t>
              </a:r>
            </a:p>
          </p:txBody>
        </p:sp>
      </p:grpSp>
      <p:grpSp>
        <p:nvGrpSpPr>
          <p:cNvPr id="41" name="Group 40">
            <a:extLst>
              <a:ext uri="{FF2B5EF4-FFF2-40B4-BE49-F238E27FC236}">
                <a16:creationId xmlns:a16="http://schemas.microsoft.com/office/drawing/2014/main" id="{76C548D2-1D53-37A0-2B49-666E05E9D771}"/>
              </a:ext>
            </a:extLst>
          </p:cNvPr>
          <p:cNvGrpSpPr/>
          <p:nvPr/>
        </p:nvGrpSpPr>
        <p:grpSpPr>
          <a:xfrm>
            <a:off x="791214" y="4876522"/>
            <a:ext cx="2291261" cy="574113"/>
            <a:chOff x="2663120" y="4012133"/>
            <a:chExt cx="1909384" cy="478428"/>
          </a:xfrm>
        </p:grpSpPr>
        <p:sp>
          <p:nvSpPr>
            <p:cNvPr id="31" name="Rectangle 30">
              <a:extLst>
                <a:ext uri="{FF2B5EF4-FFF2-40B4-BE49-F238E27FC236}">
                  <a16:creationId xmlns:a16="http://schemas.microsoft.com/office/drawing/2014/main" id="{3777D710-7D68-A283-D3E8-3E42A3FF0CAB}"/>
                </a:ext>
              </a:extLst>
            </p:cNvPr>
            <p:cNvSpPr/>
            <p:nvPr/>
          </p:nvSpPr>
          <p:spPr>
            <a:xfrm>
              <a:off x="2663120" y="4012133"/>
              <a:ext cx="1909384" cy="4784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0" name="TextBox 9">
              <a:extLst>
                <a:ext uri="{FF2B5EF4-FFF2-40B4-BE49-F238E27FC236}">
                  <a16:creationId xmlns:a16="http://schemas.microsoft.com/office/drawing/2014/main" id="{CE81A50A-7140-8760-985C-B4A1795B369A}"/>
                </a:ext>
              </a:extLst>
            </p:cNvPr>
            <p:cNvSpPr txBox="1"/>
            <p:nvPr/>
          </p:nvSpPr>
          <p:spPr>
            <a:xfrm>
              <a:off x="2788385" y="4098660"/>
              <a:ext cx="1658854" cy="323165"/>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bg2">
                      <a:lumMod val="10000"/>
                    </a:schemeClr>
                  </a:solidFill>
                  <a:latin typeface="+mn-lt"/>
                </a:rPr>
                <a:t>Circumstance</a:t>
              </a:r>
              <a:endParaRPr lang="en-SG" sz="1920" dirty="0">
                <a:solidFill>
                  <a:schemeClr val="bg2">
                    <a:lumMod val="10000"/>
                  </a:schemeClr>
                </a:solidFill>
                <a:latin typeface="+mn-lt"/>
              </a:endParaRPr>
            </a:p>
          </p:txBody>
        </p:sp>
      </p:grpSp>
      <p:grpSp>
        <p:nvGrpSpPr>
          <p:cNvPr id="45" name="Group 44">
            <a:extLst>
              <a:ext uri="{FF2B5EF4-FFF2-40B4-BE49-F238E27FC236}">
                <a16:creationId xmlns:a16="http://schemas.microsoft.com/office/drawing/2014/main" id="{495472E2-0663-6D72-957B-0C8EA93D288A}"/>
              </a:ext>
            </a:extLst>
          </p:cNvPr>
          <p:cNvGrpSpPr/>
          <p:nvPr/>
        </p:nvGrpSpPr>
        <p:grpSpPr>
          <a:xfrm>
            <a:off x="3420265" y="4876525"/>
            <a:ext cx="2291261" cy="574114"/>
            <a:chOff x="2753508" y="3652035"/>
            <a:chExt cx="1909384" cy="478428"/>
          </a:xfrm>
        </p:grpSpPr>
        <p:sp>
          <p:nvSpPr>
            <p:cNvPr id="42" name="Rectangle 41">
              <a:extLst>
                <a:ext uri="{FF2B5EF4-FFF2-40B4-BE49-F238E27FC236}">
                  <a16:creationId xmlns:a16="http://schemas.microsoft.com/office/drawing/2014/main" id="{E8E1F8D9-BEBE-7AFA-4695-2E5B31B14A1D}"/>
                </a:ext>
              </a:extLst>
            </p:cNvPr>
            <p:cNvSpPr/>
            <p:nvPr/>
          </p:nvSpPr>
          <p:spPr>
            <a:xfrm>
              <a:off x="2753508" y="3652035"/>
              <a:ext cx="1909384" cy="4784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1" name="TextBox 10">
              <a:extLst>
                <a:ext uri="{FF2B5EF4-FFF2-40B4-BE49-F238E27FC236}">
                  <a16:creationId xmlns:a16="http://schemas.microsoft.com/office/drawing/2014/main" id="{1684162F-1F04-32DA-A497-C65768CAB92B}"/>
                </a:ext>
              </a:extLst>
            </p:cNvPr>
            <p:cNvSpPr txBox="1"/>
            <p:nvPr/>
          </p:nvSpPr>
          <p:spPr>
            <a:xfrm>
              <a:off x="2878773" y="3725862"/>
              <a:ext cx="1658854" cy="323165"/>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bg2">
                      <a:lumMod val="10000"/>
                    </a:schemeClr>
                  </a:solidFill>
                  <a:latin typeface="+mn-lt"/>
                </a:rPr>
                <a:t>True need</a:t>
              </a:r>
              <a:endParaRPr lang="en-SG" sz="1920" dirty="0">
                <a:solidFill>
                  <a:schemeClr val="bg2">
                    <a:lumMod val="10000"/>
                  </a:schemeClr>
                </a:solidFill>
                <a:latin typeface="+mn-lt"/>
              </a:endParaRPr>
            </a:p>
          </p:txBody>
        </p:sp>
      </p:grpSp>
      <p:grpSp>
        <p:nvGrpSpPr>
          <p:cNvPr id="39" name="Group 38">
            <a:extLst>
              <a:ext uri="{FF2B5EF4-FFF2-40B4-BE49-F238E27FC236}">
                <a16:creationId xmlns:a16="http://schemas.microsoft.com/office/drawing/2014/main" id="{36C1AAC4-1412-F485-C235-F86A50A50154}"/>
              </a:ext>
            </a:extLst>
          </p:cNvPr>
          <p:cNvGrpSpPr/>
          <p:nvPr/>
        </p:nvGrpSpPr>
        <p:grpSpPr>
          <a:xfrm>
            <a:off x="3420265" y="5732138"/>
            <a:ext cx="2291261" cy="574114"/>
            <a:chOff x="244244" y="3360168"/>
            <a:chExt cx="1909384" cy="478428"/>
          </a:xfrm>
        </p:grpSpPr>
        <p:sp>
          <p:nvSpPr>
            <p:cNvPr id="29" name="Rectangle 28">
              <a:extLst>
                <a:ext uri="{FF2B5EF4-FFF2-40B4-BE49-F238E27FC236}">
                  <a16:creationId xmlns:a16="http://schemas.microsoft.com/office/drawing/2014/main" id="{F42AD4B3-CE9A-E7E1-2300-E13F08FF8A06}"/>
                </a:ext>
              </a:extLst>
            </p:cNvPr>
            <p:cNvSpPr/>
            <p:nvPr/>
          </p:nvSpPr>
          <p:spPr>
            <a:xfrm>
              <a:off x="244244" y="3360168"/>
              <a:ext cx="1909384" cy="4784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2" name="TextBox 11">
              <a:extLst>
                <a:ext uri="{FF2B5EF4-FFF2-40B4-BE49-F238E27FC236}">
                  <a16:creationId xmlns:a16="http://schemas.microsoft.com/office/drawing/2014/main" id="{7A29D413-A378-AECA-C219-6FFDB202EE39}"/>
                </a:ext>
              </a:extLst>
            </p:cNvPr>
            <p:cNvSpPr txBox="1"/>
            <p:nvPr/>
          </p:nvSpPr>
          <p:spPr>
            <a:xfrm>
              <a:off x="465307" y="3417405"/>
              <a:ext cx="1467259" cy="323165"/>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bg2">
                      <a:lumMod val="10000"/>
                    </a:schemeClr>
                  </a:solidFill>
                  <a:latin typeface="+mn-lt"/>
                </a:rPr>
                <a:t>Persona</a:t>
              </a:r>
            </a:p>
          </p:txBody>
        </p:sp>
      </p:grpSp>
      <p:grpSp>
        <p:nvGrpSpPr>
          <p:cNvPr id="47" name="Group 46">
            <a:extLst>
              <a:ext uri="{FF2B5EF4-FFF2-40B4-BE49-F238E27FC236}">
                <a16:creationId xmlns:a16="http://schemas.microsoft.com/office/drawing/2014/main" id="{485F81BF-6B31-07D2-B4AC-49B3E90D0FE9}"/>
              </a:ext>
            </a:extLst>
          </p:cNvPr>
          <p:cNvGrpSpPr/>
          <p:nvPr/>
        </p:nvGrpSpPr>
        <p:grpSpPr>
          <a:xfrm>
            <a:off x="6049316" y="5732135"/>
            <a:ext cx="2291261" cy="574113"/>
            <a:chOff x="5484078" y="4294628"/>
            <a:chExt cx="1909384" cy="478428"/>
          </a:xfrm>
        </p:grpSpPr>
        <p:sp>
          <p:nvSpPr>
            <p:cNvPr id="30" name="Rectangle 29">
              <a:extLst>
                <a:ext uri="{FF2B5EF4-FFF2-40B4-BE49-F238E27FC236}">
                  <a16:creationId xmlns:a16="http://schemas.microsoft.com/office/drawing/2014/main" id="{4E17221A-2E61-391D-10F6-4AAC57BFFA99}"/>
                </a:ext>
              </a:extLst>
            </p:cNvPr>
            <p:cNvSpPr/>
            <p:nvPr/>
          </p:nvSpPr>
          <p:spPr>
            <a:xfrm>
              <a:off x="5484078" y="4294628"/>
              <a:ext cx="1909384" cy="4784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3" name="TextBox 12">
              <a:extLst>
                <a:ext uri="{FF2B5EF4-FFF2-40B4-BE49-F238E27FC236}">
                  <a16:creationId xmlns:a16="http://schemas.microsoft.com/office/drawing/2014/main" id="{CD2CAF40-BE26-EC0E-2051-27C594253FA3}"/>
                </a:ext>
              </a:extLst>
            </p:cNvPr>
            <p:cNvSpPr txBox="1"/>
            <p:nvPr/>
          </p:nvSpPr>
          <p:spPr>
            <a:xfrm>
              <a:off x="5609343" y="4364565"/>
              <a:ext cx="1658854" cy="323165"/>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bg2">
                      <a:lumMod val="10000"/>
                    </a:schemeClr>
                  </a:solidFill>
                  <a:latin typeface="+mn-lt"/>
                </a:rPr>
                <a:t>Solution benefit</a:t>
              </a:r>
              <a:endParaRPr lang="en-SG" sz="1920" dirty="0">
                <a:solidFill>
                  <a:schemeClr val="bg2">
                    <a:lumMod val="10000"/>
                  </a:schemeClr>
                </a:solidFill>
                <a:latin typeface="+mn-lt"/>
              </a:endParaRPr>
            </a:p>
          </p:txBody>
        </p:sp>
      </p:grpSp>
      <p:grpSp>
        <p:nvGrpSpPr>
          <p:cNvPr id="48" name="Group 47">
            <a:extLst>
              <a:ext uri="{FF2B5EF4-FFF2-40B4-BE49-F238E27FC236}">
                <a16:creationId xmlns:a16="http://schemas.microsoft.com/office/drawing/2014/main" id="{4C53DA07-3A01-3F39-B5AA-8290A32B2890}"/>
              </a:ext>
            </a:extLst>
          </p:cNvPr>
          <p:cNvGrpSpPr/>
          <p:nvPr/>
        </p:nvGrpSpPr>
        <p:grpSpPr>
          <a:xfrm>
            <a:off x="8881493" y="5215109"/>
            <a:ext cx="2291261" cy="683265"/>
            <a:chOff x="7288731" y="4157363"/>
            <a:chExt cx="1909384" cy="569387"/>
          </a:xfrm>
        </p:grpSpPr>
        <p:sp>
          <p:nvSpPr>
            <p:cNvPr id="32" name="Rectangle 31">
              <a:extLst>
                <a:ext uri="{FF2B5EF4-FFF2-40B4-BE49-F238E27FC236}">
                  <a16:creationId xmlns:a16="http://schemas.microsoft.com/office/drawing/2014/main" id="{0962A8A8-9366-61CE-A01A-274A7B41F6FF}"/>
                </a:ext>
              </a:extLst>
            </p:cNvPr>
            <p:cNvSpPr/>
            <p:nvPr/>
          </p:nvSpPr>
          <p:spPr>
            <a:xfrm>
              <a:off x="7288731" y="4210536"/>
              <a:ext cx="1909384" cy="47842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4" name="TextBox 13">
              <a:extLst>
                <a:ext uri="{FF2B5EF4-FFF2-40B4-BE49-F238E27FC236}">
                  <a16:creationId xmlns:a16="http://schemas.microsoft.com/office/drawing/2014/main" id="{963C7281-069A-5BC3-C39C-10B4C3DF2B9B}"/>
                </a:ext>
              </a:extLst>
            </p:cNvPr>
            <p:cNvSpPr txBox="1"/>
            <p:nvPr/>
          </p:nvSpPr>
          <p:spPr>
            <a:xfrm>
              <a:off x="7413996" y="4157363"/>
              <a:ext cx="1658854" cy="569387"/>
            </a:xfrm>
            <a:prstGeom prst="rect">
              <a:avLst/>
            </a:prstGeom>
            <a:noFill/>
          </p:spPr>
          <p:txBody>
            <a:bodyPr wrap="square" rtlCol="0">
              <a:spAutoFit/>
            </a:bodyPr>
            <a:lstStyle/>
            <a:p>
              <a:pPr algn="ctr" eaLnBrk="1" fontAlgn="auto" hangingPunct="1">
                <a:spcBef>
                  <a:spcPts val="0"/>
                </a:spcBef>
                <a:spcAft>
                  <a:spcPts val="0"/>
                </a:spcAft>
              </a:pPr>
              <a:r>
                <a:rPr lang="sv-SE" sz="1920" b="1" dirty="0">
                  <a:solidFill>
                    <a:schemeClr val="bg1"/>
                  </a:solidFill>
                  <a:latin typeface="+mn-lt"/>
                </a:rPr>
                <a:t>Value-based sales</a:t>
              </a:r>
              <a:endParaRPr lang="en-SG" sz="1920" b="1" dirty="0">
                <a:solidFill>
                  <a:schemeClr val="bg1"/>
                </a:solidFill>
                <a:latin typeface="+mn-lt"/>
              </a:endParaRPr>
            </a:p>
          </p:txBody>
        </p:sp>
      </p:grpSp>
      <p:sp>
        <p:nvSpPr>
          <p:cNvPr id="15" name="Rectangle 14">
            <a:extLst>
              <a:ext uri="{FF2B5EF4-FFF2-40B4-BE49-F238E27FC236}">
                <a16:creationId xmlns:a16="http://schemas.microsoft.com/office/drawing/2014/main" id="{5754B90D-1230-80BA-2DE0-7D13F37A875C}"/>
              </a:ext>
            </a:extLst>
          </p:cNvPr>
          <p:cNvSpPr/>
          <p:nvPr/>
        </p:nvSpPr>
        <p:spPr>
          <a:xfrm>
            <a:off x="4186589" y="2802607"/>
            <a:ext cx="2291261" cy="5741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24" name="TextBox 23">
            <a:extLst>
              <a:ext uri="{FF2B5EF4-FFF2-40B4-BE49-F238E27FC236}">
                <a16:creationId xmlns:a16="http://schemas.microsoft.com/office/drawing/2014/main" id="{356BD95A-5287-C226-C13E-BFEA687CE561}"/>
              </a:ext>
            </a:extLst>
          </p:cNvPr>
          <p:cNvSpPr txBox="1"/>
          <p:nvPr/>
        </p:nvSpPr>
        <p:spPr>
          <a:xfrm>
            <a:off x="4065131" y="2738800"/>
            <a:ext cx="2534178" cy="683264"/>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bg2">
                    <a:lumMod val="10000"/>
                  </a:schemeClr>
                </a:solidFill>
                <a:latin typeface="+mn-lt"/>
              </a:rPr>
              <a:t>Say it to whomever wants to listen </a:t>
            </a:r>
            <a:endParaRPr lang="en-SG" sz="1920" dirty="0">
              <a:solidFill>
                <a:schemeClr val="bg2">
                  <a:lumMod val="10000"/>
                </a:schemeClr>
              </a:solidFill>
              <a:latin typeface="+mn-lt"/>
            </a:endParaRPr>
          </a:p>
        </p:txBody>
      </p:sp>
      <p:cxnSp>
        <p:nvCxnSpPr>
          <p:cNvPr id="27" name="Straight Connector 26">
            <a:extLst>
              <a:ext uri="{FF2B5EF4-FFF2-40B4-BE49-F238E27FC236}">
                <a16:creationId xmlns:a16="http://schemas.microsoft.com/office/drawing/2014/main" id="{393DFB5D-CA2C-A6F2-E1F3-63839212D616}"/>
              </a:ext>
            </a:extLst>
          </p:cNvPr>
          <p:cNvCxnSpPr/>
          <p:nvPr/>
        </p:nvCxnSpPr>
        <p:spPr>
          <a:xfrm>
            <a:off x="728225" y="3487186"/>
            <a:ext cx="10760290" cy="0"/>
          </a:xfrm>
          <a:prstGeom prst="line">
            <a:avLst/>
          </a:prstGeom>
          <a:ln>
            <a:solidFill>
              <a:schemeClr val="bg1">
                <a:lumMod val="75000"/>
              </a:schemeClr>
            </a:solidFill>
          </a:ln>
        </p:spPr>
        <p:style>
          <a:lnRef idx="1">
            <a:schemeClr val="accent6"/>
          </a:lnRef>
          <a:fillRef idx="0">
            <a:schemeClr val="accent6"/>
          </a:fillRef>
          <a:effectRef idx="0">
            <a:schemeClr val="accent6"/>
          </a:effectRef>
          <a:fontRef idx="minor">
            <a:schemeClr val="tx1"/>
          </a:fontRef>
        </p:style>
      </p:cxnSp>
      <p:pic>
        <p:nvPicPr>
          <p:cNvPr id="1026" name="Picture 2" descr="Becoming the Trusted Advisor | 2019-10-28 | Floor Trends Magazine">
            <a:extLst>
              <a:ext uri="{FF2B5EF4-FFF2-40B4-BE49-F238E27FC236}">
                <a16:creationId xmlns:a16="http://schemas.microsoft.com/office/drawing/2014/main" id="{849AD12E-4B8C-040F-A9E1-FF3C615FC7A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705702" y="3589740"/>
            <a:ext cx="2642843" cy="1615072"/>
          </a:xfrm>
          <a:prstGeom prst="rect">
            <a:avLst/>
          </a:prstGeom>
          <a:noFill/>
          <a:extLst>
            <a:ext uri="{909E8E84-426E-40DD-AFC4-6F175D3DCCD1}">
              <a14:hiddenFill xmlns:a14="http://schemas.microsoft.com/office/drawing/2010/main">
                <a:solidFill>
                  <a:srgbClr val="FFFFFF"/>
                </a:solidFill>
              </a14:hiddenFill>
            </a:ext>
          </a:extLst>
        </p:spPr>
      </p:pic>
      <p:sp>
        <p:nvSpPr>
          <p:cNvPr id="37" name="Plus Sign 36">
            <a:extLst>
              <a:ext uri="{FF2B5EF4-FFF2-40B4-BE49-F238E27FC236}">
                <a16:creationId xmlns:a16="http://schemas.microsoft.com/office/drawing/2014/main" id="{82FFD5F3-0894-39C7-5508-E990DC9805E7}"/>
              </a:ext>
            </a:extLst>
          </p:cNvPr>
          <p:cNvSpPr/>
          <p:nvPr/>
        </p:nvSpPr>
        <p:spPr>
          <a:xfrm>
            <a:off x="3707500" y="2914778"/>
            <a:ext cx="355128" cy="34977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8" name="Equals 37">
            <a:extLst>
              <a:ext uri="{FF2B5EF4-FFF2-40B4-BE49-F238E27FC236}">
                <a16:creationId xmlns:a16="http://schemas.microsoft.com/office/drawing/2014/main" id="{9E6B21F8-C7B5-669C-2DA0-0C9EBA2DA603}"/>
              </a:ext>
            </a:extLst>
          </p:cNvPr>
          <p:cNvSpPr/>
          <p:nvPr/>
        </p:nvSpPr>
        <p:spPr>
          <a:xfrm>
            <a:off x="8331908" y="5388925"/>
            <a:ext cx="357884" cy="349772"/>
          </a:xfrm>
          <a:prstGeom prst="mathEqual">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endParaRPr>
          </a:p>
        </p:txBody>
      </p:sp>
      <p:sp>
        <p:nvSpPr>
          <p:cNvPr id="49" name="Plus Sign 48">
            <a:extLst>
              <a:ext uri="{FF2B5EF4-FFF2-40B4-BE49-F238E27FC236}">
                <a16:creationId xmlns:a16="http://schemas.microsoft.com/office/drawing/2014/main" id="{AFC8C696-5C65-EB5B-B667-BEC27815F041}"/>
              </a:ext>
            </a:extLst>
          </p:cNvPr>
          <p:cNvSpPr/>
          <p:nvPr/>
        </p:nvSpPr>
        <p:spPr>
          <a:xfrm>
            <a:off x="5702857" y="5395187"/>
            <a:ext cx="355128" cy="34977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50" name="Plus Sign 49">
            <a:extLst>
              <a:ext uri="{FF2B5EF4-FFF2-40B4-BE49-F238E27FC236}">
                <a16:creationId xmlns:a16="http://schemas.microsoft.com/office/drawing/2014/main" id="{52767998-C062-25EF-727F-61609EE3BE7A}"/>
              </a:ext>
            </a:extLst>
          </p:cNvPr>
          <p:cNvSpPr/>
          <p:nvPr/>
        </p:nvSpPr>
        <p:spPr>
          <a:xfrm>
            <a:off x="3073806" y="5395187"/>
            <a:ext cx="355128" cy="34977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4" name="Text Placeholder 3">
            <a:extLst>
              <a:ext uri="{FF2B5EF4-FFF2-40B4-BE49-F238E27FC236}">
                <a16:creationId xmlns:a16="http://schemas.microsoft.com/office/drawing/2014/main" id="{1C8C8E4E-57A5-2EC6-11C4-8FDECD584713}"/>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72224F7A-AD53-19C9-7245-0743D68D003A}"/>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7091BFCE-007D-D60E-84AA-59AFEFE742BA}"/>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1560414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40"/>
                                        </p:tgtEl>
                                        <p:attrNameLst>
                                          <p:attrName>style.visibility</p:attrName>
                                        </p:attrNameLst>
                                      </p:cBhvr>
                                      <p:to>
                                        <p:strVal val="visible"/>
                                      </p:to>
                                    </p:set>
                                    <p:animEffect transition="in" filter="fade">
                                      <p:cBhvr>
                                        <p:cTn id="14" dur="500"/>
                                        <p:tgtEl>
                                          <p:spTgt spid="40"/>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fade">
                                      <p:cBhvr>
                                        <p:cTn id="18" dur="500"/>
                                        <p:tgtEl>
                                          <p:spTgt spid="45"/>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39"/>
                                        </p:tgtEl>
                                        <p:attrNameLst>
                                          <p:attrName>style.visibility</p:attrName>
                                        </p:attrNameLst>
                                      </p:cBhvr>
                                      <p:to>
                                        <p:strVal val="visible"/>
                                      </p:to>
                                    </p:set>
                                    <p:animEffect transition="in" filter="fade">
                                      <p:cBhvr>
                                        <p:cTn id="26" dur="500"/>
                                        <p:tgtEl>
                                          <p:spTgt spid="3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9"/>
                                        </p:tgtEl>
                                        <p:attrNameLst>
                                          <p:attrName>style.visibility</p:attrName>
                                        </p:attrNameLst>
                                      </p:cBhvr>
                                      <p:to>
                                        <p:strVal val="visible"/>
                                      </p:to>
                                    </p:set>
                                    <p:animEffect transition="in" filter="fade">
                                      <p:cBhvr>
                                        <p:cTn id="29" dur="500"/>
                                        <p:tgtEl>
                                          <p:spTgt spid="49"/>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par>
                                <p:cTn id="43" presetID="10" presetClass="entr" presetSubtype="0" fill="hold" nodeType="withEffect">
                                  <p:stCondLst>
                                    <p:cond delay="0"/>
                                  </p:stCondLst>
                                  <p:childTnLst>
                                    <p:set>
                                      <p:cBhvr>
                                        <p:cTn id="44" dur="1" fill="hold">
                                          <p:stCondLst>
                                            <p:cond delay="0"/>
                                          </p:stCondLst>
                                        </p:cTn>
                                        <p:tgtEl>
                                          <p:spTgt spid="48"/>
                                        </p:tgtEl>
                                        <p:attrNameLst>
                                          <p:attrName>style.visibility</p:attrName>
                                        </p:attrNameLst>
                                      </p:cBhvr>
                                      <p:to>
                                        <p:strVal val="visible"/>
                                      </p:to>
                                    </p:set>
                                    <p:animEffect transition="in" filter="fade">
                                      <p:cBhvr>
                                        <p:cTn id="45" dur="500"/>
                                        <p:tgtEl>
                                          <p:spTgt spid="4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026"/>
                                        </p:tgtEl>
                                        <p:attrNameLst>
                                          <p:attrName>style.visibility</p:attrName>
                                        </p:attrNameLst>
                                      </p:cBhvr>
                                      <p:to>
                                        <p:strVal val="visible"/>
                                      </p:to>
                                    </p:set>
                                    <p:animEffect transition="in" filter="fade">
                                      <p:cBhvr>
                                        <p:cTn id="50"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9" grpId="0" animBg="1"/>
      <p:bldP spid="5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DFCC14A-B9F2-D032-B47A-0AAD7330F361}"/>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0120CBBA-B5E1-206D-9C34-A4B7C06BF576}"/>
              </a:ext>
            </a:extLst>
          </p:cNvPr>
          <p:cNvSpPr>
            <a:spLocks noGrp="1"/>
          </p:cNvSpPr>
          <p:nvPr>
            <p:ph type="title"/>
          </p:nvPr>
        </p:nvSpPr>
        <p:spPr/>
        <p:txBody>
          <a:bodyPr/>
          <a:lstStyle/>
          <a:p>
            <a:r>
              <a:rPr lang="sv-SE" dirty="0"/>
              <a:t>For the sales you actively engage in – where on the scale is Ellab’s business</a:t>
            </a:r>
            <a:endParaRPr lang="en-SG" dirty="0"/>
          </a:p>
        </p:txBody>
      </p:sp>
      <p:sp>
        <p:nvSpPr>
          <p:cNvPr id="3" name="Text Placeholder 2">
            <a:extLst>
              <a:ext uri="{FF2B5EF4-FFF2-40B4-BE49-F238E27FC236}">
                <a16:creationId xmlns:a16="http://schemas.microsoft.com/office/drawing/2014/main" id="{27DCF352-3688-5283-0A28-561AB1A96B81}"/>
              </a:ext>
            </a:extLst>
          </p:cNvPr>
          <p:cNvSpPr>
            <a:spLocks noGrp="1"/>
          </p:cNvSpPr>
          <p:nvPr>
            <p:ph type="body" sz="half" idx="2"/>
          </p:nvPr>
        </p:nvSpPr>
        <p:spPr/>
        <p:txBody>
          <a:bodyPr/>
          <a:lstStyle/>
          <a:p>
            <a:endParaRPr lang="en-US"/>
          </a:p>
        </p:txBody>
      </p:sp>
      <p:sp>
        <p:nvSpPr>
          <p:cNvPr id="5" name="Arrow: Left-Right 4">
            <a:extLst>
              <a:ext uri="{FF2B5EF4-FFF2-40B4-BE49-F238E27FC236}">
                <a16:creationId xmlns:a16="http://schemas.microsoft.com/office/drawing/2014/main" id="{05D39128-4BD9-B87F-856D-1E13D35ED203}"/>
              </a:ext>
            </a:extLst>
          </p:cNvPr>
          <p:cNvSpPr/>
          <p:nvPr/>
        </p:nvSpPr>
        <p:spPr>
          <a:xfrm>
            <a:off x="1638570" y="2110857"/>
            <a:ext cx="8921364" cy="1343770"/>
          </a:xfrm>
          <a:prstGeom prst="leftRightArrow">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7" name="TextBox 6">
            <a:extLst>
              <a:ext uri="{FF2B5EF4-FFF2-40B4-BE49-F238E27FC236}">
                <a16:creationId xmlns:a16="http://schemas.microsoft.com/office/drawing/2014/main" id="{4574545C-A92F-4051-D601-22CD770BC664}"/>
              </a:ext>
            </a:extLst>
          </p:cNvPr>
          <p:cNvSpPr txBox="1"/>
          <p:nvPr/>
        </p:nvSpPr>
        <p:spPr>
          <a:xfrm>
            <a:off x="1063898" y="3552246"/>
            <a:ext cx="3934822" cy="1643527"/>
          </a:xfrm>
          <a:prstGeom prst="rect">
            <a:avLst/>
          </a:prstGeom>
          <a:noFill/>
        </p:spPr>
        <p:txBody>
          <a:bodyPr wrap="square" rtlCol="0">
            <a:spAutoFit/>
          </a:bodyPr>
          <a:lstStyle/>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Fast and simple sales</a:t>
            </a:r>
          </a:p>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Transactional </a:t>
            </a:r>
          </a:p>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Few stakeholders</a:t>
            </a:r>
          </a:p>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Repeat business</a:t>
            </a:r>
          </a:p>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Cheap/commodity</a:t>
            </a:r>
          </a:p>
          <a:p>
            <a:pPr marL="205740" indent="-205740" eaLnBrk="1" fontAlgn="auto" hangingPunct="1">
              <a:spcBef>
                <a:spcPts val="0"/>
              </a:spcBef>
              <a:spcAft>
                <a:spcPts val="0"/>
              </a:spcAft>
              <a:buFont typeface="Arial" panose="020B0604020202020204" pitchFamily="34" charset="0"/>
              <a:buChar char="•"/>
            </a:pPr>
            <a:endParaRPr lang="en-SG" sz="1680" dirty="0">
              <a:solidFill>
                <a:schemeClr val="bg2">
                  <a:lumMod val="10000"/>
                </a:schemeClr>
              </a:solidFill>
              <a:latin typeface="+mn-lt"/>
            </a:endParaRPr>
          </a:p>
        </p:txBody>
      </p:sp>
      <p:sp>
        <p:nvSpPr>
          <p:cNvPr id="8" name="TextBox 7">
            <a:extLst>
              <a:ext uri="{FF2B5EF4-FFF2-40B4-BE49-F238E27FC236}">
                <a16:creationId xmlns:a16="http://schemas.microsoft.com/office/drawing/2014/main" id="{E1BB6DC4-B2E5-D8C4-5767-66B3A763D7EC}"/>
              </a:ext>
            </a:extLst>
          </p:cNvPr>
          <p:cNvSpPr txBox="1"/>
          <p:nvPr/>
        </p:nvSpPr>
        <p:spPr>
          <a:xfrm>
            <a:off x="8654501" y="3552245"/>
            <a:ext cx="3934822" cy="1384995"/>
          </a:xfrm>
          <a:prstGeom prst="rect">
            <a:avLst/>
          </a:prstGeom>
          <a:noFill/>
        </p:spPr>
        <p:txBody>
          <a:bodyPr wrap="square" rtlCol="0">
            <a:spAutoFit/>
          </a:bodyPr>
          <a:lstStyle/>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Long decision process</a:t>
            </a:r>
          </a:p>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Complex features</a:t>
            </a:r>
          </a:p>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Several stakeholders</a:t>
            </a:r>
          </a:p>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New qualification</a:t>
            </a:r>
          </a:p>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Premium product</a:t>
            </a:r>
          </a:p>
        </p:txBody>
      </p:sp>
      <p:grpSp>
        <p:nvGrpSpPr>
          <p:cNvPr id="10" name="Group 9">
            <a:extLst>
              <a:ext uri="{FF2B5EF4-FFF2-40B4-BE49-F238E27FC236}">
                <a16:creationId xmlns:a16="http://schemas.microsoft.com/office/drawing/2014/main" id="{56375DEC-753A-1017-0D9E-96AC72EEFA1A}"/>
              </a:ext>
            </a:extLst>
          </p:cNvPr>
          <p:cNvGrpSpPr/>
          <p:nvPr/>
        </p:nvGrpSpPr>
        <p:grpSpPr>
          <a:xfrm>
            <a:off x="7830323" y="1251895"/>
            <a:ext cx="820415" cy="2300351"/>
            <a:chOff x="3942661" y="1613917"/>
            <a:chExt cx="683679" cy="1916959"/>
          </a:xfrm>
        </p:grpSpPr>
        <p:sp>
          <p:nvSpPr>
            <p:cNvPr id="6" name="Rectangle 5">
              <a:extLst>
                <a:ext uri="{FF2B5EF4-FFF2-40B4-BE49-F238E27FC236}">
                  <a16:creationId xmlns:a16="http://schemas.microsoft.com/office/drawing/2014/main" id="{0D1C4262-3D3E-4172-8DFC-FA85D6C2A66D}"/>
                </a:ext>
              </a:extLst>
            </p:cNvPr>
            <p:cNvSpPr/>
            <p:nvPr/>
          </p:nvSpPr>
          <p:spPr>
            <a:xfrm>
              <a:off x="4241432" y="2323272"/>
              <a:ext cx="86139" cy="1207604"/>
            </a:xfrm>
            <a:prstGeom prst="rect">
              <a:avLst/>
            </a:prstGeom>
            <a:solidFill>
              <a:schemeClr val="accent2"/>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9" name="Picture 8">
              <a:extLst>
                <a:ext uri="{FF2B5EF4-FFF2-40B4-BE49-F238E27FC236}">
                  <a16:creationId xmlns:a16="http://schemas.microsoft.com/office/drawing/2014/main" id="{802CB733-86C8-5345-6F4B-FF5A223B2F4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42661" y="1613917"/>
              <a:ext cx="683679" cy="683679"/>
            </a:xfrm>
            <a:prstGeom prst="rect">
              <a:avLst/>
            </a:prstGeom>
          </p:spPr>
        </p:pic>
      </p:grpSp>
      <p:sp>
        <p:nvSpPr>
          <p:cNvPr id="11" name="TextBox 10">
            <a:extLst>
              <a:ext uri="{FF2B5EF4-FFF2-40B4-BE49-F238E27FC236}">
                <a16:creationId xmlns:a16="http://schemas.microsoft.com/office/drawing/2014/main" id="{3664F7C3-9163-4AF0-CC88-0C48B764DB16}"/>
              </a:ext>
            </a:extLst>
          </p:cNvPr>
          <p:cNvSpPr txBox="1"/>
          <p:nvPr/>
        </p:nvSpPr>
        <p:spPr>
          <a:xfrm>
            <a:off x="1063900" y="1657042"/>
            <a:ext cx="2016623" cy="461665"/>
          </a:xfrm>
          <a:prstGeom prst="rect">
            <a:avLst/>
          </a:prstGeom>
          <a:noFill/>
        </p:spPr>
        <p:txBody>
          <a:bodyPr wrap="square" rtlCol="0">
            <a:spAutoFit/>
          </a:bodyPr>
          <a:lstStyle/>
          <a:p>
            <a:pPr algn="ctr" eaLnBrk="1" fontAlgn="auto" hangingPunct="1">
              <a:spcBef>
                <a:spcPts val="0"/>
              </a:spcBef>
              <a:spcAft>
                <a:spcPts val="0"/>
              </a:spcAft>
            </a:pPr>
            <a:r>
              <a:rPr lang="sv-SE" sz="1200" b="1" dirty="0">
                <a:solidFill>
                  <a:srgbClr val="1F6898"/>
                </a:solidFill>
                <a:latin typeface="+mn-lt"/>
              </a:rPr>
              <a:t>Product sales</a:t>
            </a:r>
          </a:p>
          <a:p>
            <a:pPr algn="ctr" eaLnBrk="1" fontAlgn="auto" hangingPunct="1">
              <a:spcBef>
                <a:spcPts val="0"/>
              </a:spcBef>
              <a:spcAft>
                <a:spcPts val="0"/>
              </a:spcAft>
            </a:pPr>
            <a:r>
              <a:rPr lang="sv-SE" sz="1200" i="1" dirty="0">
                <a:solidFill>
                  <a:srgbClr val="1F6898"/>
                </a:solidFill>
                <a:latin typeface="+mn-lt"/>
              </a:rPr>
              <a:t>Features</a:t>
            </a:r>
            <a:r>
              <a:rPr lang="sv-SE" sz="1200" dirty="0">
                <a:solidFill>
                  <a:srgbClr val="1F6898"/>
                </a:solidFill>
                <a:latin typeface="+mn-lt"/>
              </a:rPr>
              <a:t> </a:t>
            </a:r>
            <a:endParaRPr lang="en-SG" sz="1200" dirty="0">
              <a:solidFill>
                <a:srgbClr val="1F6898"/>
              </a:solidFill>
              <a:latin typeface="+mn-lt"/>
            </a:endParaRPr>
          </a:p>
        </p:txBody>
      </p:sp>
      <p:sp>
        <p:nvSpPr>
          <p:cNvPr id="12" name="TextBox 11">
            <a:extLst>
              <a:ext uri="{FF2B5EF4-FFF2-40B4-BE49-F238E27FC236}">
                <a16:creationId xmlns:a16="http://schemas.microsoft.com/office/drawing/2014/main" id="{C3EDF6C0-122A-D802-4893-6DBFB49FD5E4}"/>
              </a:ext>
            </a:extLst>
          </p:cNvPr>
          <p:cNvSpPr txBox="1"/>
          <p:nvPr/>
        </p:nvSpPr>
        <p:spPr>
          <a:xfrm>
            <a:off x="9081223" y="1657042"/>
            <a:ext cx="2016623" cy="461665"/>
          </a:xfrm>
          <a:prstGeom prst="rect">
            <a:avLst/>
          </a:prstGeom>
          <a:noFill/>
        </p:spPr>
        <p:txBody>
          <a:bodyPr wrap="square" rtlCol="0">
            <a:spAutoFit/>
          </a:bodyPr>
          <a:lstStyle/>
          <a:p>
            <a:pPr algn="ctr" eaLnBrk="1" fontAlgn="auto" hangingPunct="1">
              <a:spcBef>
                <a:spcPts val="0"/>
              </a:spcBef>
              <a:spcAft>
                <a:spcPts val="0"/>
              </a:spcAft>
            </a:pPr>
            <a:r>
              <a:rPr lang="sv-SE" sz="1200" b="1" dirty="0">
                <a:solidFill>
                  <a:srgbClr val="1F6898"/>
                </a:solidFill>
                <a:latin typeface="+mn-lt"/>
              </a:rPr>
              <a:t>Value sales</a:t>
            </a:r>
          </a:p>
          <a:p>
            <a:pPr algn="ctr" eaLnBrk="1" fontAlgn="auto" hangingPunct="1">
              <a:spcBef>
                <a:spcPts val="0"/>
              </a:spcBef>
              <a:spcAft>
                <a:spcPts val="0"/>
              </a:spcAft>
            </a:pPr>
            <a:r>
              <a:rPr lang="sv-SE" sz="1200" i="1" dirty="0">
                <a:solidFill>
                  <a:srgbClr val="1F6898"/>
                </a:solidFill>
                <a:latin typeface="+mn-lt"/>
              </a:rPr>
              <a:t>Benefits</a:t>
            </a:r>
            <a:endParaRPr lang="en-SG" sz="1200" i="1" dirty="0">
              <a:solidFill>
                <a:srgbClr val="1F6898"/>
              </a:solidFill>
              <a:latin typeface="+mn-lt"/>
            </a:endParaRPr>
          </a:p>
        </p:txBody>
      </p:sp>
      <p:sp>
        <p:nvSpPr>
          <p:cNvPr id="16" name="TextBox 15">
            <a:extLst>
              <a:ext uri="{FF2B5EF4-FFF2-40B4-BE49-F238E27FC236}">
                <a16:creationId xmlns:a16="http://schemas.microsoft.com/office/drawing/2014/main" id="{CB663A24-D44D-2382-C0C5-36F3153EA4B5}"/>
              </a:ext>
            </a:extLst>
          </p:cNvPr>
          <p:cNvSpPr txBox="1"/>
          <p:nvPr/>
        </p:nvSpPr>
        <p:spPr>
          <a:xfrm>
            <a:off x="8654500" y="5239538"/>
            <a:ext cx="4210055" cy="867930"/>
          </a:xfrm>
          <a:prstGeom prst="rect">
            <a:avLst/>
          </a:prstGeom>
          <a:noFill/>
        </p:spPr>
        <p:txBody>
          <a:bodyPr wrap="square" rtlCol="0">
            <a:spAutoFit/>
          </a:bodyPr>
          <a:lstStyle/>
          <a:p>
            <a:pPr marL="205740" indent="-205740" eaLnBrk="1" fontAlgn="auto" hangingPunct="1">
              <a:spcBef>
                <a:spcPts val="0"/>
              </a:spcBef>
              <a:spcAft>
                <a:spcPts val="0"/>
              </a:spcAft>
              <a:buFont typeface="Arial" panose="020B0604020202020204" pitchFamily="34" charset="0"/>
              <a:buChar char="•"/>
            </a:pPr>
            <a:r>
              <a:rPr lang="en-SG" sz="1680" dirty="0">
                <a:solidFill>
                  <a:schemeClr val="bg2">
                    <a:lumMod val="10000"/>
                  </a:schemeClr>
                </a:solidFill>
                <a:latin typeface="+mn-lt"/>
              </a:rPr>
              <a:t>Listen</a:t>
            </a:r>
          </a:p>
          <a:p>
            <a:pPr marL="205740" indent="-205740" eaLnBrk="1" fontAlgn="auto" hangingPunct="1">
              <a:spcBef>
                <a:spcPts val="0"/>
              </a:spcBef>
              <a:spcAft>
                <a:spcPts val="0"/>
              </a:spcAft>
              <a:buFont typeface="Arial" panose="020B0604020202020204" pitchFamily="34" charset="0"/>
              <a:buChar char="•"/>
            </a:pPr>
            <a:r>
              <a:rPr lang="en-SG" sz="1680" dirty="0">
                <a:solidFill>
                  <a:schemeClr val="bg2">
                    <a:lumMod val="10000"/>
                  </a:schemeClr>
                </a:solidFill>
                <a:latin typeface="+mn-lt"/>
              </a:rPr>
              <a:t>Discuss/inform</a:t>
            </a:r>
          </a:p>
          <a:p>
            <a:pPr marL="205740" indent="-205740" eaLnBrk="1" fontAlgn="auto" hangingPunct="1">
              <a:spcBef>
                <a:spcPts val="0"/>
              </a:spcBef>
              <a:spcAft>
                <a:spcPts val="0"/>
              </a:spcAft>
              <a:buFont typeface="Arial" panose="020B0604020202020204" pitchFamily="34" charset="0"/>
              <a:buChar char="•"/>
            </a:pPr>
            <a:r>
              <a:rPr lang="en-SG" sz="1680" dirty="0">
                <a:solidFill>
                  <a:schemeClr val="bg2">
                    <a:lumMod val="10000"/>
                  </a:schemeClr>
                </a:solidFill>
                <a:latin typeface="+mn-lt"/>
              </a:rPr>
              <a:t>Seen as partner/advisor</a:t>
            </a:r>
          </a:p>
        </p:txBody>
      </p:sp>
      <p:sp>
        <p:nvSpPr>
          <p:cNvPr id="17" name="TextBox 16">
            <a:extLst>
              <a:ext uri="{FF2B5EF4-FFF2-40B4-BE49-F238E27FC236}">
                <a16:creationId xmlns:a16="http://schemas.microsoft.com/office/drawing/2014/main" id="{C3AEDC1B-4EE2-FADA-045B-27DAE9610A6B}"/>
              </a:ext>
            </a:extLst>
          </p:cNvPr>
          <p:cNvSpPr txBox="1"/>
          <p:nvPr/>
        </p:nvSpPr>
        <p:spPr>
          <a:xfrm>
            <a:off x="1195387" y="5239538"/>
            <a:ext cx="3934822" cy="867930"/>
          </a:xfrm>
          <a:prstGeom prst="rect">
            <a:avLst/>
          </a:prstGeom>
          <a:noFill/>
        </p:spPr>
        <p:txBody>
          <a:bodyPr wrap="square" rtlCol="0">
            <a:spAutoFit/>
          </a:bodyPr>
          <a:lstStyle/>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Talk</a:t>
            </a:r>
          </a:p>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Pitch</a:t>
            </a:r>
          </a:p>
          <a:p>
            <a:pPr marL="205740" indent="-205740" eaLnBrk="1" fontAlgn="auto" hangingPunct="1">
              <a:spcBef>
                <a:spcPts val="0"/>
              </a:spcBef>
              <a:spcAft>
                <a:spcPts val="0"/>
              </a:spcAft>
              <a:buFont typeface="Arial" panose="020B0604020202020204" pitchFamily="34" charset="0"/>
              <a:buChar char="•"/>
            </a:pPr>
            <a:r>
              <a:rPr lang="sv-SE" sz="1680" dirty="0">
                <a:solidFill>
                  <a:schemeClr val="bg2">
                    <a:lumMod val="10000"/>
                  </a:schemeClr>
                </a:solidFill>
                <a:latin typeface="+mn-lt"/>
              </a:rPr>
              <a:t>Seen as supplier</a:t>
            </a:r>
          </a:p>
        </p:txBody>
      </p:sp>
    </p:spTree>
    <p:extLst>
      <p:ext uri="{BB962C8B-B14F-4D97-AF65-F5344CB8AC3E}">
        <p14:creationId xmlns:p14="http://schemas.microsoft.com/office/powerpoint/2010/main" val="1396749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35" presetClass="path" presetSubtype="0" accel="50000" decel="50000" autoRev="1" fill="hold" nodeType="afterEffect">
                                  <p:stCondLst>
                                    <p:cond delay="0"/>
                                  </p:stCondLst>
                                  <p:childTnLst>
                                    <p:animMotion origin="layout" path="M -2.5E-6 2.22222E-6 L -0.40312 2.22222E-6 " pathEditMode="relative" rAng="0" ptsTypes="AA">
                                      <p:cBhvr>
                                        <p:cTn id="10" dur="2000" fill="hold"/>
                                        <p:tgtEl>
                                          <p:spTgt spid="10"/>
                                        </p:tgtEl>
                                        <p:attrNameLst>
                                          <p:attrName>ppt_x</p:attrName>
                                          <p:attrName>ppt_y</p:attrName>
                                        </p:attrNameLst>
                                      </p:cBhvr>
                                      <p:rCtr x="-20156" y="0"/>
                                    </p:animMotion>
                                  </p:childTnLst>
                                </p:cTn>
                              </p:par>
                            </p:childTnLst>
                          </p:cTn>
                        </p:par>
                        <p:par>
                          <p:cTn id="11" fill="hold">
                            <p:stCondLst>
                              <p:cond delay="4500"/>
                            </p:stCondLst>
                            <p:childTnLst>
                              <p:par>
                                <p:cTn id="12" presetID="35" presetClass="path" presetSubtype="0" accel="50000" decel="50000" fill="hold" nodeType="afterEffect">
                                  <p:stCondLst>
                                    <p:cond delay="0"/>
                                  </p:stCondLst>
                                  <p:childTnLst>
                                    <p:animMotion origin="layout" path="M -2.5E-6 2.22222E-6 L -0.20191 2.22222E-6 " pathEditMode="relative" rAng="0" ptsTypes="AA">
                                      <p:cBhvr>
                                        <p:cTn id="13" dur="2000" fill="hold"/>
                                        <p:tgtEl>
                                          <p:spTgt spid="10"/>
                                        </p:tgtEl>
                                        <p:attrNameLst>
                                          <p:attrName>ppt_x</p:attrName>
                                          <p:attrName>ppt_y</p:attrName>
                                        </p:attrNameLst>
                                      </p:cBhvr>
                                      <p:rCtr x="-1010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9169FFA7-E645-DF44-70DD-E9358A01FA1A}"/>
              </a:ext>
            </a:extLst>
          </p:cNvPr>
          <p:cNvSpPr txBox="1"/>
          <p:nvPr/>
        </p:nvSpPr>
        <p:spPr>
          <a:xfrm>
            <a:off x="1484160" y="1987730"/>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dirty="0">
                <a:latin typeface="+mn-lt"/>
              </a:rPr>
              <a:t>What</a:t>
            </a:r>
            <a:endParaRPr lang="en-SG" sz="1920" dirty="0">
              <a:latin typeface="+mn-lt"/>
            </a:endParaRPr>
          </a:p>
        </p:txBody>
      </p:sp>
      <p:sp>
        <p:nvSpPr>
          <p:cNvPr id="17" name="TextBox 16">
            <a:extLst>
              <a:ext uri="{FF2B5EF4-FFF2-40B4-BE49-F238E27FC236}">
                <a16:creationId xmlns:a16="http://schemas.microsoft.com/office/drawing/2014/main" id="{00C8E807-748E-8C25-2852-2CC63FB47498}"/>
              </a:ext>
            </a:extLst>
          </p:cNvPr>
          <p:cNvSpPr txBox="1"/>
          <p:nvPr/>
        </p:nvSpPr>
        <p:spPr>
          <a:xfrm>
            <a:off x="1484160" y="3198384"/>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dirty="0">
                <a:latin typeface="+mn-lt"/>
              </a:rPr>
              <a:t>How </a:t>
            </a:r>
            <a:endParaRPr lang="en-SG" sz="1920" dirty="0">
              <a:latin typeface="+mn-lt"/>
            </a:endParaRPr>
          </a:p>
        </p:txBody>
      </p:sp>
      <p:sp>
        <p:nvSpPr>
          <p:cNvPr id="20" name="TextBox 19">
            <a:extLst>
              <a:ext uri="{FF2B5EF4-FFF2-40B4-BE49-F238E27FC236}">
                <a16:creationId xmlns:a16="http://schemas.microsoft.com/office/drawing/2014/main" id="{F54E9E99-C752-DA76-28AF-F181E698DB42}"/>
              </a:ext>
            </a:extLst>
          </p:cNvPr>
          <p:cNvSpPr txBox="1"/>
          <p:nvPr/>
        </p:nvSpPr>
        <p:spPr>
          <a:xfrm>
            <a:off x="1484160" y="2593057"/>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dirty="0">
                <a:latin typeface="+mn-lt"/>
              </a:rPr>
              <a:t>Why </a:t>
            </a:r>
            <a:endParaRPr lang="en-SG" sz="1920" dirty="0">
              <a:latin typeface="+mn-lt"/>
            </a:endParaRPr>
          </a:p>
        </p:txBody>
      </p:sp>
      <p:sp>
        <p:nvSpPr>
          <p:cNvPr id="28" name="TextBox 27">
            <a:extLst>
              <a:ext uri="{FF2B5EF4-FFF2-40B4-BE49-F238E27FC236}">
                <a16:creationId xmlns:a16="http://schemas.microsoft.com/office/drawing/2014/main" id="{6506DB42-E783-600E-4B52-7044ECB83F32}"/>
              </a:ext>
            </a:extLst>
          </p:cNvPr>
          <p:cNvSpPr txBox="1"/>
          <p:nvPr/>
        </p:nvSpPr>
        <p:spPr>
          <a:xfrm>
            <a:off x="731520" y="5142730"/>
            <a:ext cx="3378490" cy="683264"/>
          </a:xfrm>
          <a:prstGeom prst="rect">
            <a:avLst/>
          </a:prstGeom>
          <a:noFill/>
        </p:spPr>
        <p:txBody>
          <a:bodyPr wrap="square" rtlCol="0">
            <a:spAutoFit/>
          </a:bodyPr>
          <a:lstStyle/>
          <a:p>
            <a:pPr algn="ctr" eaLnBrk="1" fontAlgn="auto" hangingPunct="1">
              <a:spcBef>
                <a:spcPts val="0"/>
              </a:spcBef>
              <a:spcAft>
                <a:spcPts val="0"/>
              </a:spcAft>
            </a:pPr>
            <a:r>
              <a:rPr lang="sv-SE" sz="1920" b="1" dirty="0">
                <a:latin typeface="+mn-lt"/>
              </a:rPr>
              <a:t>What</a:t>
            </a:r>
            <a:r>
              <a:rPr lang="sv-SE" sz="1920" dirty="0">
                <a:latin typeface="+mn-lt"/>
              </a:rPr>
              <a:t> does your current setup look like?</a:t>
            </a:r>
            <a:endParaRPr lang="en-SG" sz="1920" dirty="0">
              <a:latin typeface="+mn-lt"/>
            </a:endParaRPr>
          </a:p>
        </p:txBody>
      </p:sp>
      <p:sp>
        <p:nvSpPr>
          <p:cNvPr id="18" name="TextBox 17">
            <a:extLst>
              <a:ext uri="{FF2B5EF4-FFF2-40B4-BE49-F238E27FC236}">
                <a16:creationId xmlns:a16="http://schemas.microsoft.com/office/drawing/2014/main" id="{5717AAFC-0BE3-DD1A-280A-82A7B9D1FC96}"/>
              </a:ext>
            </a:extLst>
          </p:cNvPr>
          <p:cNvSpPr txBox="1"/>
          <p:nvPr/>
        </p:nvSpPr>
        <p:spPr>
          <a:xfrm>
            <a:off x="5131785" y="1987730"/>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bg2">
                    <a:lumMod val="25000"/>
                  </a:schemeClr>
                </a:solidFill>
                <a:latin typeface="+mn-lt"/>
              </a:rPr>
              <a:t>Where </a:t>
            </a:r>
            <a:endParaRPr lang="en-SG" sz="1920" dirty="0">
              <a:solidFill>
                <a:schemeClr val="bg2">
                  <a:lumMod val="25000"/>
                </a:schemeClr>
              </a:solidFill>
              <a:latin typeface="+mn-lt"/>
            </a:endParaRPr>
          </a:p>
        </p:txBody>
      </p:sp>
      <p:sp>
        <p:nvSpPr>
          <p:cNvPr id="19" name="TextBox 18">
            <a:extLst>
              <a:ext uri="{FF2B5EF4-FFF2-40B4-BE49-F238E27FC236}">
                <a16:creationId xmlns:a16="http://schemas.microsoft.com/office/drawing/2014/main" id="{E5C1394C-92A5-ADD0-A1A5-24D8D3E10E52}"/>
              </a:ext>
            </a:extLst>
          </p:cNvPr>
          <p:cNvSpPr txBox="1"/>
          <p:nvPr/>
        </p:nvSpPr>
        <p:spPr>
          <a:xfrm>
            <a:off x="5131785" y="2593057"/>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bg2">
                    <a:lumMod val="25000"/>
                  </a:schemeClr>
                </a:solidFill>
                <a:latin typeface="+mn-lt"/>
              </a:rPr>
              <a:t>When </a:t>
            </a:r>
            <a:endParaRPr lang="en-SG" sz="1920" dirty="0">
              <a:solidFill>
                <a:schemeClr val="bg2">
                  <a:lumMod val="25000"/>
                </a:schemeClr>
              </a:solidFill>
              <a:latin typeface="+mn-lt"/>
            </a:endParaRPr>
          </a:p>
        </p:txBody>
      </p:sp>
      <p:sp>
        <p:nvSpPr>
          <p:cNvPr id="21" name="TextBox 20">
            <a:extLst>
              <a:ext uri="{FF2B5EF4-FFF2-40B4-BE49-F238E27FC236}">
                <a16:creationId xmlns:a16="http://schemas.microsoft.com/office/drawing/2014/main" id="{BCB1DB9D-61BD-893F-6B4E-6462D3465004}"/>
              </a:ext>
            </a:extLst>
          </p:cNvPr>
          <p:cNvSpPr txBox="1"/>
          <p:nvPr/>
        </p:nvSpPr>
        <p:spPr>
          <a:xfrm>
            <a:off x="5131785" y="3803711"/>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bg2">
                    <a:lumMod val="25000"/>
                  </a:schemeClr>
                </a:solidFill>
                <a:latin typeface="+mn-lt"/>
              </a:rPr>
              <a:t>Who </a:t>
            </a:r>
            <a:endParaRPr lang="en-SG" sz="1920" dirty="0">
              <a:solidFill>
                <a:schemeClr val="bg2">
                  <a:lumMod val="25000"/>
                </a:schemeClr>
              </a:solidFill>
              <a:latin typeface="+mn-lt"/>
            </a:endParaRPr>
          </a:p>
        </p:txBody>
      </p:sp>
      <p:sp>
        <p:nvSpPr>
          <p:cNvPr id="27" name="TextBox 26">
            <a:extLst>
              <a:ext uri="{FF2B5EF4-FFF2-40B4-BE49-F238E27FC236}">
                <a16:creationId xmlns:a16="http://schemas.microsoft.com/office/drawing/2014/main" id="{76EF97D9-9318-95BD-11DE-9D15CF0542FD}"/>
              </a:ext>
            </a:extLst>
          </p:cNvPr>
          <p:cNvSpPr txBox="1"/>
          <p:nvPr/>
        </p:nvSpPr>
        <p:spPr>
          <a:xfrm>
            <a:off x="5131785" y="3198384"/>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bg2">
                    <a:lumMod val="25000"/>
                  </a:schemeClr>
                </a:solidFill>
                <a:latin typeface="+mn-lt"/>
              </a:rPr>
              <a:t>Which</a:t>
            </a:r>
            <a:endParaRPr lang="en-SG" sz="1920" dirty="0">
              <a:solidFill>
                <a:schemeClr val="bg2">
                  <a:lumMod val="25000"/>
                </a:schemeClr>
              </a:solidFill>
              <a:latin typeface="+mn-lt"/>
            </a:endParaRPr>
          </a:p>
        </p:txBody>
      </p:sp>
      <p:sp>
        <p:nvSpPr>
          <p:cNvPr id="29" name="TextBox 28">
            <a:extLst>
              <a:ext uri="{FF2B5EF4-FFF2-40B4-BE49-F238E27FC236}">
                <a16:creationId xmlns:a16="http://schemas.microsoft.com/office/drawing/2014/main" id="{9D6437F0-943C-7050-D2E0-8F0A33338D38}"/>
              </a:ext>
            </a:extLst>
          </p:cNvPr>
          <p:cNvSpPr txBox="1"/>
          <p:nvPr/>
        </p:nvSpPr>
        <p:spPr>
          <a:xfrm>
            <a:off x="4379145" y="5142730"/>
            <a:ext cx="3378490" cy="683264"/>
          </a:xfrm>
          <a:prstGeom prst="rect">
            <a:avLst/>
          </a:prstGeom>
          <a:noFill/>
        </p:spPr>
        <p:txBody>
          <a:bodyPr wrap="square" rtlCol="0">
            <a:spAutoFit/>
          </a:bodyPr>
          <a:lstStyle>
            <a:defPPr>
              <a:defRPr lang="en-US"/>
            </a:defPPr>
            <a:lvl1pPr algn="ctr" eaLnBrk="1" fontAlgn="auto" hangingPunct="1">
              <a:spcBef>
                <a:spcPts val="0"/>
              </a:spcBef>
              <a:spcAft>
                <a:spcPts val="0"/>
              </a:spcAft>
              <a:defRPr sz="1600" b="0">
                <a:solidFill>
                  <a:schemeClr val="bg2">
                    <a:lumMod val="25000"/>
                  </a:schemeClr>
                </a:solidFill>
                <a:latin typeface="+mn-lt"/>
              </a:defRPr>
            </a:lvl1pPr>
          </a:lstStyle>
          <a:p>
            <a:r>
              <a:rPr lang="sv-SE" sz="1920" b="1" dirty="0"/>
              <a:t>Who</a:t>
            </a:r>
            <a:r>
              <a:rPr lang="sv-SE" sz="1920" dirty="0"/>
              <a:t> is your current supplier?</a:t>
            </a:r>
            <a:endParaRPr lang="en-SG" sz="1920" dirty="0"/>
          </a:p>
        </p:txBody>
      </p:sp>
      <p:sp>
        <p:nvSpPr>
          <p:cNvPr id="22" name="TextBox 21">
            <a:extLst>
              <a:ext uri="{FF2B5EF4-FFF2-40B4-BE49-F238E27FC236}">
                <a16:creationId xmlns:a16="http://schemas.microsoft.com/office/drawing/2014/main" id="{C79BF976-39F1-6D2B-5CA8-FEBF390CFB4D}"/>
              </a:ext>
            </a:extLst>
          </p:cNvPr>
          <p:cNvSpPr txBox="1"/>
          <p:nvPr/>
        </p:nvSpPr>
        <p:spPr>
          <a:xfrm>
            <a:off x="8779411" y="1987730"/>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accent2"/>
                </a:solidFill>
                <a:latin typeface="+mn-lt"/>
              </a:rPr>
              <a:t>Is/are </a:t>
            </a:r>
            <a:endParaRPr lang="en-SG" sz="1920" dirty="0">
              <a:solidFill>
                <a:schemeClr val="accent2"/>
              </a:solidFill>
              <a:latin typeface="+mn-lt"/>
            </a:endParaRPr>
          </a:p>
        </p:txBody>
      </p:sp>
      <p:sp>
        <p:nvSpPr>
          <p:cNvPr id="23" name="TextBox 22">
            <a:extLst>
              <a:ext uri="{FF2B5EF4-FFF2-40B4-BE49-F238E27FC236}">
                <a16:creationId xmlns:a16="http://schemas.microsoft.com/office/drawing/2014/main" id="{07544C43-3DEC-D7D6-6976-C07AFC5D21FE}"/>
              </a:ext>
            </a:extLst>
          </p:cNvPr>
          <p:cNvSpPr txBox="1"/>
          <p:nvPr/>
        </p:nvSpPr>
        <p:spPr>
          <a:xfrm>
            <a:off x="8779411" y="2593057"/>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accent2"/>
                </a:solidFill>
                <a:latin typeface="+mn-lt"/>
              </a:rPr>
              <a:t>Do/did</a:t>
            </a:r>
            <a:endParaRPr lang="en-SG" sz="1920" dirty="0">
              <a:solidFill>
                <a:schemeClr val="accent2"/>
              </a:solidFill>
              <a:latin typeface="+mn-lt"/>
            </a:endParaRPr>
          </a:p>
        </p:txBody>
      </p:sp>
      <p:sp>
        <p:nvSpPr>
          <p:cNvPr id="24" name="TextBox 23">
            <a:extLst>
              <a:ext uri="{FF2B5EF4-FFF2-40B4-BE49-F238E27FC236}">
                <a16:creationId xmlns:a16="http://schemas.microsoft.com/office/drawing/2014/main" id="{A9B11F88-D98A-DB04-5030-FBC1F370611F}"/>
              </a:ext>
            </a:extLst>
          </p:cNvPr>
          <p:cNvSpPr txBox="1"/>
          <p:nvPr/>
        </p:nvSpPr>
        <p:spPr>
          <a:xfrm>
            <a:off x="8779411" y="3198384"/>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accent2"/>
                </a:solidFill>
                <a:latin typeface="+mn-lt"/>
              </a:rPr>
              <a:t>Would/will</a:t>
            </a:r>
            <a:endParaRPr lang="en-SG" sz="1920" dirty="0">
              <a:solidFill>
                <a:schemeClr val="accent2"/>
              </a:solidFill>
              <a:latin typeface="+mn-lt"/>
            </a:endParaRPr>
          </a:p>
        </p:txBody>
      </p:sp>
      <p:sp>
        <p:nvSpPr>
          <p:cNvPr id="25" name="TextBox 24">
            <a:extLst>
              <a:ext uri="{FF2B5EF4-FFF2-40B4-BE49-F238E27FC236}">
                <a16:creationId xmlns:a16="http://schemas.microsoft.com/office/drawing/2014/main" id="{37B53046-4A86-BB5B-77F2-D3A24F33F417}"/>
              </a:ext>
            </a:extLst>
          </p:cNvPr>
          <p:cNvSpPr txBox="1"/>
          <p:nvPr/>
        </p:nvSpPr>
        <p:spPr>
          <a:xfrm>
            <a:off x="8779411" y="3803711"/>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accent2"/>
                </a:solidFill>
                <a:latin typeface="+mn-lt"/>
              </a:rPr>
              <a:t>Could/can</a:t>
            </a:r>
            <a:endParaRPr lang="en-SG" sz="1920" dirty="0">
              <a:solidFill>
                <a:schemeClr val="accent2"/>
              </a:solidFill>
              <a:latin typeface="+mn-lt"/>
            </a:endParaRPr>
          </a:p>
        </p:txBody>
      </p:sp>
      <p:sp>
        <p:nvSpPr>
          <p:cNvPr id="26" name="TextBox 25">
            <a:extLst>
              <a:ext uri="{FF2B5EF4-FFF2-40B4-BE49-F238E27FC236}">
                <a16:creationId xmlns:a16="http://schemas.microsoft.com/office/drawing/2014/main" id="{8C719AE8-6291-EA62-4213-4AEA5EE6291F}"/>
              </a:ext>
            </a:extLst>
          </p:cNvPr>
          <p:cNvSpPr txBox="1"/>
          <p:nvPr/>
        </p:nvSpPr>
        <p:spPr>
          <a:xfrm>
            <a:off x="8779411" y="4409036"/>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dirty="0">
                <a:solidFill>
                  <a:schemeClr val="accent2"/>
                </a:solidFill>
                <a:latin typeface="+mn-lt"/>
              </a:rPr>
              <a:t>Was/were</a:t>
            </a:r>
            <a:endParaRPr lang="en-SG" sz="1920" dirty="0">
              <a:solidFill>
                <a:schemeClr val="accent2"/>
              </a:solidFill>
              <a:latin typeface="+mn-lt"/>
            </a:endParaRPr>
          </a:p>
        </p:txBody>
      </p:sp>
      <p:sp>
        <p:nvSpPr>
          <p:cNvPr id="30" name="TextBox 29">
            <a:extLst>
              <a:ext uri="{FF2B5EF4-FFF2-40B4-BE49-F238E27FC236}">
                <a16:creationId xmlns:a16="http://schemas.microsoft.com/office/drawing/2014/main" id="{29B6409C-9D55-4C77-2F4E-B19545B96DB6}"/>
              </a:ext>
            </a:extLst>
          </p:cNvPr>
          <p:cNvSpPr txBox="1"/>
          <p:nvPr/>
        </p:nvSpPr>
        <p:spPr>
          <a:xfrm>
            <a:off x="8026771" y="5142730"/>
            <a:ext cx="3378490" cy="683264"/>
          </a:xfrm>
          <a:prstGeom prst="rect">
            <a:avLst/>
          </a:prstGeom>
          <a:noFill/>
        </p:spPr>
        <p:txBody>
          <a:bodyPr wrap="square" rtlCol="0">
            <a:spAutoFit/>
          </a:bodyPr>
          <a:lstStyle>
            <a:defPPr>
              <a:defRPr lang="en-US"/>
            </a:defPPr>
            <a:lvl1pPr algn="ctr" eaLnBrk="1" fontAlgn="auto" hangingPunct="1">
              <a:spcBef>
                <a:spcPts val="0"/>
              </a:spcBef>
              <a:spcAft>
                <a:spcPts val="0"/>
              </a:spcAft>
              <a:defRPr sz="1600" b="0">
                <a:solidFill>
                  <a:schemeClr val="accent2"/>
                </a:solidFill>
                <a:latin typeface="+mn-lt"/>
              </a:defRPr>
            </a:lvl1pPr>
          </a:lstStyle>
          <a:p>
            <a:r>
              <a:rPr lang="sv-SE" sz="1920" b="1" dirty="0"/>
              <a:t>Are</a:t>
            </a:r>
            <a:r>
              <a:rPr lang="sv-SE" sz="1920" dirty="0"/>
              <a:t> you happy with your current supplier?</a:t>
            </a:r>
            <a:endParaRPr lang="en-SG" sz="1920" dirty="0"/>
          </a:p>
        </p:txBody>
      </p:sp>
      <p:cxnSp>
        <p:nvCxnSpPr>
          <p:cNvPr id="35" name="Straight Connector 34">
            <a:extLst>
              <a:ext uri="{FF2B5EF4-FFF2-40B4-BE49-F238E27FC236}">
                <a16:creationId xmlns:a16="http://schemas.microsoft.com/office/drawing/2014/main" id="{456D6A8A-033D-D68D-8ED5-5A47A6A4973B}"/>
              </a:ext>
            </a:extLst>
          </p:cNvPr>
          <p:cNvCxnSpPr/>
          <p:nvPr/>
        </p:nvCxnSpPr>
        <p:spPr>
          <a:xfrm>
            <a:off x="609600" y="4906741"/>
            <a:ext cx="10972800" cy="0"/>
          </a:xfrm>
          <a:prstGeom prst="line">
            <a:avLst/>
          </a:prstGeom>
          <a:ln>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219A3C59-67CD-D7EA-5913-494148A48592}"/>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BE574C84-FBF2-DA04-BDE5-4C0BCF050742}"/>
              </a:ext>
            </a:extLst>
          </p:cNvPr>
          <p:cNvSpPr>
            <a:spLocks noGrp="1"/>
          </p:cNvSpPr>
          <p:nvPr>
            <p:ph type="title"/>
          </p:nvPr>
        </p:nvSpPr>
        <p:spPr/>
        <p:txBody>
          <a:bodyPr/>
          <a:lstStyle/>
          <a:p>
            <a:r>
              <a:rPr lang="sv-SE" dirty="0"/>
              <a:t>Asking questions is great, asking open questions is even better</a:t>
            </a:r>
            <a:endParaRPr lang="en-SG" dirty="0"/>
          </a:p>
        </p:txBody>
      </p:sp>
      <p:sp>
        <p:nvSpPr>
          <p:cNvPr id="3" name="Text Placeholder 2">
            <a:extLst>
              <a:ext uri="{FF2B5EF4-FFF2-40B4-BE49-F238E27FC236}">
                <a16:creationId xmlns:a16="http://schemas.microsoft.com/office/drawing/2014/main" id="{FFB7316C-A976-E4BE-E74B-40A6E517B7B1}"/>
              </a:ext>
            </a:extLst>
          </p:cNvPr>
          <p:cNvSpPr>
            <a:spLocks noGrp="1"/>
          </p:cNvSpPr>
          <p:nvPr>
            <p:ph type="body" sz="half" idx="2"/>
          </p:nvPr>
        </p:nvSpPr>
        <p:spPr/>
        <p:txBody>
          <a:bodyPr/>
          <a:lstStyle/>
          <a:p>
            <a:endParaRPr lang="en-US"/>
          </a:p>
        </p:txBody>
      </p:sp>
      <p:cxnSp>
        <p:nvCxnSpPr>
          <p:cNvPr id="5" name="Straight Arrow Connector 4">
            <a:extLst>
              <a:ext uri="{FF2B5EF4-FFF2-40B4-BE49-F238E27FC236}">
                <a16:creationId xmlns:a16="http://schemas.microsoft.com/office/drawing/2014/main" id="{26BD5171-6ABE-035C-C9FC-21C3EC4DDB75}"/>
              </a:ext>
            </a:extLst>
          </p:cNvPr>
          <p:cNvCxnSpPr/>
          <p:nvPr/>
        </p:nvCxnSpPr>
        <p:spPr>
          <a:xfrm>
            <a:off x="1511768" y="1722120"/>
            <a:ext cx="9168464" cy="0"/>
          </a:xfrm>
          <a:prstGeom prst="straightConnector1">
            <a:avLst/>
          </a:prstGeom>
          <a:ln w="76200">
            <a:gradFill flip="none" rotWithShape="1">
              <a:gsLst>
                <a:gs pos="0">
                  <a:schemeClr val="accent2"/>
                </a:gs>
                <a:gs pos="51000">
                  <a:schemeClr val="bg2">
                    <a:lumMod val="50000"/>
                  </a:schemeClr>
                </a:gs>
                <a:gs pos="100000">
                  <a:srgbClr val="1F6898"/>
                </a:gs>
              </a:gsLst>
              <a:lin ang="108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0E6E551-754D-384C-060D-2DD7C3755BBE}"/>
              </a:ext>
            </a:extLst>
          </p:cNvPr>
          <p:cNvSpPr txBox="1"/>
          <p:nvPr/>
        </p:nvSpPr>
        <p:spPr>
          <a:xfrm>
            <a:off x="1484160" y="1253378"/>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b="1" dirty="0">
                <a:latin typeface="+mn-lt"/>
              </a:rPr>
              <a:t>Open</a:t>
            </a:r>
            <a:endParaRPr lang="en-SG" sz="1920" b="1" dirty="0">
              <a:latin typeface="+mn-lt"/>
            </a:endParaRPr>
          </a:p>
        </p:txBody>
      </p:sp>
      <p:sp>
        <p:nvSpPr>
          <p:cNvPr id="8" name="TextBox 7">
            <a:extLst>
              <a:ext uri="{FF2B5EF4-FFF2-40B4-BE49-F238E27FC236}">
                <a16:creationId xmlns:a16="http://schemas.microsoft.com/office/drawing/2014/main" id="{45C7B7D4-384C-D754-BB57-4555D785F1B6}"/>
              </a:ext>
            </a:extLst>
          </p:cNvPr>
          <p:cNvSpPr txBox="1"/>
          <p:nvPr/>
        </p:nvSpPr>
        <p:spPr>
          <a:xfrm>
            <a:off x="8779411" y="1253378"/>
            <a:ext cx="1873213" cy="387798"/>
          </a:xfrm>
          <a:prstGeom prst="rect">
            <a:avLst/>
          </a:prstGeom>
          <a:noFill/>
        </p:spPr>
        <p:txBody>
          <a:bodyPr wrap="square" rtlCol="0">
            <a:spAutoFit/>
          </a:bodyPr>
          <a:lstStyle/>
          <a:p>
            <a:pPr algn="ctr" eaLnBrk="1" fontAlgn="auto" hangingPunct="1">
              <a:spcBef>
                <a:spcPts val="0"/>
              </a:spcBef>
              <a:spcAft>
                <a:spcPts val="0"/>
              </a:spcAft>
            </a:pPr>
            <a:r>
              <a:rPr lang="sv-SE" sz="1920" b="1" dirty="0">
                <a:solidFill>
                  <a:schemeClr val="accent2"/>
                </a:solidFill>
                <a:latin typeface="+mn-lt"/>
              </a:rPr>
              <a:t>Closed</a:t>
            </a:r>
            <a:endParaRPr lang="en-SG" sz="1920" b="1" dirty="0">
              <a:solidFill>
                <a:schemeClr val="accent2"/>
              </a:solidFill>
              <a:latin typeface="+mn-lt"/>
            </a:endParaRPr>
          </a:p>
        </p:txBody>
      </p:sp>
    </p:spTree>
    <p:extLst>
      <p:ext uri="{BB962C8B-B14F-4D97-AF65-F5344CB8AC3E}">
        <p14:creationId xmlns:p14="http://schemas.microsoft.com/office/powerpoint/2010/main" val="1994533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nodeType="with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fade">
                                      <p:cBhvr>
                                        <p:cTn id="16" dur="500"/>
                                        <p:tgtEl>
                                          <p:spTgt spid="3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7" grpId="0"/>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BDDFAE6-4645-C010-1EF5-B07A4AC809AB}"/>
              </a:ext>
            </a:extLst>
          </p:cNvPr>
          <p:cNvSpPr>
            <a:spLocks noGrp="1"/>
          </p:cNvSpPr>
          <p:nvPr>
            <p:ph type="body" sz="half" idx="10"/>
          </p:nvPr>
        </p:nvSpPr>
        <p:spPr/>
        <p:txBody>
          <a:bodyPr/>
          <a:lstStyle/>
          <a:p>
            <a:endParaRPr lang="en-US"/>
          </a:p>
        </p:txBody>
      </p:sp>
      <p:sp>
        <p:nvSpPr>
          <p:cNvPr id="3" name="Title 2">
            <a:extLst>
              <a:ext uri="{FF2B5EF4-FFF2-40B4-BE49-F238E27FC236}">
                <a16:creationId xmlns:a16="http://schemas.microsoft.com/office/drawing/2014/main" id="{B67E5552-6C3A-1726-76E6-1C8CA01404C7}"/>
              </a:ext>
            </a:extLst>
          </p:cNvPr>
          <p:cNvSpPr>
            <a:spLocks noGrp="1"/>
          </p:cNvSpPr>
          <p:nvPr>
            <p:ph type="title"/>
          </p:nvPr>
        </p:nvSpPr>
        <p:spPr/>
        <p:txBody>
          <a:bodyPr wrap="square" anchor="ctr">
            <a:normAutofit fontScale="90000"/>
          </a:bodyPr>
          <a:lstStyle/>
          <a:p>
            <a:r>
              <a:rPr lang="en-GB"/>
              <a:t>Did you watch the videos?</a:t>
            </a:r>
            <a:endParaRPr lang="en-DK"/>
          </a:p>
        </p:txBody>
      </p:sp>
      <p:sp>
        <p:nvSpPr>
          <p:cNvPr id="2" name="Text Placeholder 1">
            <a:extLst>
              <a:ext uri="{FF2B5EF4-FFF2-40B4-BE49-F238E27FC236}">
                <a16:creationId xmlns:a16="http://schemas.microsoft.com/office/drawing/2014/main" id="{6D26C952-9CD1-95CE-8A3C-66AF7E06005C}"/>
              </a:ext>
            </a:extLst>
          </p:cNvPr>
          <p:cNvSpPr>
            <a:spLocks noGrp="1"/>
          </p:cNvSpPr>
          <p:nvPr>
            <p:ph type="body" sz="half" idx="2"/>
          </p:nvPr>
        </p:nvSpPr>
        <p:spPr/>
        <p:txBody>
          <a:bodyPr/>
          <a:lstStyle/>
          <a:p>
            <a:endParaRPr lang="en-US"/>
          </a:p>
        </p:txBody>
      </p:sp>
      <p:pic>
        <p:nvPicPr>
          <p:cNvPr id="6" name="Picture 5" descr="A person in a suit&#10;&#10;Description automatically generated">
            <a:extLst>
              <a:ext uri="{FF2B5EF4-FFF2-40B4-BE49-F238E27FC236}">
                <a16:creationId xmlns:a16="http://schemas.microsoft.com/office/drawing/2014/main" id="{4F1229F8-7E8F-E25F-9E2A-C8CCB2EEB19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1495" r="1" b="5641"/>
          <a:stretch/>
        </p:blipFill>
        <p:spPr>
          <a:xfrm>
            <a:off x="1366723" y="1920240"/>
            <a:ext cx="9464040" cy="4352544"/>
          </a:xfrm>
          <a:prstGeom prst="rect">
            <a:avLst/>
          </a:prstGeom>
          <a:noFill/>
        </p:spPr>
      </p:pic>
    </p:spTree>
    <p:extLst>
      <p:ext uri="{BB962C8B-B14F-4D97-AF65-F5344CB8AC3E}">
        <p14:creationId xmlns:p14="http://schemas.microsoft.com/office/powerpoint/2010/main" val="21487583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DD314D7-2479-9BA4-3386-377911CE11C0}"/>
              </a:ext>
            </a:extLst>
          </p:cNvPr>
          <p:cNvSpPr>
            <a:spLocks noGrp="1"/>
          </p:cNvSpPr>
          <p:nvPr>
            <p:ph type="body" sz="half" idx="10"/>
          </p:nvPr>
        </p:nvSpPr>
        <p:spPr/>
        <p:txBody>
          <a:bodyPr/>
          <a:lstStyle/>
          <a:p>
            <a:endParaRPr lang="en-US"/>
          </a:p>
        </p:txBody>
      </p:sp>
      <p:sp>
        <p:nvSpPr>
          <p:cNvPr id="8" name="Title 7">
            <a:extLst>
              <a:ext uri="{FF2B5EF4-FFF2-40B4-BE49-F238E27FC236}">
                <a16:creationId xmlns:a16="http://schemas.microsoft.com/office/drawing/2014/main" id="{7BA8AA49-AA90-BA5A-C405-4AB2A509E5A6}"/>
              </a:ext>
            </a:extLst>
          </p:cNvPr>
          <p:cNvSpPr>
            <a:spLocks noGrp="1"/>
          </p:cNvSpPr>
          <p:nvPr>
            <p:ph type="title"/>
          </p:nvPr>
        </p:nvSpPr>
        <p:spPr/>
        <p:txBody>
          <a:bodyPr/>
          <a:lstStyle/>
          <a:p>
            <a:r>
              <a:rPr lang="sv-SE" dirty="0"/>
              <a:t>What’s the value-based sales process</a:t>
            </a:r>
            <a:endParaRPr lang="en-SG" dirty="0"/>
          </a:p>
        </p:txBody>
      </p:sp>
      <p:sp>
        <p:nvSpPr>
          <p:cNvPr id="4" name="Text Placeholder 3">
            <a:extLst>
              <a:ext uri="{FF2B5EF4-FFF2-40B4-BE49-F238E27FC236}">
                <a16:creationId xmlns:a16="http://schemas.microsoft.com/office/drawing/2014/main" id="{BCC1636A-2EA3-31CD-1CE4-21ECA6E18E84}"/>
              </a:ext>
            </a:extLst>
          </p:cNvPr>
          <p:cNvSpPr>
            <a:spLocks noGrp="1"/>
          </p:cNvSpPr>
          <p:nvPr>
            <p:ph type="body" sz="half" idx="2"/>
          </p:nvPr>
        </p:nvSpPr>
        <p:spPr/>
        <p:txBody>
          <a:bodyPr/>
          <a:lstStyle/>
          <a:p>
            <a:endParaRPr lang="en-US"/>
          </a:p>
        </p:txBody>
      </p:sp>
      <p:sp>
        <p:nvSpPr>
          <p:cNvPr id="9" name="TextBox 8">
            <a:extLst>
              <a:ext uri="{FF2B5EF4-FFF2-40B4-BE49-F238E27FC236}">
                <a16:creationId xmlns:a16="http://schemas.microsoft.com/office/drawing/2014/main" id="{6B4559CF-C5D0-C897-E9AC-877368947E58}"/>
              </a:ext>
            </a:extLst>
          </p:cNvPr>
          <p:cNvSpPr txBox="1"/>
          <p:nvPr/>
        </p:nvSpPr>
        <p:spPr>
          <a:xfrm>
            <a:off x="1860163" y="2559819"/>
            <a:ext cx="2403401" cy="461665"/>
          </a:xfrm>
          <a:prstGeom prst="rect">
            <a:avLst/>
          </a:prstGeom>
          <a:noFill/>
        </p:spPr>
        <p:txBody>
          <a:bodyPr wrap="square" rtlCol="0">
            <a:spAutoFit/>
          </a:bodyPr>
          <a:lstStyle/>
          <a:p>
            <a:pPr algn="ctr" eaLnBrk="1" fontAlgn="auto" hangingPunct="1">
              <a:spcBef>
                <a:spcPts val="0"/>
              </a:spcBef>
              <a:spcAft>
                <a:spcPts val="0"/>
              </a:spcAft>
            </a:pPr>
            <a:r>
              <a:rPr lang="sv-SE" sz="2400" b="1" dirty="0">
                <a:solidFill>
                  <a:schemeClr val="bg2">
                    <a:lumMod val="10000"/>
                  </a:schemeClr>
                </a:solidFill>
                <a:latin typeface="+mn-lt"/>
              </a:rPr>
              <a:t>Discovery </a:t>
            </a:r>
            <a:endParaRPr lang="en-SG" sz="2400" b="1" dirty="0">
              <a:solidFill>
                <a:schemeClr val="bg2">
                  <a:lumMod val="10000"/>
                </a:schemeClr>
              </a:solidFill>
              <a:latin typeface="+mn-lt"/>
            </a:endParaRPr>
          </a:p>
        </p:txBody>
      </p:sp>
      <p:sp>
        <p:nvSpPr>
          <p:cNvPr id="10" name="TextBox 9">
            <a:extLst>
              <a:ext uri="{FF2B5EF4-FFF2-40B4-BE49-F238E27FC236}">
                <a16:creationId xmlns:a16="http://schemas.microsoft.com/office/drawing/2014/main" id="{116EE3E8-9A3F-D2B6-87FC-AB785C76AB04}"/>
              </a:ext>
            </a:extLst>
          </p:cNvPr>
          <p:cNvSpPr txBox="1"/>
          <p:nvPr/>
        </p:nvSpPr>
        <p:spPr>
          <a:xfrm>
            <a:off x="5033719" y="2559818"/>
            <a:ext cx="2403401" cy="830997"/>
          </a:xfrm>
          <a:prstGeom prst="rect">
            <a:avLst/>
          </a:prstGeom>
          <a:noFill/>
        </p:spPr>
        <p:txBody>
          <a:bodyPr wrap="square" rtlCol="0">
            <a:spAutoFit/>
          </a:bodyPr>
          <a:lstStyle/>
          <a:p>
            <a:pPr algn="ctr" eaLnBrk="1" fontAlgn="auto" hangingPunct="1">
              <a:spcBef>
                <a:spcPts val="0"/>
              </a:spcBef>
              <a:spcAft>
                <a:spcPts val="0"/>
              </a:spcAft>
            </a:pPr>
            <a:r>
              <a:rPr lang="sv-SE" sz="2400" b="1" dirty="0">
                <a:solidFill>
                  <a:schemeClr val="bg2">
                    <a:lumMod val="10000"/>
                  </a:schemeClr>
                </a:solidFill>
                <a:latin typeface="+mn-lt"/>
              </a:rPr>
              <a:t>Find customer needs</a:t>
            </a:r>
            <a:endParaRPr lang="en-SG" sz="2400" b="1" dirty="0">
              <a:solidFill>
                <a:schemeClr val="bg2">
                  <a:lumMod val="10000"/>
                </a:schemeClr>
              </a:solidFill>
              <a:latin typeface="+mn-lt"/>
            </a:endParaRPr>
          </a:p>
        </p:txBody>
      </p:sp>
      <p:sp>
        <p:nvSpPr>
          <p:cNvPr id="11" name="TextBox 10">
            <a:extLst>
              <a:ext uri="{FF2B5EF4-FFF2-40B4-BE49-F238E27FC236}">
                <a16:creationId xmlns:a16="http://schemas.microsoft.com/office/drawing/2014/main" id="{CCE211F5-0D39-3558-31CC-0E7566F975B8}"/>
              </a:ext>
            </a:extLst>
          </p:cNvPr>
          <p:cNvSpPr txBox="1"/>
          <p:nvPr/>
        </p:nvSpPr>
        <p:spPr>
          <a:xfrm>
            <a:off x="2246965" y="4188555"/>
            <a:ext cx="1629797" cy="609398"/>
          </a:xfrm>
          <a:prstGeom prst="rect">
            <a:avLst/>
          </a:prstGeom>
          <a:noFill/>
        </p:spPr>
        <p:txBody>
          <a:bodyPr wrap="square" rtlCol="0">
            <a:spAutoFit/>
          </a:bodyPr>
          <a:lstStyle/>
          <a:p>
            <a:pPr algn="ctr" eaLnBrk="1" fontAlgn="auto" hangingPunct="1">
              <a:spcBef>
                <a:spcPts val="0"/>
              </a:spcBef>
              <a:spcAft>
                <a:spcPts val="0"/>
              </a:spcAft>
            </a:pPr>
            <a:r>
              <a:rPr lang="sv-SE" sz="1680" dirty="0">
                <a:solidFill>
                  <a:schemeClr val="bg2">
                    <a:lumMod val="10000"/>
                  </a:schemeClr>
                </a:solidFill>
                <a:latin typeface="+mn-lt"/>
              </a:rPr>
              <a:t>Ask open questions </a:t>
            </a:r>
            <a:endParaRPr lang="en-SG" sz="1680" dirty="0">
              <a:solidFill>
                <a:schemeClr val="bg2">
                  <a:lumMod val="10000"/>
                </a:schemeClr>
              </a:solidFill>
              <a:latin typeface="+mn-lt"/>
            </a:endParaRPr>
          </a:p>
        </p:txBody>
      </p:sp>
      <p:sp>
        <p:nvSpPr>
          <p:cNvPr id="12" name="TextBox 11">
            <a:extLst>
              <a:ext uri="{FF2B5EF4-FFF2-40B4-BE49-F238E27FC236}">
                <a16:creationId xmlns:a16="http://schemas.microsoft.com/office/drawing/2014/main" id="{BA814CCB-E56F-4DFB-5B92-FA09B58CA185}"/>
              </a:ext>
            </a:extLst>
          </p:cNvPr>
          <p:cNvSpPr txBox="1"/>
          <p:nvPr/>
        </p:nvSpPr>
        <p:spPr>
          <a:xfrm>
            <a:off x="5420521" y="4188555"/>
            <a:ext cx="1629797" cy="609398"/>
          </a:xfrm>
          <a:prstGeom prst="rect">
            <a:avLst/>
          </a:prstGeom>
          <a:noFill/>
        </p:spPr>
        <p:txBody>
          <a:bodyPr wrap="square" rtlCol="0">
            <a:spAutoFit/>
          </a:bodyPr>
          <a:lstStyle/>
          <a:p>
            <a:pPr algn="ctr" eaLnBrk="1" fontAlgn="auto" hangingPunct="1">
              <a:spcBef>
                <a:spcPts val="0"/>
              </a:spcBef>
              <a:spcAft>
                <a:spcPts val="0"/>
              </a:spcAft>
            </a:pPr>
            <a:r>
              <a:rPr lang="sv-SE" sz="1680" dirty="0">
                <a:solidFill>
                  <a:schemeClr val="bg2">
                    <a:lumMod val="10000"/>
                  </a:schemeClr>
                </a:solidFill>
                <a:latin typeface="+mn-lt"/>
              </a:rPr>
              <a:t>Confirm needs</a:t>
            </a:r>
            <a:endParaRPr lang="en-SG" sz="1680" dirty="0">
              <a:solidFill>
                <a:schemeClr val="bg2">
                  <a:lumMod val="10000"/>
                </a:schemeClr>
              </a:solidFill>
              <a:latin typeface="+mn-lt"/>
            </a:endParaRPr>
          </a:p>
        </p:txBody>
      </p:sp>
      <p:sp>
        <p:nvSpPr>
          <p:cNvPr id="13" name="TextBox 12">
            <a:extLst>
              <a:ext uri="{FF2B5EF4-FFF2-40B4-BE49-F238E27FC236}">
                <a16:creationId xmlns:a16="http://schemas.microsoft.com/office/drawing/2014/main" id="{B5E61E44-438F-C8FD-C4C6-3D5CC846FE30}"/>
              </a:ext>
            </a:extLst>
          </p:cNvPr>
          <p:cNvSpPr txBox="1"/>
          <p:nvPr/>
        </p:nvSpPr>
        <p:spPr>
          <a:xfrm>
            <a:off x="8035999" y="2549243"/>
            <a:ext cx="2403401" cy="461665"/>
          </a:xfrm>
          <a:prstGeom prst="rect">
            <a:avLst/>
          </a:prstGeom>
          <a:noFill/>
        </p:spPr>
        <p:txBody>
          <a:bodyPr wrap="square" rtlCol="0">
            <a:spAutoFit/>
          </a:bodyPr>
          <a:lstStyle/>
          <a:p>
            <a:pPr algn="ctr" eaLnBrk="1" fontAlgn="auto" hangingPunct="1">
              <a:spcBef>
                <a:spcPts val="0"/>
              </a:spcBef>
              <a:spcAft>
                <a:spcPts val="0"/>
              </a:spcAft>
            </a:pPr>
            <a:r>
              <a:rPr lang="sv-SE" sz="2400" b="1" dirty="0">
                <a:solidFill>
                  <a:schemeClr val="bg2">
                    <a:lumMod val="10000"/>
                  </a:schemeClr>
                </a:solidFill>
                <a:latin typeface="+mn-lt"/>
              </a:rPr>
              <a:t>Satifsy </a:t>
            </a:r>
            <a:endParaRPr lang="en-SG" sz="2400" b="1" dirty="0">
              <a:solidFill>
                <a:schemeClr val="bg2">
                  <a:lumMod val="10000"/>
                </a:schemeClr>
              </a:solidFill>
              <a:latin typeface="+mn-lt"/>
            </a:endParaRPr>
          </a:p>
        </p:txBody>
      </p:sp>
      <p:sp>
        <p:nvSpPr>
          <p:cNvPr id="14" name="TextBox 13">
            <a:extLst>
              <a:ext uri="{FF2B5EF4-FFF2-40B4-BE49-F238E27FC236}">
                <a16:creationId xmlns:a16="http://schemas.microsoft.com/office/drawing/2014/main" id="{9CDBC794-7C1E-2091-4B0A-D6FE8826B1DC}"/>
              </a:ext>
            </a:extLst>
          </p:cNvPr>
          <p:cNvSpPr txBox="1"/>
          <p:nvPr/>
        </p:nvSpPr>
        <p:spPr>
          <a:xfrm>
            <a:off x="8422801" y="4177981"/>
            <a:ext cx="1629797" cy="609398"/>
          </a:xfrm>
          <a:prstGeom prst="rect">
            <a:avLst/>
          </a:prstGeom>
          <a:noFill/>
        </p:spPr>
        <p:txBody>
          <a:bodyPr wrap="square" rtlCol="0">
            <a:spAutoFit/>
          </a:bodyPr>
          <a:lstStyle/>
          <a:p>
            <a:pPr algn="ctr" eaLnBrk="1" fontAlgn="auto" hangingPunct="1">
              <a:spcBef>
                <a:spcPts val="0"/>
              </a:spcBef>
              <a:spcAft>
                <a:spcPts val="0"/>
              </a:spcAft>
            </a:pPr>
            <a:r>
              <a:rPr lang="sv-SE" sz="1680" dirty="0">
                <a:solidFill>
                  <a:schemeClr val="bg2">
                    <a:lumMod val="10000"/>
                  </a:schemeClr>
                </a:solidFill>
                <a:latin typeface="+mn-lt"/>
              </a:rPr>
              <a:t>Present benefits</a:t>
            </a:r>
            <a:endParaRPr lang="en-SG" sz="1680" dirty="0">
              <a:solidFill>
                <a:schemeClr val="bg2">
                  <a:lumMod val="10000"/>
                </a:schemeClr>
              </a:solidFill>
              <a:latin typeface="+mn-lt"/>
            </a:endParaRPr>
          </a:p>
        </p:txBody>
      </p:sp>
      <p:sp>
        <p:nvSpPr>
          <p:cNvPr id="16" name="Arrow: Curved Up 15">
            <a:extLst>
              <a:ext uri="{FF2B5EF4-FFF2-40B4-BE49-F238E27FC236}">
                <a16:creationId xmlns:a16="http://schemas.microsoft.com/office/drawing/2014/main" id="{65739332-537F-321A-6D2E-66206051AB7B}"/>
              </a:ext>
            </a:extLst>
          </p:cNvPr>
          <p:cNvSpPr/>
          <p:nvPr/>
        </p:nvSpPr>
        <p:spPr>
          <a:xfrm rot="10800000">
            <a:off x="2726716" y="1442198"/>
            <a:ext cx="6859740" cy="1159181"/>
          </a:xfrm>
          <a:prstGeom prst="curvedUpArrow">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endParaRPr>
          </a:p>
        </p:txBody>
      </p:sp>
      <p:sp>
        <p:nvSpPr>
          <p:cNvPr id="2" name="Arrow: Right 1">
            <a:extLst>
              <a:ext uri="{FF2B5EF4-FFF2-40B4-BE49-F238E27FC236}">
                <a16:creationId xmlns:a16="http://schemas.microsoft.com/office/drawing/2014/main" id="{EBAF4489-A589-5637-4482-321CDDCB6960}"/>
              </a:ext>
            </a:extLst>
          </p:cNvPr>
          <p:cNvSpPr/>
          <p:nvPr/>
        </p:nvSpPr>
        <p:spPr>
          <a:xfrm>
            <a:off x="4441848" y="2677714"/>
            <a:ext cx="465151" cy="1550504"/>
          </a:xfrm>
          <a:prstGeom prst="rightArrow">
            <a:avLst>
              <a:gd name="adj1" fmla="val 50000"/>
              <a:gd name="adj2" fmla="val 10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 name="Arrow: Right 2">
            <a:extLst>
              <a:ext uri="{FF2B5EF4-FFF2-40B4-BE49-F238E27FC236}">
                <a16:creationId xmlns:a16="http://schemas.microsoft.com/office/drawing/2014/main" id="{E5DBF46E-038F-5B9F-04BC-E5847E670AF1}"/>
              </a:ext>
            </a:extLst>
          </p:cNvPr>
          <p:cNvSpPr/>
          <p:nvPr/>
        </p:nvSpPr>
        <p:spPr>
          <a:xfrm>
            <a:off x="7957650" y="2638052"/>
            <a:ext cx="465151" cy="1550504"/>
          </a:xfrm>
          <a:prstGeom prst="rightArrow">
            <a:avLst>
              <a:gd name="adj1" fmla="val 50000"/>
              <a:gd name="adj2" fmla="val 10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Tree>
    <p:extLst>
      <p:ext uri="{BB962C8B-B14F-4D97-AF65-F5344CB8AC3E}">
        <p14:creationId xmlns:p14="http://schemas.microsoft.com/office/powerpoint/2010/main" val="3610836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14" grpId="0"/>
      <p:bldP spid="16" grpId="0" animBg="1"/>
      <p:bldP spid="2" grpId="0" animBg="1"/>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813E1D1-EC21-79B5-3793-0035DACE2E31}"/>
              </a:ext>
            </a:extLst>
          </p:cNvPr>
          <p:cNvSpPr/>
          <p:nvPr/>
        </p:nvSpPr>
        <p:spPr>
          <a:xfrm>
            <a:off x="7796784" y="5662814"/>
            <a:ext cx="3694176" cy="493775"/>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SG"/>
          </a:p>
        </p:txBody>
      </p:sp>
      <p:sp>
        <p:nvSpPr>
          <p:cNvPr id="4" name="Speech Bubble: Oval 3">
            <a:extLst>
              <a:ext uri="{FF2B5EF4-FFF2-40B4-BE49-F238E27FC236}">
                <a16:creationId xmlns:a16="http://schemas.microsoft.com/office/drawing/2014/main" id="{FA3AD991-ECCD-20DC-7849-8851AEDFAD8D}"/>
              </a:ext>
            </a:extLst>
          </p:cNvPr>
          <p:cNvSpPr/>
          <p:nvPr/>
        </p:nvSpPr>
        <p:spPr>
          <a:xfrm>
            <a:off x="1091196" y="1393291"/>
            <a:ext cx="7644384" cy="5137414"/>
          </a:xfrm>
          <a:prstGeom prst="wedgeEllipseCallout">
            <a:avLst>
              <a:gd name="adj1" fmla="val -37221"/>
              <a:gd name="adj2" fmla="val 5548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2" name="Title 1">
            <a:extLst>
              <a:ext uri="{FF2B5EF4-FFF2-40B4-BE49-F238E27FC236}">
                <a16:creationId xmlns:a16="http://schemas.microsoft.com/office/drawing/2014/main" id="{1F1B4F12-34ED-E505-0CE2-E4D3F950CDE5}"/>
              </a:ext>
            </a:extLst>
          </p:cNvPr>
          <p:cNvSpPr>
            <a:spLocks noGrp="1"/>
          </p:cNvSpPr>
          <p:nvPr>
            <p:ph type="title"/>
          </p:nvPr>
        </p:nvSpPr>
        <p:spPr/>
        <p:txBody>
          <a:bodyPr/>
          <a:lstStyle/>
          <a:p>
            <a:r>
              <a:rPr lang="en-US" dirty="0"/>
              <a:t>How do we know if we found the </a:t>
            </a:r>
            <a:r>
              <a:rPr lang="en-US" dirty="0">
                <a:solidFill>
                  <a:schemeClr val="accent1"/>
                </a:solidFill>
              </a:rPr>
              <a:t>need</a:t>
            </a:r>
            <a:r>
              <a:rPr lang="en-US" dirty="0"/>
              <a:t>?</a:t>
            </a:r>
          </a:p>
        </p:txBody>
      </p:sp>
      <p:sp>
        <p:nvSpPr>
          <p:cNvPr id="6" name="TextBox 5">
            <a:extLst>
              <a:ext uri="{FF2B5EF4-FFF2-40B4-BE49-F238E27FC236}">
                <a16:creationId xmlns:a16="http://schemas.microsoft.com/office/drawing/2014/main" id="{3BF93336-D912-4F57-E01B-D7AE8E00007C}"/>
              </a:ext>
            </a:extLst>
          </p:cNvPr>
          <p:cNvSpPr txBox="1"/>
          <p:nvPr/>
        </p:nvSpPr>
        <p:spPr>
          <a:xfrm>
            <a:off x="3141530" y="2001962"/>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I want</a:t>
            </a:r>
            <a:endParaRPr lang="en-SG" sz="1680" b="1" dirty="0">
              <a:solidFill>
                <a:schemeClr val="accent1"/>
              </a:solidFill>
              <a:latin typeface="+mn-lt"/>
            </a:endParaRPr>
          </a:p>
        </p:txBody>
      </p:sp>
      <p:sp>
        <p:nvSpPr>
          <p:cNvPr id="7" name="TextBox 6">
            <a:extLst>
              <a:ext uri="{FF2B5EF4-FFF2-40B4-BE49-F238E27FC236}">
                <a16:creationId xmlns:a16="http://schemas.microsoft.com/office/drawing/2014/main" id="{994F0EE7-27D1-2AF2-CFEC-FD57132F7A16}"/>
              </a:ext>
            </a:extLst>
          </p:cNvPr>
          <p:cNvSpPr txBox="1"/>
          <p:nvPr/>
        </p:nvSpPr>
        <p:spPr>
          <a:xfrm>
            <a:off x="3141529" y="2538353"/>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I need</a:t>
            </a:r>
            <a:endParaRPr lang="en-SG" sz="1680" b="1" dirty="0">
              <a:solidFill>
                <a:schemeClr val="accent1"/>
              </a:solidFill>
              <a:latin typeface="+mn-lt"/>
            </a:endParaRPr>
          </a:p>
        </p:txBody>
      </p:sp>
      <p:sp>
        <p:nvSpPr>
          <p:cNvPr id="8" name="TextBox 7">
            <a:extLst>
              <a:ext uri="{FF2B5EF4-FFF2-40B4-BE49-F238E27FC236}">
                <a16:creationId xmlns:a16="http://schemas.microsoft.com/office/drawing/2014/main" id="{2212C7EB-CB41-3C10-EAA6-46C8C0A3B9B3}"/>
              </a:ext>
            </a:extLst>
          </p:cNvPr>
          <p:cNvSpPr txBox="1"/>
          <p:nvPr/>
        </p:nvSpPr>
        <p:spPr>
          <a:xfrm>
            <a:off x="3141529" y="3074743"/>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It’s important</a:t>
            </a:r>
            <a:endParaRPr lang="en-SG" sz="1680" b="1" dirty="0">
              <a:solidFill>
                <a:schemeClr val="accent1"/>
              </a:solidFill>
              <a:latin typeface="+mn-lt"/>
            </a:endParaRPr>
          </a:p>
        </p:txBody>
      </p:sp>
      <p:sp>
        <p:nvSpPr>
          <p:cNvPr id="9" name="TextBox 8">
            <a:extLst>
              <a:ext uri="{FF2B5EF4-FFF2-40B4-BE49-F238E27FC236}">
                <a16:creationId xmlns:a16="http://schemas.microsoft.com/office/drawing/2014/main" id="{DE9EAC48-AD81-F762-2695-03B9E3F347AC}"/>
              </a:ext>
            </a:extLst>
          </p:cNvPr>
          <p:cNvSpPr txBox="1"/>
          <p:nvPr/>
        </p:nvSpPr>
        <p:spPr>
          <a:xfrm>
            <a:off x="3141528" y="3611133"/>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I’d like</a:t>
            </a:r>
            <a:endParaRPr lang="en-SG" sz="1680" b="1" dirty="0">
              <a:solidFill>
                <a:schemeClr val="accent1"/>
              </a:solidFill>
              <a:latin typeface="+mn-lt"/>
            </a:endParaRPr>
          </a:p>
        </p:txBody>
      </p:sp>
      <p:sp>
        <p:nvSpPr>
          <p:cNvPr id="10" name="TextBox 9">
            <a:extLst>
              <a:ext uri="{FF2B5EF4-FFF2-40B4-BE49-F238E27FC236}">
                <a16:creationId xmlns:a16="http://schemas.microsoft.com/office/drawing/2014/main" id="{A5C5B98A-BCCE-F1C1-4812-D6C320E839BD}"/>
              </a:ext>
            </a:extLst>
          </p:cNvPr>
          <p:cNvSpPr txBox="1"/>
          <p:nvPr/>
        </p:nvSpPr>
        <p:spPr>
          <a:xfrm>
            <a:off x="3141528" y="4147524"/>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I wish</a:t>
            </a:r>
            <a:endParaRPr lang="en-SG" sz="1680" b="1" dirty="0">
              <a:solidFill>
                <a:schemeClr val="accent1"/>
              </a:solidFill>
              <a:latin typeface="+mn-lt"/>
            </a:endParaRPr>
          </a:p>
        </p:txBody>
      </p:sp>
      <p:sp>
        <p:nvSpPr>
          <p:cNvPr id="11" name="TextBox 10">
            <a:extLst>
              <a:ext uri="{FF2B5EF4-FFF2-40B4-BE49-F238E27FC236}">
                <a16:creationId xmlns:a16="http://schemas.microsoft.com/office/drawing/2014/main" id="{48B8A22F-B95B-0F66-5BF5-A36F421F8BD9}"/>
              </a:ext>
            </a:extLst>
          </p:cNvPr>
          <p:cNvSpPr txBox="1"/>
          <p:nvPr/>
        </p:nvSpPr>
        <p:spPr>
          <a:xfrm>
            <a:off x="3141526" y="4683914"/>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We must</a:t>
            </a:r>
            <a:endParaRPr lang="en-SG" sz="1680" b="1" dirty="0">
              <a:solidFill>
                <a:schemeClr val="accent1"/>
              </a:solidFill>
              <a:latin typeface="+mn-lt"/>
            </a:endParaRPr>
          </a:p>
        </p:txBody>
      </p:sp>
      <p:sp>
        <p:nvSpPr>
          <p:cNvPr id="12" name="TextBox 11">
            <a:extLst>
              <a:ext uri="{FF2B5EF4-FFF2-40B4-BE49-F238E27FC236}">
                <a16:creationId xmlns:a16="http://schemas.microsoft.com/office/drawing/2014/main" id="{143219C3-B375-D7B0-317A-5F65DF7262F1}"/>
              </a:ext>
            </a:extLst>
          </p:cNvPr>
          <p:cNvSpPr txBox="1"/>
          <p:nvPr/>
        </p:nvSpPr>
        <p:spPr>
          <a:xfrm>
            <a:off x="3141526" y="5220307"/>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Our objective is</a:t>
            </a:r>
            <a:endParaRPr lang="en-SG" sz="1680" b="1" dirty="0">
              <a:solidFill>
                <a:schemeClr val="accent1"/>
              </a:solidFill>
              <a:latin typeface="+mn-lt"/>
            </a:endParaRPr>
          </a:p>
        </p:txBody>
      </p:sp>
      <p:sp>
        <p:nvSpPr>
          <p:cNvPr id="14" name="TextBox 13">
            <a:extLst>
              <a:ext uri="{FF2B5EF4-FFF2-40B4-BE49-F238E27FC236}">
                <a16:creationId xmlns:a16="http://schemas.microsoft.com/office/drawing/2014/main" id="{2F14CC80-6327-A683-42B4-0219F6FAFB9B}"/>
              </a:ext>
            </a:extLst>
          </p:cNvPr>
          <p:cNvSpPr txBox="1"/>
          <p:nvPr/>
        </p:nvSpPr>
        <p:spPr>
          <a:xfrm>
            <a:off x="5823770" y="2005355"/>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I hope</a:t>
            </a:r>
            <a:endParaRPr lang="en-SG" sz="1680" b="1" dirty="0">
              <a:solidFill>
                <a:schemeClr val="accent1"/>
              </a:solidFill>
              <a:latin typeface="+mn-lt"/>
            </a:endParaRPr>
          </a:p>
        </p:txBody>
      </p:sp>
      <p:sp>
        <p:nvSpPr>
          <p:cNvPr id="15" name="TextBox 14">
            <a:extLst>
              <a:ext uri="{FF2B5EF4-FFF2-40B4-BE49-F238E27FC236}">
                <a16:creationId xmlns:a16="http://schemas.microsoft.com/office/drawing/2014/main" id="{1FD142AF-1C9B-47BA-E700-E8D86FBD17CA}"/>
              </a:ext>
            </a:extLst>
          </p:cNvPr>
          <p:cNvSpPr txBox="1"/>
          <p:nvPr/>
        </p:nvSpPr>
        <p:spPr>
          <a:xfrm>
            <a:off x="5823769" y="2541745"/>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What matters is</a:t>
            </a:r>
            <a:endParaRPr lang="en-SG" sz="1680" b="1" dirty="0">
              <a:solidFill>
                <a:schemeClr val="accent1"/>
              </a:solidFill>
              <a:latin typeface="+mn-lt"/>
            </a:endParaRPr>
          </a:p>
        </p:txBody>
      </p:sp>
      <p:sp>
        <p:nvSpPr>
          <p:cNvPr id="16" name="TextBox 15">
            <a:extLst>
              <a:ext uri="{FF2B5EF4-FFF2-40B4-BE49-F238E27FC236}">
                <a16:creationId xmlns:a16="http://schemas.microsoft.com/office/drawing/2014/main" id="{51D35065-BA2F-99D9-1F1B-67549A92FD89}"/>
              </a:ext>
            </a:extLst>
          </p:cNvPr>
          <p:cNvSpPr txBox="1"/>
          <p:nvPr/>
        </p:nvSpPr>
        <p:spPr>
          <a:xfrm>
            <a:off x="5823769" y="3078135"/>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We’re looking for</a:t>
            </a:r>
            <a:endParaRPr lang="en-SG" sz="1680" b="1" dirty="0">
              <a:solidFill>
                <a:schemeClr val="accent1"/>
              </a:solidFill>
              <a:latin typeface="+mn-lt"/>
            </a:endParaRPr>
          </a:p>
        </p:txBody>
      </p:sp>
      <p:sp>
        <p:nvSpPr>
          <p:cNvPr id="17" name="TextBox 16">
            <a:extLst>
              <a:ext uri="{FF2B5EF4-FFF2-40B4-BE49-F238E27FC236}">
                <a16:creationId xmlns:a16="http://schemas.microsoft.com/office/drawing/2014/main" id="{729254D8-9857-6BB9-95F7-DABB14BBA706}"/>
              </a:ext>
            </a:extLst>
          </p:cNvPr>
          <p:cNvSpPr txBox="1"/>
          <p:nvPr/>
        </p:nvSpPr>
        <p:spPr>
          <a:xfrm>
            <a:off x="5823768" y="3614526"/>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My goal is</a:t>
            </a:r>
            <a:endParaRPr lang="en-SG" sz="1680" b="1" dirty="0">
              <a:solidFill>
                <a:schemeClr val="accent1"/>
              </a:solidFill>
              <a:latin typeface="+mn-lt"/>
            </a:endParaRPr>
          </a:p>
        </p:txBody>
      </p:sp>
      <p:sp>
        <p:nvSpPr>
          <p:cNvPr id="18" name="TextBox 17">
            <a:extLst>
              <a:ext uri="{FF2B5EF4-FFF2-40B4-BE49-F238E27FC236}">
                <a16:creationId xmlns:a16="http://schemas.microsoft.com/office/drawing/2014/main" id="{C375D3F9-AAB1-C52F-52FC-3F4FC0D6B4F5}"/>
              </a:ext>
            </a:extLst>
          </p:cNvPr>
          <p:cNvSpPr txBox="1"/>
          <p:nvPr/>
        </p:nvSpPr>
        <p:spPr>
          <a:xfrm>
            <a:off x="5823768" y="4150915"/>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We’re interested in</a:t>
            </a:r>
            <a:endParaRPr lang="en-SG" sz="1680" b="1" dirty="0">
              <a:solidFill>
                <a:schemeClr val="accent1"/>
              </a:solidFill>
              <a:latin typeface="+mn-lt"/>
            </a:endParaRPr>
          </a:p>
        </p:txBody>
      </p:sp>
      <p:sp>
        <p:nvSpPr>
          <p:cNvPr id="19" name="TextBox 18">
            <a:extLst>
              <a:ext uri="{FF2B5EF4-FFF2-40B4-BE49-F238E27FC236}">
                <a16:creationId xmlns:a16="http://schemas.microsoft.com/office/drawing/2014/main" id="{8A6FB92A-8031-8F27-A94A-40F42210A1ED}"/>
              </a:ext>
            </a:extLst>
          </p:cNvPr>
          <p:cNvSpPr txBox="1"/>
          <p:nvPr/>
        </p:nvSpPr>
        <p:spPr>
          <a:xfrm>
            <a:off x="5823766" y="4687307"/>
            <a:ext cx="2192471" cy="350865"/>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We’re trying to</a:t>
            </a:r>
            <a:endParaRPr lang="en-SG" sz="1680" b="1" dirty="0">
              <a:solidFill>
                <a:schemeClr val="accent1"/>
              </a:solidFill>
              <a:latin typeface="+mn-lt"/>
            </a:endParaRPr>
          </a:p>
        </p:txBody>
      </p:sp>
      <p:sp>
        <p:nvSpPr>
          <p:cNvPr id="20" name="TextBox 19">
            <a:extLst>
              <a:ext uri="{FF2B5EF4-FFF2-40B4-BE49-F238E27FC236}">
                <a16:creationId xmlns:a16="http://schemas.microsoft.com/office/drawing/2014/main" id="{93134F3C-872B-B856-1B4A-2E03ED5A4359}"/>
              </a:ext>
            </a:extLst>
          </p:cNvPr>
          <p:cNvSpPr txBox="1"/>
          <p:nvPr/>
        </p:nvSpPr>
        <p:spPr>
          <a:xfrm>
            <a:off x="5823766" y="5223699"/>
            <a:ext cx="2192471" cy="609398"/>
          </a:xfrm>
          <a:prstGeom prst="rect">
            <a:avLst/>
          </a:prstGeom>
          <a:noFill/>
        </p:spPr>
        <p:txBody>
          <a:bodyPr wrap="square" rtlCol="0">
            <a:spAutoFit/>
          </a:bodyPr>
          <a:lstStyle/>
          <a:p>
            <a:pPr eaLnBrk="1" fontAlgn="auto" hangingPunct="1">
              <a:spcBef>
                <a:spcPts val="0"/>
              </a:spcBef>
              <a:spcAft>
                <a:spcPts val="0"/>
              </a:spcAft>
            </a:pPr>
            <a:r>
              <a:rPr lang="sv-SE" sz="1680" b="1" dirty="0">
                <a:solidFill>
                  <a:schemeClr val="accent1"/>
                </a:solidFill>
                <a:latin typeface="+mn-lt"/>
              </a:rPr>
              <a:t>We have to change</a:t>
            </a:r>
            <a:endParaRPr lang="en-SG" sz="1680" b="1" dirty="0">
              <a:solidFill>
                <a:schemeClr val="accent1"/>
              </a:solidFill>
              <a:latin typeface="+mn-lt"/>
            </a:endParaRPr>
          </a:p>
        </p:txBody>
      </p:sp>
      <p:sp>
        <p:nvSpPr>
          <p:cNvPr id="13" name="TextBox 12">
            <a:extLst>
              <a:ext uri="{FF2B5EF4-FFF2-40B4-BE49-F238E27FC236}">
                <a16:creationId xmlns:a16="http://schemas.microsoft.com/office/drawing/2014/main" id="{F2A8F057-C2C9-955D-6874-C6B92C30EFAA}"/>
              </a:ext>
            </a:extLst>
          </p:cNvPr>
          <p:cNvSpPr txBox="1"/>
          <p:nvPr/>
        </p:nvSpPr>
        <p:spPr>
          <a:xfrm>
            <a:off x="8016240" y="5761969"/>
            <a:ext cx="3474720" cy="276999"/>
          </a:xfrm>
          <a:prstGeom prst="rect">
            <a:avLst/>
          </a:prstGeom>
          <a:noFill/>
        </p:spPr>
        <p:txBody>
          <a:bodyPr wrap="square" rtlCol="0">
            <a:spAutoFit/>
          </a:bodyPr>
          <a:lstStyle/>
          <a:p>
            <a:pPr algn="ctr" eaLnBrk="1" fontAlgn="auto" hangingPunct="1">
              <a:spcBef>
                <a:spcPts val="0"/>
              </a:spcBef>
              <a:spcAft>
                <a:spcPts val="0"/>
              </a:spcAft>
            </a:pPr>
            <a:r>
              <a:rPr lang="sv-SE" sz="1200" b="1" dirty="0">
                <a:solidFill>
                  <a:schemeClr val="bg1"/>
                </a:solidFill>
                <a:latin typeface="+mn-lt"/>
              </a:rPr>
              <a:t>Closed questions could be useful to confirm</a:t>
            </a:r>
            <a:endParaRPr lang="en-SG" sz="1200" b="1" dirty="0">
              <a:solidFill>
                <a:schemeClr val="bg1"/>
              </a:solidFill>
              <a:latin typeface="+mn-lt"/>
            </a:endParaRPr>
          </a:p>
        </p:txBody>
      </p:sp>
      <p:sp>
        <p:nvSpPr>
          <p:cNvPr id="5" name="TextBox 4">
            <a:extLst>
              <a:ext uri="{FF2B5EF4-FFF2-40B4-BE49-F238E27FC236}">
                <a16:creationId xmlns:a16="http://schemas.microsoft.com/office/drawing/2014/main" id="{997CACEF-C9BB-9482-66B9-A514C5B6E3A7}"/>
              </a:ext>
            </a:extLst>
          </p:cNvPr>
          <p:cNvSpPr txBox="1"/>
          <p:nvPr/>
        </p:nvSpPr>
        <p:spPr>
          <a:xfrm>
            <a:off x="7815072" y="5632702"/>
            <a:ext cx="402336" cy="535531"/>
          </a:xfrm>
          <a:prstGeom prst="rect">
            <a:avLst/>
          </a:prstGeom>
          <a:noFill/>
        </p:spPr>
        <p:txBody>
          <a:bodyPr wrap="square" rtlCol="0">
            <a:spAutoFit/>
          </a:bodyPr>
          <a:lstStyle/>
          <a:p>
            <a:pPr eaLnBrk="1" fontAlgn="auto" hangingPunct="1">
              <a:spcBef>
                <a:spcPts val="0"/>
              </a:spcBef>
              <a:spcAft>
                <a:spcPts val="0"/>
              </a:spcAft>
            </a:pPr>
            <a:r>
              <a:rPr lang="sv-SE" sz="2880" b="1" dirty="0">
                <a:solidFill>
                  <a:schemeClr val="bg1"/>
                </a:solidFill>
                <a:latin typeface="+mn-lt"/>
              </a:rPr>
              <a:t>!</a:t>
            </a:r>
            <a:endParaRPr lang="en-SG" sz="1200" b="1" dirty="0">
              <a:solidFill>
                <a:schemeClr val="bg1"/>
              </a:solidFill>
              <a:latin typeface="+mn-lt"/>
            </a:endParaRPr>
          </a:p>
        </p:txBody>
      </p:sp>
    </p:spTree>
    <p:extLst>
      <p:ext uri="{BB962C8B-B14F-4D97-AF65-F5344CB8AC3E}">
        <p14:creationId xmlns:p14="http://schemas.microsoft.com/office/powerpoint/2010/main" val="756431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500"/>
                                        <p:tgtEl>
                                          <p:spTgt spid="12"/>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2" grpId="0"/>
      <p:bldP spid="14" grpId="0"/>
      <p:bldP spid="15" grpId="0"/>
      <p:bldP spid="16" grpId="0"/>
      <p:bldP spid="17" grpId="0"/>
      <p:bldP spid="18" grpId="0"/>
      <p:bldP spid="19" grpId="0"/>
      <p:bldP spid="2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B29C43-C6DD-AC54-B85B-7170AFADB6C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7377" y="-602918"/>
            <a:ext cx="12378088" cy="7736305"/>
          </a:xfrm>
          <a:prstGeom prst="rect">
            <a:avLst/>
          </a:prstGeom>
        </p:spPr>
      </p:pic>
      <p:sp>
        <p:nvSpPr>
          <p:cNvPr id="6" name="Text Placeholder 5">
            <a:extLst>
              <a:ext uri="{FF2B5EF4-FFF2-40B4-BE49-F238E27FC236}">
                <a16:creationId xmlns:a16="http://schemas.microsoft.com/office/drawing/2014/main" id="{46865590-D014-BBD6-A0AB-8F89B375A986}"/>
              </a:ext>
            </a:extLst>
          </p:cNvPr>
          <p:cNvSpPr>
            <a:spLocks noGrp="1"/>
          </p:cNvSpPr>
          <p:nvPr>
            <p:ph type="body" sz="half" idx="10"/>
          </p:nvPr>
        </p:nvSpPr>
        <p:spPr/>
        <p:txBody>
          <a:bodyPr/>
          <a:lstStyle/>
          <a:p>
            <a:endParaRPr lang="en-US" dirty="0"/>
          </a:p>
        </p:txBody>
      </p:sp>
      <p:sp>
        <p:nvSpPr>
          <p:cNvPr id="2" name="Title 1">
            <a:extLst>
              <a:ext uri="{FF2B5EF4-FFF2-40B4-BE49-F238E27FC236}">
                <a16:creationId xmlns:a16="http://schemas.microsoft.com/office/drawing/2014/main" id="{B119CC67-23DB-4A71-AF25-9A2E0D952A16}"/>
              </a:ext>
            </a:extLst>
          </p:cNvPr>
          <p:cNvSpPr>
            <a:spLocks noGrp="1"/>
          </p:cNvSpPr>
          <p:nvPr>
            <p:ph type="title"/>
          </p:nvPr>
        </p:nvSpPr>
        <p:spPr>
          <a:noFill/>
        </p:spPr>
        <p:txBody>
          <a:bodyPr spcFirstLastPara="1" vert="horz" wrap="square" lIns="109710" tIns="109710" rIns="109710" bIns="109710" numCol="1" anchor="ctr" anchorCtr="0" compatLnSpc="1">
            <a:prstTxWarp prst="textNoShape">
              <a:avLst/>
            </a:prstTxWarp>
            <a:noAutofit/>
          </a:bodyPr>
          <a:lstStyle/>
          <a:p>
            <a:r>
              <a:rPr lang="sv-SE" dirty="0">
                <a:solidFill>
                  <a:schemeClr val="bg2"/>
                </a:solidFill>
              </a:rPr>
              <a:t>Let’s take it one step further</a:t>
            </a:r>
            <a:endParaRPr lang="en-SG" dirty="0">
              <a:solidFill>
                <a:schemeClr val="bg2"/>
              </a:solidFill>
            </a:endParaRPr>
          </a:p>
        </p:txBody>
      </p:sp>
      <p:sp>
        <p:nvSpPr>
          <p:cNvPr id="5" name="Text Placeholder 4">
            <a:extLst>
              <a:ext uri="{FF2B5EF4-FFF2-40B4-BE49-F238E27FC236}">
                <a16:creationId xmlns:a16="http://schemas.microsoft.com/office/drawing/2014/main" id="{70F02643-2E8E-9F74-C769-45750887499B}"/>
              </a:ext>
            </a:extLst>
          </p:cNvPr>
          <p:cNvSpPr>
            <a:spLocks noGrp="1"/>
          </p:cNvSpPr>
          <p:nvPr>
            <p:ph type="body" sz="half" idx="2"/>
          </p:nvPr>
        </p:nvSpPr>
        <p:spPr/>
        <p:txBody>
          <a:bodyPr/>
          <a:lstStyle/>
          <a:p>
            <a:endParaRPr lang="en-US"/>
          </a:p>
        </p:txBody>
      </p:sp>
      <p:sp>
        <p:nvSpPr>
          <p:cNvPr id="3" name="TextBox 2">
            <a:extLst>
              <a:ext uri="{FF2B5EF4-FFF2-40B4-BE49-F238E27FC236}">
                <a16:creationId xmlns:a16="http://schemas.microsoft.com/office/drawing/2014/main" id="{64FE0AD9-853A-7AB3-FDF8-FC159E7ECAEB}"/>
              </a:ext>
            </a:extLst>
          </p:cNvPr>
          <p:cNvSpPr txBox="1"/>
          <p:nvPr/>
        </p:nvSpPr>
        <p:spPr>
          <a:xfrm>
            <a:off x="4107180" y="2487204"/>
            <a:ext cx="3977640" cy="1865126"/>
          </a:xfrm>
          <a:prstGeom prst="rect">
            <a:avLst/>
          </a:prstGeom>
          <a:noFill/>
        </p:spPr>
        <p:txBody>
          <a:bodyPr wrap="square" rtlCol="0">
            <a:spAutoFit/>
          </a:bodyPr>
          <a:lstStyle/>
          <a:p>
            <a:pPr algn="ctr" eaLnBrk="1" fontAlgn="auto" hangingPunct="1">
              <a:spcBef>
                <a:spcPts val="0"/>
              </a:spcBef>
              <a:spcAft>
                <a:spcPts val="0"/>
              </a:spcAft>
            </a:pPr>
            <a:r>
              <a:rPr lang="sv-SE" sz="3840" b="1" dirty="0">
                <a:solidFill>
                  <a:schemeClr val="bg1"/>
                </a:solidFill>
                <a:latin typeface="+mn-lt"/>
              </a:rPr>
              <a:t>Why is the need important?</a:t>
            </a:r>
            <a:endParaRPr lang="en-SG" sz="3840" b="1" dirty="0">
              <a:solidFill>
                <a:schemeClr val="bg1"/>
              </a:solidFill>
              <a:latin typeface="+mn-lt"/>
            </a:endParaRPr>
          </a:p>
        </p:txBody>
      </p:sp>
    </p:spTree>
    <p:extLst>
      <p:ext uri="{BB962C8B-B14F-4D97-AF65-F5344CB8AC3E}">
        <p14:creationId xmlns:p14="http://schemas.microsoft.com/office/powerpoint/2010/main" val="42141792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9F606-A71F-C315-57B0-F53112357431}"/>
              </a:ext>
            </a:extLst>
          </p:cNvPr>
          <p:cNvSpPr>
            <a:spLocks noGrp="1"/>
          </p:cNvSpPr>
          <p:nvPr>
            <p:ph type="title"/>
          </p:nvPr>
        </p:nvSpPr>
        <p:spPr/>
        <p:txBody>
          <a:bodyPr/>
          <a:lstStyle/>
          <a:p>
            <a:r>
              <a:rPr lang="sv-SE" dirty="0"/>
              <a:t>The underlying need, is why the need is important</a:t>
            </a:r>
            <a:endParaRPr lang="en-SG" dirty="0"/>
          </a:p>
        </p:txBody>
      </p:sp>
      <p:sp>
        <p:nvSpPr>
          <p:cNvPr id="5" name="Text Placeholder 4">
            <a:extLst>
              <a:ext uri="{FF2B5EF4-FFF2-40B4-BE49-F238E27FC236}">
                <a16:creationId xmlns:a16="http://schemas.microsoft.com/office/drawing/2014/main" id="{DD20A943-50E8-9173-5289-9153891580F8}"/>
              </a:ext>
            </a:extLst>
          </p:cNvPr>
          <p:cNvSpPr>
            <a:spLocks noGrp="1"/>
          </p:cNvSpPr>
          <p:nvPr>
            <p:ph type="body" sz="half" idx="2"/>
          </p:nvPr>
        </p:nvSpPr>
        <p:spPr/>
        <p:txBody>
          <a:bodyPr/>
          <a:lstStyle/>
          <a:p>
            <a:endParaRPr lang="en-US"/>
          </a:p>
        </p:txBody>
      </p:sp>
      <p:grpSp>
        <p:nvGrpSpPr>
          <p:cNvPr id="22" name="Group 21">
            <a:extLst>
              <a:ext uri="{FF2B5EF4-FFF2-40B4-BE49-F238E27FC236}">
                <a16:creationId xmlns:a16="http://schemas.microsoft.com/office/drawing/2014/main" id="{BBBF9287-F9B2-7753-74C6-5E9C912DEA3D}"/>
              </a:ext>
            </a:extLst>
          </p:cNvPr>
          <p:cNvGrpSpPr/>
          <p:nvPr/>
        </p:nvGrpSpPr>
        <p:grpSpPr>
          <a:xfrm>
            <a:off x="793363" y="2617956"/>
            <a:ext cx="3291840" cy="1036320"/>
            <a:chOff x="153136" y="2104330"/>
            <a:chExt cx="2743200" cy="863600"/>
          </a:xfrm>
          <a:solidFill>
            <a:schemeClr val="accent6"/>
          </a:solidFill>
        </p:grpSpPr>
        <p:sp>
          <p:nvSpPr>
            <p:cNvPr id="11" name="Rectangle 10">
              <a:extLst>
                <a:ext uri="{FF2B5EF4-FFF2-40B4-BE49-F238E27FC236}">
                  <a16:creationId xmlns:a16="http://schemas.microsoft.com/office/drawing/2014/main" id="{C346D40F-11F8-6995-2936-A3F59586FD5B}"/>
                </a:ext>
              </a:extLst>
            </p:cNvPr>
            <p:cNvSpPr/>
            <p:nvPr/>
          </p:nvSpPr>
          <p:spPr>
            <a:xfrm>
              <a:off x="153136" y="2104330"/>
              <a:ext cx="2743200" cy="863600"/>
            </a:xfrm>
            <a:prstGeom prst="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440">
                <a:solidFill>
                  <a:schemeClr val="bg1"/>
                </a:solidFill>
              </a:endParaRPr>
            </a:p>
          </p:txBody>
        </p:sp>
        <p:sp>
          <p:nvSpPr>
            <p:cNvPr id="3" name="TextBox 2">
              <a:extLst>
                <a:ext uri="{FF2B5EF4-FFF2-40B4-BE49-F238E27FC236}">
                  <a16:creationId xmlns:a16="http://schemas.microsoft.com/office/drawing/2014/main" id="{8A4249F8-388C-D4A7-B499-C3AC87C4B018}"/>
                </a:ext>
              </a:extLst>
            </p:cNvPr>
            <p:cNvSpPr txBox="1"/>
            <p:nvPr/>
          </p:nvSpPr>
          <p:spPr>
            <a:xfrm>
              <a:off x="153136" y="2212965"/>
              <a:ext cx="2743200" cy="630942"/>
            </a:xfrm>
            <a:prstGeom prst="rect">
              <a:avLst/>
            </a:prstGeom>
            <a:grpFill/>
          </p:spPr>
          <p:txBody>
            <a:bodyPr wrap="square" rtlCol="0">
              <a:spAutoFit/>
            </a:bodyPr>
            <a:lstStyle/>
            <a:p>
              <a:pPr algn="ctr" eaLnBrk="1" fontAlgn="auto" hangingPunct="1">
                <a:spcBef>
                  <a:spcPts val="0"/>
                </a:spcBef>
                <a:spcAft>
                  <a:spcPts val="0"/>
                </a:spcAft>
              </a:pPr>
              <a:r>
                <a:rPr lang="sv-SE" sz="1440" dirty="0">
                  <a:solidFill>
                    <a:schemeClr val="bg1"/>
                  </a:solidFill>
                  <a:latin typeface="+mn-lt"/>
                </a:rPr>
                <a:t>Employees are unhappy with the current setup, so unhappy that they are considering leaving</a:t>
              </a:r>
              <a:endParaRPr lang="en-SG" sz="1440" dirty="0">
                <a:solidFill>
                  <a:schemeClr val="bg1"/>
                </a:solidFill>
                <a:latin typeface="+mn-lt"/>
              </a:endParaRPr>
            </a:p>
          </p:txBody>
        </p:sp>
      </p:grpSp>
      <p:sp>
        <p:nvSpPr>
          <p:cNvPr id="4" name="TextBox 3">
            <a:extLst>
              <a:ext uri="{FF2B5EF4-FFF2-40B4-BE49-F238E27FC236}">
                <a16:creationId xmlns:a16="http://schemas.microsoft.com/office/drawing/2014/main" id="{D6283FE6-1B88-789E-AEC0-05BF3F2639F5}"/>
              </a:ext>
            </a:extLst>
          </p:cNvPr>
          <p:cNvSpPr txBox="1"/>
          <p:nvPr/>
        </p:nvSpPr>
        <p:spPr>
          <a:xfrm>
            <a:off x="793363" y="2057934"/>
            <a:ext cx="3291840" cy="369332"/>
          </a:xfrm>
          <a:prstGeom prst="rect">
            <a:avLst/>
          </a:prstGeom>
          <a:noFill/>
          <a:ln>
            <a:solidFill>
              <a:schemeClr val="bg2">
                <a:lumMod val="50000"/>
              </a:schemeClr>
            </a:solidFill>
          </a:ln>
        </p:spPr>
        <p:txBody>
          <a:bodyPr wrap="square" rtlCol="0">
            <a:spAutoFit/>
          </a:bodyPr>
          <a:lstStyle/>
          <a:p>
            <a:pPr algn="ctr" eaLnBrk="1" fontAlgn="auto" hangingPunct="1">
              <a:spcBef>
                <a:spcPts val="0"/>
              </a:spcBef>
              <a:spcAft>
                <a:spcPts val="0"/>
              </a:spcAft>
            </a:pPr>
            <a:r>
              <a:rPr lang="sv-SE" b="1" dirty="0">
                <a:solidFill>
                  <a:schemeClr val="bg2">
                    <a:lumMod val="25000"/>
                  </a:schemeClr>
                </a:solidFill>
                <a:latin typeface="+mn-lt"/>
              </a:rPr>
              <a:t>Scenario</a:t>
            </a:r>
            <a:endParaRPr lang="en-SG" b="1" dirty="0">
              <a:solidFill>
                <a:schemeClr val="bg2">
                  <a:lumMod val="25000"/>
                </a:schemeClr>
              </a:solidFill>
              <a:latin typeface="+mn-lt"/>
            </a:endParaRPr>
          </a:p>
        </p:txBody>
      </p:sp>
      <p:grpSp>
        <p:nvGrpSpPr>
          <p:cNvPr id="18" name="Group 17">
            <a:extLst>
              <a:ext uri="{FF2B5EF4-FFF2-40B4-BE49-F238E27FC236}">
                <a16:creationId xmlns:a16="http://schemas.microsoft.com/office/drawing/2014/main" id="{E3FE584D-8632-5498-A304-42013996254A}"/>
              </a:ext>
            </a:extLst>
          </p:cNvPr>
          <p:cNvGrpSpPr/>
          <p:nvPr/>
        </p:nvGrpSpPr>
        <p:grpSpPr>
          <a:xfrm>
            <a:off x="8142017" y="2617957"/>
            <a:ext cx="3291840" cy="664340"/>
            <a:chOff x="6247664" y="2142859"/>
            <a:chExt cx="2743200" cy="553617"/>
          </a:xfrm>
          <a:solidFill>
            <a:schemeClr val="tx2"/>
          </a:solidFill>
        </p:grpSpPr>
        <p:sp>
          <p:nvSpPr>
            <p:cNvPr id="15" name="Rectangle 14">
              <a:extLst>
                <a:ext uri="{FF2B5EF4-FFF2-40B4-BE49-F238E27FC236}">
                  <a16:creationId xmlns:a16="http://schemas.microsoft.com/office/drawing/2014/main" id="{C1297D8F-F06B-1B07-C66D-FDDC24BB9433}"/>
                </a:ext>
              </a:extLst>
            </p:cNvPr>
            <p:cNvSpPr/>
            <p:nvPr/>
          </p:nvSpPr>
          <p:spPr>
            <a:xfrm>
              <a:off x="6247664" y="2142859"/>
              <a:ext cx="2743200" cy="553617"/>
            </a:xfrm>
            <a:prstGeom prst="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440">
                <a:solidFill>
                  <a:schemeClr val="bg1"/>
                </a:solidFill>
              </a:endParaRPr>
            </a:p>
          </p:txBody>
        </p:sp>
        <p:sp>
          <p:nvSpPr>
            <p:cNvPr id="7" name="TextBox 6">
              <a:extLst>
                <a:ext uri="{FF2B5EF4-FFF2-40B4-BE49-F238E27FC236}">
                  <a16:creationId xmlns:a16="http://schemas.microsoft.com/office/drawing/2014/main" id="{B2BBC5E2-D7EA-4933-D271-0B4F527AA3A4}"/>
                </a:ext>
              </a:extLst>
            </p:cNvPr>
            <p:cNvSpPr txBox="1"/>
            <p:nvPr/>
          </p:nvSpPr>
          <p:spPr>
            <a:xfrm>
              <a:off x="6247664" y="2188835"/>
              <a:ext cx="2743200" cy="446276"/>
            </a:xfrm>
            <a:prstGeom prst="rect">
              <a:avLst/>
            </a:prstGeom>
            <a:grpFill/>
          </p:spPr>
          <p:txBody>
            <a:bodyPr wrap="square" rtlCol="0">
              <a:spAutoFit/>
            </a:bodyPr>
            <a:lstStyle/>
            <a:p>
              <a:pPr algn="ctr" eaLnBrk="1" fontAlgn="auto" hangingPunct="1">
                <a:spcBef>
                  <a:spcPts val="0"/>
                </a:spcBef>
                <a:spcAft>
                  <a:spcPts val="0"/>
                </a:spcAft>
              </a:pPr>
              <a:r>
                <a:rPr lang="sv-SE" sz="1440" dirty="0">
                  <a:solidFill>
                    <a:schemeClr val="bg1"/>
                  </a:solidFill>
                  <a:latin typeface="+mn-lt"/>
                </a:rPr>
                <a:t>To be known as a good employer (image)</a:t>
              </a:r>
              <a:endParaRPr lang="en-SG" sz="1440" dirty="0">
                <a:solidFill>
                  <a:schemeClr val="bg1"/>
                </a:solidFill>
                <a:latin typeface="+mn-lt"/>
              </a:endParaRPr>
            </a:p>
          </p:txBody>
        </p:sp>
      </p:grpSp>
      <p:sp>
        <p:nvSpPr>
          <p:cNvPr id="8" name="TextBox 7">
            <a:extLst>
              <a:ext uri="{FF2B5EF4-FFF2-40B4-BE49-F238E27FC236}">
                <a16:creationId xmlns:a16="http://schemas.microsoft.com/office/drawing/2014/main" id="{2B6220C9-0992-5595-BA6F-AF2923576EA9}"/>
              </a:ext>
            </a:extLst>
          </p:cNvPr>
          <p:cNvSpPr txBox="1"/>
          <p:nvPr/>
        </p:nvSpPr>
        <p:spPr>
          <a:xfrm>
            <a:off x="8142017" y="2057934"/>
            <a:ext cx="3291840" cy="369332"/>
          </a:xfrm>
          <a:prstGeom prst="rect">
            <a:avLst/>
          </a:prstGeom>
          <a:noFill/>
          <a:ln>
            <a:solidFill>
              <a:schemeClr val="tx1"/>
            </a:solidFill>
          </a:ln>
        </p:spPr>
        <p:txBody>
          <a:bodyPr wrap="square" rtlCol="0">
            <a:spAutoFit/>
          </a:bodyPr>
          <a:lstStyle/>
          <a:p>
            <a:pPr algn="ctr" eaLnBrk="1" fontAlgn="auto" hangingPunct="1">
              <a:spcBef>
                <a:spcPts val="0"/>
              </a:spcBef>
              <a:spcAft>
                <a:spcPts val="0"/>
              </a:spcAft>
            </a:pPr>
            <a:r>
              <a:rPr lang="sv-SE" b="1" dirty="0">
                <a:latin typeface="+mn-lt"/>
              </a:rPr>
              <a:t>Underlying need </a:t>
            </a:r>
            <a:endParaRPr lang="en-SG" b="1" dirty="0">
              <a:latin typeface="+mn-lt"/>
            </a:endParaRPr>
          </a:p>
        </p:txBody>
      </p:sp>
      <p:grpSp>
        <p:nvGrpSpPr>
          <p:cNvPr id="19" name="Group 18">
            <a:extLst>
              <a:ext uri="{FF2B5EF4-FFF2-40B4-BE49-F238E27FC236}">
                <a16:creationId xmlns:a16="http://schemas.microsoft.com/office/drawing/2014/main" id="{C08D8689-929C-FAC3-B511-F04B32B31A3F}"/>
              </a:ext>
            </a:extLst>
          </p:cNvPr>
          <p:cNvGrpSpPr/>
          <p:nvPr/>
        </p:nvGrpSpPr>
        <p:grpSpPr>
          <a:xfrm>
            <a:off x="8142017" y="3399121"/>
            <a:ext cx="3291840" cy="976017"/>
            <a:chOff x="6247664" y="2813214"/>
            <a:chExt cx="2743200" cy="813347"/>
          </a:xfrm>
          <a:solidFill>
            <a:schemeClr val="tx2"/>
          </a:solidFill>
        </p:grpSpPr>
        <p:sp>
          <p:nvSpPr>
            <p:cNvPr id="16" name="Rectangle 15">
              <a:extLst>
                <a:ext uri="{FF2B5EF4-FFF2-40B4-BE49-F238E27FC236}">
                  <a16:creationId xmlns:a16="http://schemas.microsoft.com/office/drawing/2014/main" id="{1E5843F0-D483-0D47-728B-A7B5541DAB2F}"/>
                </a:ext>
              </a:extLst>
            </p:cNvPr>
            <p:cNvSpPr/>
            <p:nvPr/>
          </p:nvSpPr>
          <p:spPr>
            <a:xfrm>
              <a:off x="6247664" y="2813214"/>
              <a:ext cx="2743200" cy="813347"/>
            </a:xfrm>
            <a:prstGeom prst="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440">
                <a:solidFill>
                  <a:schemeClr val="bg1"/>
                </a:solidFill>
              </a:endParaRPr>
            </a:p>
          </p:txBody>
        </p:sp>
        <p:sp>
          <p:nvSpPr>
            <p:cNvPr id="9" name="TextBox 8">
              <a:extLst>
                <a:ext uri="{FF2B5EF4-FFF2-40B4-BE49-F238E27FC236}">
                  <a16:creationId xmlns:a16="http://schemas.microsoft.com/office/drawing/2014/main" id="{3B925A8A-4F34-BF6D-FB86-B0E3E1AC507D}"/>
                </a:ext>
              </a:extLst>
            </p:cNvPr>
            <p:cNvSpPr txBox="1"/>
            <p:nvPr/>
          </p:nvSpPr>
          <p:spPr>
            <a:xfrm>
              <a:off x="6247664" y="2896722"/>
              <a:ext cx="2743200" cy="630941"/>
            </a:xfrm>
            <a:prstGeom prst="rect">
              <a:avLst/>
            </a:prstGeom>
            <a:grpFill/>
          </p:spPr>
          <p:txBody>
            <a:bodyPr wrap="square" rtlCol="0">
              <a:spAutoFit/>
            </a:bodyPr>
            <a:lstStyle/>
            <a:p>
              <a:pPr algn="ctr" eaLnBrk="1" fontAlgn="auto" hangingPunct="1">
                <a:spcBef>
                  <a:spcPts val="0"/>
                </a:spcBef>
                <a:spcAft>
                  <a:spcPts val="0"/>
                </a:spcAft>
              </a:pPr>
              <a:r>
                <a:rPr lang="sv-SE" sz="1440" dirty="0">
                  <a:solidFill>
                    <a:schemeClr val="bg1"/>
                  </a:solidFill>
                  <a:latin typeface="+mn-lt"/>
                </a:rPr>
                <a:t>To not have too high employee turnover because it increases cost (financial)</a:t>
              </a:r>
              <a:endParaRPr lang="en-SG" sz="1440" dirty="0">
                <a:solidFill>
                  <a:schemeClr val="bg1"/>
                </a:solidFill>
                <a:latin typeface="+mn-lt"/>
              </a:endParaRPr>
            </a:p>
          </p:txBody>
        </p:sp>
      </p:grpSp>
      <p:grpSp>
        <p:nvGrpSpPr>
          <p:cNvPr id="20" name="Group 19">
            <a:extLst>
              <a:ext uri="{FF2B5EF4-FFF2-40B4-BE49-F238E27FC236}">
                <a16:creationId xmlns:a16="http://schemas.microsoft.com/office/drawing/2014/main" id="{2D6096E6-A265-8D53-515F-F2AB76F37DD1}"/>
              </a:ext>
            </a:extLst>
          </p:cNvPr>
          <p:cNvGrpSpPr/>
          <p:nvPr/>
        </p:nvGrpSpPr>
        <p:grpSpPr>
          <a:xfrm>
            <a:off x="8142017" y="4491960"/>
            <a:ext cx="3291840" cy="976017"/>
            <a:chOff x="6400800" y="3743299"/>
            <a:chExt cx="2743200" cy="813347"/>
          </a:xfrm>
          <a:solidFill>
            <a:schemeClr val="tx2"/>
          </a:solidFill>
        </p:grpSpPr>
        <p:sp>
          <p:nvSpPr>
            <p:cNvPr id="17" name="Rectangle 16">
              <a:extLst>
                <a:ext uri="{FF2B5EF4-FFF2-40B4-BE49-F238E27FC236}">
                  <a16:creationId xmlns:a16="http://schemas.microsoft.com/office/drawing/2014/main" id="{D25DF33B-7DEF-DD30-E2AA-A50FD4289FE1}"/>
                </a:ext>
              </a:extLst>
            </p:cNvPr>
            <p:cNvSpPr/>
            <p:nvPr/>
          </p:nvSpPr>
          <p:spPr>
            <a:xfrm>
              <a:off x="6400800" y="3743299"/>
              <a:ext cx="2743200" cy="813347"/>
            </a:xfrm>
            <a:prstGeom prst="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440">
                <a:solidFill>
                  <a:schemeClr val="bg1"/>
                </a:solidFill>
              </a:endParaRPr>
            </a:p>
          </p:txBody>
        </p:sp>
        <p:sp>
          <p:nvSpPr>
            <p:cNvPr id="10" name="TextBox 9">
              <a:extLst>
                <a:ext uri="{FF2B5EF4-FFF2-40B4-BE49-F238E27FC236}">
                  <a16:creationId xmlns:a16="http://schemas.microsoft.com/office/drawing/2014/main" id="{95C9653C-5C78-DAAC-7261-5846CA960D1C}"/>
                </a:ext>
              </a:extLst>
            </p:cNvPr>
            <p:cNvSpPr txBox="1"/>
            <p:nvPr/>
          </p:nvSpPr>
          <p:spPr>
            <a:xfrm>
              <a:off x="6400800" y="3826807"/>
              <a:ext cx="2743200" cy="630941"/>
            </a:xfrm>
            <a:prstGeom prst="rect">
              <a:avLst/>
            </a:prstGeom>
            <a:grpFill/>
          </p:spPr>
          <p:txBody>
            <a:bodyPr wrap="square" rtlCol="0">
              <a:spAutoFit/>
            </a:bodyPr>
            <a:lstStyle/>
            <a:p>
              <a:pPr algn="ctr" eaLnBrk="1" fontAlgn="auto" hangingPunct="1">
                <a:spcBef>
                  <a:spcPts val="0"/>
                </a:spcBef>
                <a:spcAft>
                  <a:spcPts val="0"/>
                </a:spcAft>
              </a:pPr>
              <a:r>
                <a:rPr lang="sv-SE" sz="1440" dirty="0">
                  <a:solidFill>
                    <a:schemeClr val="bg1"/>
                  </a:solidFill>
                  <a:latin typeface="+mn-lt"/>
                </a:rPr>
                <a:t>Employees leaving could result in less production output (performance)</a:t>
              </a:r>
              <a:endParaRPr lang="en-SG" sz="1440" dirty="0">
                <a:solidFill>
                  <a:schemeClr val="bg1"/>
                </a:solidFill>
                <a:latin typeface="+mn-lt"/>
              </a:endParaRPr>
            </a:p>
          </p:txBody>
        </p:sp>
      </p:grpSp>
      <p:sp>
        <p:nvSpPr>
          <p:cNvPr id="6" name="TextBox 5">
            <a:extLst>
              <a:ext uri="{FF2B5EF4-FFF2-40B4-BE49-F238E27FC236}">
                <a16:creationId xmlns:a16="http://schemas.microsoft.com/office/drawing/2014/main" id="{2EB0DF15-CE81-7EC7-27EF-275316EC28F1}"/>
              </a:ext>
            </a:extLst>
          </p:cNvPr>
          <p:cNvSpPr txBox="1"/>
          <p:nvPr/>
        </p:nvSpPr>
        <p:spPr>
          <a:xfrm>
            <a:off x="4467691" y="2057934"/>
            <a:ext cx="3291840" cy="369332"/>
          </a:xfrm>
          <a:prstGeom prst="rect">
            <a:avLst/>
          </a:prstGeom>
          <a:noFill/>
          <a:ln>
            <a:solidFill>
              <a:schemeClr val="accent2"/>
            </a:solidFill>
          </a:ln>
        </p:spPr>
        <p:txBody>
          <a:bodyPr wrap="square" rtlCol="0">
            <a:spAutoFit/>
          </a:bodyPr>
          <a:lstStyle/>
          <a:p>
            <a:pPr algn="ctr" eaLnBrk="1" fontAlgn="auto" hangingPunct="1">
              <a:spcBef>
                <a:spcPts val="0"/>
              </a:spcBef>
              <a:spcAft>
                <a:spcPts val="0"/>
              </a:spcAft>
            </a:pPr>
            <a:r>
              <a:rPr lang="sv-SE" b="1" dirty="0">
                <a:solidFill>
                  <a:schemeClr val="accent2"/>
                </a:solidFill>
                <a:latin typeface="+mn-lt"/>
              </a:rPr>
              <a:t>Need</a:t>
            </a:r>
            <a:r>
              <a:rPr lang="sv-SE" b="1" dirty="0">
                <a:solidFill>
                  <a:schemeClr val="bg2">
                    <a:lumMod val="10000"/>
                  </a:schemeClr>
                </a:solidFill>
                <a:latin typeface="+mn-lt"/>
              </a:rPr>
              <a:t> </a:t>
            </a:r>
            <a:endParaRPr lang="en-SG" b="1" dirty="0">
              <a:solidFill>
                <a:schemeClr val="bg2">
                  <a:lumMod val="10000"/>
                </a:schemeClr>
              </a:solidFill>
              <a:latin typeface="+mn-lt"/>
            </a:endParaRPr>
          </a:p>
        </p:txBody>
      </p:sp>
      <p:grpSp>
        <p:nvGrpSpPr>
          <p:cNvPr id="21" name="Group 20">
            <a:extLst>
              <a:ext uri="{FF2B5EF4-FFF2-40B4-BE49-F238E27FC236}">
                <a16:creationId xmlns:a16="http://schemas.microsoft.com/office/drawing/2014/main" id="{996D1C80-EBBA-9979-CFCB-B7BEB089C643}"/>
              </a:ext>
            </a:extLst>
          </p:cNvPr>
          <p:cNvGrpSpPr/>
          <p:nvPr/>
        </p:nvGrpSpPr>
        <p:grpSpPr>
          <a:xfrm>
            <a:off x="4467691" y="2617956"/>
            <a:ext cx="3291841" cy="1036320"/>
            <a:chOff x="3153181" y="2154761"/>
            <a:chExt cx="2743201" cy="863600"/>
          </a:xfrm>
          <a:solidFill>
            <a:schemeClr val="accent1"/>
          </a:solidFill>
        </p:grpSpPr>
        <p:sp>
          <p:nvSpPr>
            <p:cNvPr id="12" name="Rectangle 11">
              <a:extLst>
                <a:ext uri="{FF2B5EF4-FFF2-40B4-BE49-F238E27FC236}">
                  <a16:creationId xmlns:a16="http://schemas.microsoft.com/office/drawing/2014/main" id="{CF5A92C4-BD5A-0193-EA3C-E2D784B9E50D}"/>
                </a:ext>
              </a:extLst>
            </p:cNvPr>
            <p:cNvSpPr/>
            <p:nvPr/>
          </p:nvSpPr>
          <p:spPr>
            <a:xfrm>
              <a:off x="3153181" y="2154761"/>
              <a:ext cx="2743200" cy="863600"/>
            </a:xfrm>
            <a:prstGeom prst="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440">
                <a:solidFill>
                  <a:schemeClr val="bg1"/>
                </a:solidFill>
              </a:endParaRPr>
            </a:p>
          </p:txBody>
        </p:sp>
        <p:sp>
          <p:nvSpPr>
            <p:cNvPr id="14" name="TextBox 13">
              <a:extLst>
                <a:ext uri="{FF2B5EF4-FFF2-40B4-BE49-F238E27FC236}">
                  <a16:creationId xmlns:a16="http://schemas.microsoft.com/office/drawing/2014/main" id="{FA5D2EF5-1CC1-5164-E534-04B6C97F0C2D}"/>
                </a:ext>
              </a:extLst>
            </p:cNvPr>
            <p:cNvSpPr txBox="1"/>
            <p:nvPr/>
          </p:nvSpPr>
          <p:spPr>
            <a:xfrm>
              <a:off x="3153181" y="2448062"/>
              <a:ext cx="2743201" cy="446276"/>
            </a:xfrm>
            <a:prstGeom prst="rect">
              <a:avLst/>
            </a:prstGeom>
            <a:grpFill/>
          </p:spPr>
          <p:txBody>
            <a:bodyPr wrap="square">
              <a:spAutoFit/>
            </a:bodyPr>
            <a:lstStyle/>
            <a:p>
              <a:pPr algn="ctr" eaLnBrk="1" fontAlgn="auto" hangingPunct="1">
                <a:spcBef>
                  <a:spcPts val="0"/>
                </a:spcBef>
                <a:spcAft>
                  <a:spcPts val="0"/>
                </a:spcAft>
              </a:pPr>
              <a:r>
                <a:rPr lang="sv-SE" sz="1440" dirty="0">
                  <a:solidFill>
                    <a:schemeClr val="bg1"/>
                  </a:solidFill>
                  <a:latin typeface="+mn-lt"/>
                </a:rPr>
                <a:t>To find a solution the employees like</a:t>
              </a:r>
              <a:endParaRPr lang="en-SG" sz="1440" dirty="0">
                <a:solidFill>
                  <a:schemeClr val="bg1"/>
                </a:solidFill>
                <a:latin typeface="+mn-lt"/>
              </a:endParaRPr>
            </a:p>
          </p:txBody>
        </p:sp>
      </p:grpSp>
    </p:spTree>
    <p:extLst>
      <p:ext uri="{BB962C8B-B14F-4D97-AF65-F5344CB8AC3E}">
        <p14:creationId xmlns:p14="http://schemas.microsoft.com/office/powerpoint/2010/main" val="41702793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512EFD-0F8F-7875-0E04-ED2BA8F222C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0972800" cy="6858000"/>
          </a:xfrm>
          <a:prstGeom prst="rect">
            <a:avLst/>
          </a:prstGeom>
        </p:spPr>
      </p:pic>
      <p:sp>
        <p:nvSpPr>
          <p:cNvPr id="22" name="Text Placeholder 21">
            <a:extLst>
              <a:ext uri="{FF2B5EF4-FFF2-40B4-BE49-F238E27FC236}">
                <a16:creationId xmlns:a16="http://schemas.microsoft.com/office/drawing/2014/main" id="{5EF1A40D-31AB-D549-A1A2-02993481535F}"/>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F08A8DF4-A926-A27A-4D1A-D2C395D43D2C}"/>
              </a:ext>
            </a:extLst>
          </p:cNvPr>
          <p:cNvSpPr>
            <a:spLocks noGrp="1"/>
          </p:cNvSpPr>
          <p:nvPr>
            <p:ph type="title"/>
          </p:nvPr>
        </p:nvSpPr>
        <p:spPr>
          <a:noFill/>
        </p:spPr>
        <p:txBody>
          <a:bodyPr anchor="ctr"/>
          <a:lstStyle/>
          <a:p>
            <a:r>
              <a:rPr lang="sv-SE" dirty="0"/>
              <a:t>Fully understanding the problem to solve</a:t>
            </a:r>
            <a:endParaRPr lang="en-SG" dirty="0"/>
          </a:p>
        </p:txBody>
      </p:sp>
      <p:sp>
        <p:nvSpPr>
          <p:cNvPr id="21" name="Text Placeholder 20">
            <a:extLst>
              <a:ext uri="{FF2B5EF4-FFF2-40B4-BE49-F238E27FC236}">
                <a16:creationId xmlns:a16="http://schemas.microsoft.com/office/drawing/2014/main" id="{4707C2DF-D794-D3C4-378E-A0A9CEFBA977}"/>
              </a:ext>
            </a:extLst>
          </p:cNvPr>
          <p:cNvSpPr>
            <a:spLocks noGrp="1"/>
          </p:cNvSpPr>
          <p:nvPr>
            <p:ph type="body" sz="half" idx="2"/>
          </p:nvPr>
        </p:nvSpPr>
        <p:spPr/>
        <p:txBody>
          <a:bodyPr/>
          <a:lstStyle/>
          <a:p>
            <a:endParaRPr lang="en-US"/>
          </a:p>
        </p:txBody>
      </p:sp>
      <p:sp>
        <p:nvSpPr>
          <p:cNvPr id="4" name="TextBox 3">
            <a:extLst>
              <a:ext uri="{FF2B5EF4-FFF2-40B4-BE49-F238E27FC236}">
                <a16:creationId xmlns:a16="http://schemas.microsoft.com/office/drawing/2014/main" id="{DFC53CEA-C697-9544-B25E-0EF89AFEB0E5}"/>
              </a:ext>
            </a:extLst>
          </p:cNvPr>
          <p:cNvSpPr txBox="1"/>
          <p:nvPr/>
        </p:nvSpPr>
        <p:spPr>
          <a:xfrm>
            <a:off x="1110963" y="1992086"/>
            <a:ext cx="2855528" cy="369332"/>
          </a:xfrm>
          <a:prstGeom prst="rect">
            <a:avLst/>
          </a:prstGeom>
          <a:solidFill>
            <a:schemeClr val="tx2"/>
          </a:solidFill>
        </p:spPr>
        <p:txBody>
          <a:bodyPr wrap="square" rtlCol="0" anchor="ctr">
            <a:noAutofit/>
          </a:bodyPr>
          <a:lstStyle>
            <a:defPPr>
              <a:defRPr lang="en-US"/>
            </a:defPPr>
            <a:lvl1pPr algn="ctr" eaLnBrk="1" fontAlgn="auto" hangingPunct="1">
              <a:spcBef>
                <a:spcPts val="0"/>
              </a:spcBef>
              <a:spcAft>
                <a:spcPts val="0"/>
              </a:spcAft>
              <a:defRPr sz="1400">
                <a:solidFill>
                  <a:schemeClr val="bg2">
                    <a:lumMod val="10000"/>
                  </a:schemeClr>
                </a:solidFill>
                <a:latin typeface="+mn-lt"/>
              </a:defRPr>
            </a:lvl1pPr>
          </a:lstStyle>
          <a:p>
            <a:r>
              <a:rPr lang="sv-SE" sz="1680" b="1">
                <a:solidFill>
                  <a:schemeClr val="bg2"/>
                </a:solidFill>
              </a:rPr>
              <a:t>Scenario</a:t>
            </a:r>
            <a:endParaRPr lang="en-SG" sz="1680" b="1" dirty="0">
              <a:solidFill>
                <a:schemeClr val="bg2"/>
              </a:solidFill>
            </a:endParaRPr>
          </a:p>
        </p:txBody>
      </p:sp>
      <p:sp>
        <p:nvSpPr>
          <p:cNvPr id="5" name="TextBox 4">
            <a:extLst>
              <a:ext uri="{FF2B5EF4-FFF2-40B4-BE49-F238E27FC236}">
                <a16:creationId xmlns:a16="http://schemas.microsoft.com/office/drawing/2014/main" id="{8CC4DCD2-B28A-1478-A591-A8D633881BE5}"/>
              </a:ext>
            </a:extLst>
          </p:cNvPr>
          <p:cNvSpPr txBox="1">
            <a:spLocks/>
          </p:cNvSpPr>
          <p:nvPr/>
        </p:nvSpPr>
        <p:spPr>
          <a:xfrm>
            <a:off x="1110961" y="2621279"/>
            <a:ext cx="2855528" cy="1585498"/>
          </a:xfrm>
          <a:prstGeom prst="rect">
            <a:avLst/>
          </a:prstGeom>
          <a:solidFill>
            <a:schemeClr val="accent1"/>
          </a:solidFill>
        </p:spPr>
        <p:txBody>
          <a:bodyPr wrap="square" rtlCol="0" anchor="ctr">
            <a:noAutofit/>
          </a:bodyPr>
          <a:lstStyle/>
          <a:p>
            <a:pPr algn="ctr" eaLnBrk="1" fontAlgn="auto" hangingPunct="1">
              <a:spcBef>
                <a:spcPts val="0"/>
              </a:spcBef>
              <a:spcAft>
                <a:spcPts val="0"/>
              </a:spcAft>
            </a:pPr>
            <a:r>
              <a:rPr lang="sv-SE" sz="1680" b="1" dirty="0">
                <a:solidFill>
                  <a:schemeClr val="bg2"/>
                </a:solidFill>
                <a:latin typeface="+mn-lt"/>
              </a:rPr>
              <a:t>You and 3 colleagues are driving to a meeting. The car breaks down in the middle of a busy intersection. </a:t>
            </a:r>
            <a:endParaRPr lang="en-SG" sz="1680" b="1" dirty="0">
              <a:solidFill>
                <a:schemeClr val="bg2"/>
              </a:solidFill>
              <a:latin typeface="+mn-lt"/>
            </a:endParaRPr>
          </a:p>
        </p:txBody>
      </p:sp>
      <p:sp>
        <p:nvSpPr>
          <p:cNvPr id="6" name="TextBox 5">
            <a:extLst>
              <a:ext uri="{FF2B5EF4-FFF2-40B4-BE49-F238E27FC236}">
                <a16:creationId xmlns:a16="http://schemas.microsoft.com/office/drawing/2014/main" id="{32E05C66-0830-8C68-FEE5-C70904A45317}"/>
              </a:ext>
            </a:extLst>
          </p:cNvPr>
          <p:cNvSpPr txBox="1"/>
          <p:nvPr/>
        </p:nvSpPr>
        <p:spPr>
          <a:xfrm>
            <a:off x="4698673" y="1992086"/>
            <a:ext cx="2855528" cy="369332"/>
          </a:xfrm>
          <a:prstGeom prst="rect">
            <a:avLst/>
          </a:prstGeom>
          <a:solidFill>
            <a:schemeClr val="tx2"/>
          </a:solidFill>
        </p:spPr>
        <p:txBody>
          <a:bodyPr wrap="square" rtlCol="0" anchor="ctr">
            <a:noAutofit/>
          </a:bodyPr>
          <a:lstStyle>
            <a:defPPr>
              <a:defRPr lang="en-US"/>
            </a:defPPr>
            <a:lvl1pPr algn="ctr" eaLnBrk="1" fontAlgn="auto" hangingPunct="1">
              <a:spcBef>
                <a:spcPts val="0"/>
              </a:spcBef>
              <a:spcAft>
                <a:spcPts val="0"/>
              </a:spcAft>
              <a:defRPr sz="1400" b="1">
                <a:solidFill>
                  <a:schemeClr val="bg2">
                    <a:lumMod val="10000"/>
                  </a:schemeClr>
                </a:solidFill>
                <a:latin typeface="+mn-lt"/>
              </a:defRPr>
            </a:lvl1pPr>
          </a:lstStyle>
          <a:p>
            <a:r>
              <a:rPr lang="sv-SE" sz="1680" dirty="0">
                <a:solidFill>
                  <a:schemeClr val="bg2"/>
                </a:solidFill>
              </a:rPr>
              <a:t>The problem</a:t>
            </a:r>
            <a:endParaRPr lang="en-SG" sz="1680" dirty="0">
              <a:solidFill>
                <a:schemeClr val="bg2"/>
              </a:solidFill>
            </a:endParaRPr>
          </a:p>
        </p:txBody>
      </p:sp>
      <p:sp>
        <p:nvSpPr>
          <p:cNvPr id="7" name="TextBox 6">
            <a:extLst>
              <a:ext uri="{FF2B5EF4-FFF2-40B4-BE49-F238E27FC236}">
                <a16:creationId xmlns:a16="http://schemas.microsoft.com/office/drawing/2014/main" id="{625EB1E1-7B6B-020E-F4B9-3651C908E925}"/>
              </a:ext>
            </a:extLst>
          </p:cNvPr>
          <p:cNvSpPr txBox="1">
            <a:spLocks/>
          </p:cNvSpPr>
          <p:nvPr/>
        </p:nvSpPr>
        <p:spPr>
          <a:xfrm>
            <a:off x="4698671" y="2621279"/>
            <a:ext cx="2855528" cy="627864"/>
          </a:xfrm>
          <a:prstGeom prst="rect">
            <a:avLst/>
          </a:prstGeom>
          <a:solidFill>
            <a:schemeClr val="accent1"/>
          </a:solidFill>
        </p:spPr>
        <p:txBody>
          <a:bodyPr wrap="square" rtlCol="0" anchor="ctr">
            <a:noAutofit/>
          </a:bodyPr>
          <a:lstStyle/>
          <a:p>
            <a:pPr algn="ctr" eaLnBrk="1" fontAlgn="auto" hangingPunct="1">
              <a:spcBef>
                <a:spcPts val="0"/>
              </a:spcBef>
              <a:spcAft>
                <a:spcPts val="0"/>
              </a:spcAft>
            </a:pPr>
            <a:r>
              <a:rPr lang="sv-SE" sz="1680" b="1" dirty="0">
                <a:solidFill>
                  <a:schemeClr val="bg2"/>
                </a:solidFill>
                <a:latin typeface="+mn-lt"/>
              </a:rPr>
              <a:t>The car is blocking other cars </a:t>
            </a:r>
            <a:endParaRPr lang="en-SG" sz="1680" b="1" dirty="0">
              <a:solidFill>
                <a:schemeClr val="bg2"/>
              </a:solidFill>
              <a:latin typeface="+mn-lt"/>
            </a:endParaRPr>
          </a:p>
        </p:txBody>
      </p:sp>
      <p:sp>
        <p:nvSpPr>
          <p:cNvPr id="8" name="TextBox 7">
            <a:extLst>
              <a:ext uri="{FF2B5EF4-FFF2-40B4-BE49-F238E27FC236}">
                <a16:creationId xmlns:a16="http://schemas.microsoft.com/office/drawing/2014/main" id="{6A434D4F-85DA-A575-E9E1-D4B65D00BA17}"/>
              </a:ext>
            </a:extLst>
          </p:cNvPr>
          <p:cNvSpPr txBox="1">
            <a:spLocks/>
          </p:cNvSpPr>
          <p:nvPr/>
        </p:nvSpPr>
        <p:spPr>
          <a:xfrm>
            <a:off x="4698671" y="3578912"/>
            <a:ext cx="2855528" cy="627864"/>
          </a:xfrm>
          <a:prstGeom prst="rect">
            <a:avLst/>
          </a:prstGeom>
          <a:solidFill>
            <a:schemeClr val="accent1"/>
          </a:solidFill>
        </p:spPr>
        <p:txBody>
          <a:bodyPr wrap="square" rtlCol="0" anchor="ctr">
            <a:noAutofit/>
          </a:bodyPr>
          <a:lstStyle/>
          <a:p>
            <a:pPr algn="ctr" eaLnBrk="1" fontAlgn="auto" hangingPunct="1">
              <a:spcBef>
                <a:spcPts val="0"/>
              </a:spcBef>
              <a:spcAft>
                <a:spcPts val="0"/>
              </a:spcAft>
            </a:pPr>
            <a:r>
              <a:rPr lang="sv-SE" sz="1680" b="1" dirty="0">
                <a:solidFill>
                  <a:schemeClr val="bg2"/>
                </a:solidFill>
                <a:latin typeface="+mn-lt"/>
              </a:rPr>
              <a:t>We’re going to be late for the meeting</a:t>
            </a:r>
            <a:endParaRPr lang="en-SG" sz="1680" b="1" dirty="0">
              <a:solidFill>
                <a:schemeClr val="bg2"/>
              </a:solidFill>
              <a:latin typeface="+mn-lt"/>
            </a:endParaRPr>
          </a:p>
        </p:txBody>
      </p:sp>
      <p:sp>
        <p:nvSpPr>
          <p:cNvPr id="9" name="TextBox 8">
            <a:extLst>
              <a:ext uri="{FF2B5EF4-FFF2-40B4-BE49-F238E27FC236}">
                <a16:creationId xmlns:a16="http://schemas.microsoft.com/office/drawing/2014/main" id="{B4C33142-CC21-87B6-AD02-408E4B7D2525}"/>
              </a:ext>
            </a:extLst>
          </p:cNvPr>
          <p:cNvSpPr txBox="1">
            <a:spLocks/>
          </p:cNvSpPr>
          <p:nvPr/>
        </p:nvSpPr>
        <p:spPr>
          <a:xfrm>
            <a:off x="4698671" y="4468016"/>
            <a:ext cx="2855528" cy="799052"/>
          </a:xfrm>
          <a:prstGeom prst="rect">
            <a:avLst/>
          </a:prstGeom>
          <a:solidFill>
            <a:schemeClr val="accent1"/>
          </a:solidFill>
        </p:spPr>
        <p:txBody>
          <a:bodyPr wrap="square" rtlCol="0" anchor="ctr">
            <a:noAutofit/>
          </a:bodyPr>
          <a:lstStyle/>
          <a:p>
            <a:pPr algn="ctr" eaLnBrk="1" fontAlgn="auto" hangingPunct="1">
              <a:spcBef>
                <a:spcPts val="0"/>
              </a:spcBef>
              <a:spcAft>
                <a:spcPts val="0"/>
              </a:spcAft>
            </a:pPr>
            <a:r>
              <a:rPr lang="sv-SE" sz="1680" b="1" dirty="0">
                <a:solidFill>
                  <a:schemeClr val="bg2"/>
                </a:solidFill>
                <a:latin typeface="+mn-lt"/>
              </a:rPr>
              <a:t>We’ll miss important information in the meeting</a:t>
            </a:r>
            <a:endParaRPr lang="en-SG" sz="1680" b="1" dirty="0">
              <a:solidFill>
                <a:schemeClr val="bg2"/>
              </a:solidFill>
              <a:latin typeface="+mn-lt"/>
            </a:endParaRPr>
          </a:p>
        </p:txBody>
      </p:sp>
      <p:sp>
        <p:nvSpPr>
          <p:cNvPr id="10" name="TextBox 9">
            <a:extLst>
              <a:ext uri="{FF2B5EF4-FFF2-40B4-BE49-F238E27FC236}">
                <a16:creationId xmlns:a16="http://schemas.microsoft.com/office/drawing/2014/main" id="{3EAE73CA-397E-BAA7-272A-33D0E3DD5170}"/>
              </a:ext>
            </a:extLst>
          </p:cNvPr>
          <p:cNvSpPr txBox="1">
            <a:spLocks/>
          </p:cNvSpPr>
          <p:nvPr/>
        </p:nvSpPr>
        <p:spPr>
          <a:xfrm>
            <a:off x="4698671" y="5494181"/>
            <a:ext cx="2855528" cy="627864"/>
          </a:xfrm>
          <a:prstGeom prst="rect">
            <a:avLst/>
          </a:prstGeom>
          <a:solidFill>
            <a:schemeClr val="accent1"/>
          </a:solidFill>
        </p:spPr>
        <p:txBody>
          <a:bodyPr wrap="square" rtlCol="0" anchor="ctr">
            <a:noAutofit/>
          </a:bodyPr>
          <a:lstStyle/>
          <a:p>
            <a:pPr algn="ctr" eaLnBrk="1" fontAlgn="auto" hangingPunct="1">
              <a:spcBef>
                <a:spcPts val="0"/>
              </a:spcBef>
              <a:spcAft>
                <a:spcPts val="0"/>
              </a:spcAft>
            </a:pPr>
            <a:r>
              <a:rPr lang="sv-SE" sz="1680" b="1" dirty="0">
                <a:solidFill>
                  <a:schemeClr val="bg2"/>
                </a:solidFill>
                <a:latin typeface="+mn-lt"/>
              </a:rPr>
              <a:t>Cannot get to the office</a:t>
            </a:r>
            <a:endParaRPr lang="en-SG" sz="1680" b="1" dirty="0">
              <a:solidFill>
                <a:schemeClr val="bg2"/>
              </a:solidFill>
              <a:latin typeface="+mn-lt"/>
            </a:endParaRPr>
          </a:p>
        </p:txBody>
      </p:sp>
      <p:sp>
        <p:nvSpPr>
          <p:cNvPr id="11" name="TextBox 10">
            <a:extLst>
              <a:ext uri="{FF2B5EF4-FFF2-40B4-BE49-F238E27FC236}">
                <a16:creationId xmlns:a16="http://schemas.microsoft.com/office/drawing/2014/main" id="{A053B0D1-1838-6F23-BA97-5547E09BB996}"/>
              </a:ext>
            </a:extLst>
          </p:cNvPr>
          <p:cNvSpPr txBox="1">
            <a:spLocks/>
          </p:cNvSpPr>
          <p:nvPr/>
        </p:nvSpPr>
        <p:spPr>
          <a:xfrm>
            <a:off x="8225424" y="2621279"/>
            <a:ext cx="2855528" cy="627864"/>
          </a:xfrm>
          <a:prstGeom prst="rect">
            <a:avLst/>
          </a:prstGeom>
          <a:solidFill>
            <a:schemeClr val="accent1"/>
          </a:solidFill>
        </p:spPr>
        <p:txBody>
          <a:bodyPr wrap="square" rtlCol="0" anchor="ctr">
            <a:noAutofit/>
          </a:bodyPr>
          <a:lstStyle/>
          <a:p>
            <a:pPr algn="ctr" eaLnBrk="1" fontAlgn="auto" hangingPunct="1">
              <a:spcBef>
                <a:spcPts val="0"/>
              </a:spcBef>
              <a:spcAft>
                <a:spcPts val="0"/>
              </a:spcAft>
            </a:pPr>
            <a:r>
              <a:rPr lang="sv-SE" sz="1680" b="1" dirty="0">
                <a:solidFill>
                  <a:schemeClr val="bg2"/>
                </a:solidFill>
                <a:latin typeface="+mn-lt"/>
              </a:rPr>
              <a:t>Tow-truck</a:t>
            </a:r>
            <a:endParaRPr lang="en-SG" sz="1680" b="1" dirty="0">
              <a:solidFill>
                <a:schemeClr val="bg2"/>
              </a:solidFill>
              <a:latin typeface="+mn-lt"/>
            </a:endParaRPr>
          </a:p>
        </p:txBody>
      </p:sp>
      <p:sp>
        <p:nvSpPr>
          <p:cNvPr id="12" name="TextBox 11">
            <a:extLst>
              <a:ext uri="{FF2B5EF4-FFF2-40B4-BE49-F238E27FC236}">
                <a16:creationId xmlns:a16="http://schemas.microsoft.com/office/drawing/2014/main" id="{8FD35C2D-CADD-9A6A-8E03-019550E1152F}"/>
              </a:ext>
            </a:extLst>
          </p:cNvPr>
          <p:cNvSpPr txBox="1">
            <a:spLocks/>
          </p:cNvSpPr>
          <p:nvPr/>
        </p:nvSpPr>
        <p:spPr>
          <a:xfrm>
            <a:off x="8225422" y="3578912"/>
            <a:ext cx="2855528" cy="627864"/>
          </a:xfrm>
          <a:prstGeom prst="rect">
            <a:avLst/>
          </a:prstGeom>
          <a:solidFill>
            <a:schemeClr val="accent1"/>
          </a:solidFill>
        </p:spPr>
        <p:txBody>
          <a:bodyPr wrap="square" rtlCol="0" anchor="ctr">
            <a:noAutofit/>
          </a:bodyPr>
          <a:lstStyle/>
          <a:p>
            <a:pPr algn="ctr" eaLnBrk="1" fontAlgn="auto" hangingPunct="1">
              <a:spcBef>
                <a:spcPts val="0"/>
              </a:spcBef>
              <a:spcAft>
                <a:spcPts val="0"/>
              </a:spcAft>
            </a:pPr>
            <a:r>
              <a:rPr lang="sv-SE" sz="1680" b="1" dirty="0">
                <a:solidFill>
                  <a:schemeClr val="bg2"/>
                </a:solidFill>
                <a:latin typeface="+mn-lt"/>
              </a:rPr>
              <a:t>Inform the meeting we’re late</a:t>
            </a:r>
            <a:endParaRPr lang="en-SG" sz="1680" b="1" dirty="0">
              <a:solidFill>
                <a:schemeClr val="bg2"/>
              </a:solidFill>
              <a:latin typeface="+mn-lt"/>
            </a:endParaRPr>
          </a:p>
        </p:txBody>
      </p:sp>
      <p:sp>
        <p:nvSpPr>
          <p:cNvPr id="13" name="TextBox 12">
            <a:extLst>
              <a:ext uri="{FF2B5EF4-FFF2-40B4-BE49-F238E27FC236}">
                <a16:creationId xmlns:a16="http://schemas.microsoft.com/office/drawing/2014/main" id="{CA2BB49C-9197-4A9D-DD08-A0BD5DF321B7}"/>
              </a:ext>
            </a:extLst>
          </p:cNvPr>
          <p:cNvSpPr txBox="1">
            <a:spLocks/>
          </p:cNvSpPr>
          <p:nvPr/>
        </p:nvSpPr>
        <p:spPr>
          <a:xfrm>
            <a:off x="8225420" y="4536546"/>
            <a:ext cx="2855528" cy="627864"/>
          </a:xfrm>
          <a:prstGeom prst="rect">
            <a:avLst/>
          </a:prstGeom>
          <a:solidFill>
            <a:schemeClr val="accent1"/>
          </a:solidFill>
        </p:spPr>
        <p:txBody>
          <a:bodyPr wrap="square" rtlCol="0" anchor="ctr">
            <a:noAutofit/>
          </a:bodyPr>
          <a:lstStyle/>
          <a:p>
            <a:pPr algn="ctr" eaLnBrk="1" fontAlgn="auto" hangingPunct="1">
              <a:spcBef>
                <a:spcPts val="0"/>
              </a:spcBef>
              <a:spcAft>
                <a:spcPts val="0"/>
              </a:spcAft>
            </a:pPr>
            <a:r>
              <a:rPr lang="sv-SE" sz="1680" b="1" dirty="0">
                <a:solidFill>
                  <a:schemeClr val="bg2"/>
                </a:solidFill>
                <a:latin typeface="+mn-lt"/>
              </a:rPr>
              <a:t>Dial in to attend the meeting </a:t>
            </a:r>
            <a:endParaRPr lang="en-SG" sz="1680" b="1" dirty="0">
              <a:solidFill>
                <a:schemeClr val="bg2"/>
              </a:solidFill>
              <a:latin typeface="+mn-lt"/>
            </a:endParaRPr>
          </a:p>
        </p:txBody>
      </p:sp>
      <p:sp>
        <p:nvSpPr>
          <p:cNvPr id="14" name="TextBox 13">
            <a:extLst>
              <a:ext uri="{FF2B5EF4-FFF2-40B4-BE49-F238E27FC236}">
                <a16:creationId xmlns:a16="http://schemas.microsoft.com/office/drawing/2014/main" id="{CF9AA578-4F62-9EFB-07F4-F55C7CE0889D}"/>
              </a:ext>
            </a:extLst>
          </p:cNvPr>
          <p:cNvSpPr txBox="1">
            <a:spLocks/>
          </p:cNvSpPr>
          <p:nvPr/>
        </p:nvSpPr>
        <p:spPr>
          <a:xfrm>
            <a:off x="8225420" y="5494181"/>
            <a:ext cx="2855528" cy="627864"/>
          </a:xfrm>
          <a:prstGeom prst="rect">
            <a:avLst/>
          </a:prstGeom>
          <a:solidFill>
            <a:schemeClr val="accent1"/>
          </a:solidFill>
        </p:spPr>
        <p:txBody>
          <a:bodyPr wrap="square" rtlCol="0" anchor="ctr">
            <a:noAutofit/>
          </a:bodyPr>
          <a:lstStyle/>
          <a:p>
            <a:pPr algn="ctr" eaLnBrk="1" fontAlgn="auto" hangingPunct="1">
              <a:spcBef>
                <a:spcPts val="0"/>
              </a:spcBef>
              <a:spcAft>
                <a:spcPts val="0"/>
              </a:spcAft>
            </a:pPr>
            <a:r>
              <a:rPr lang="sv-SE" sz="1680" b="1" dirty="0">
                <a:solidFill>
                  <a:schemeClr val="bg2"/>
                </a:solidFill>
                <a:latin typeface="+mn-lt"/>
              </a:rPr>
              <a:t>Taxi </a:t>
            </a:r>
            <a:endParaRPr lang="en-SG" sz="1680" b="1" dirty="0">
              <a:solidFill>
                <a:schemeClr val="bg2"/>
              </a:solidFill>
              <a:latin typeface="+mn-lt"/>
            </a:endParaRPr>
          </a:p>
        </p:txBody>
      </p:sp>
      <p:sp>
        <p:nvSpPr>
          <p:cNvPr id="15" name="TextBox 14">
            <a:extLst>
              <a:ext uri="{FF2B5EF4-FFF2-40B4-BE49-F238E27FC236}">
                <a16:creationId xmlns:a16="http://schemas.microsoft.com/office/drawing/2014/main" id="{748F1314-6BDB-4B35-FB00-DCE59C96A1B8}"/>
              </a:ext>
            </a:extLst>
          </p:cNvPr>
          <p:cNvSpPr txBox="1"/>
          <p:nvPr/>
        </p:nvSpPr>
        <p:spPr>
          <a:xfrm>
            <a:off x="8225422" y="1992086"/>
            <a:ext cx="2855528" cy="369332"/>
          </a:xfrm>
          <a:prstGeom prst="rect">
            <a:avLst/>
          </a:prstGeom>
          <a:solidFill>
            <a:schemeClr val="tx2"/>
          </a:solidFill>
        </p:spPr>
        <p:txBody>
          <a:bodyPr wrap="square" rtlCol="0" anchor="ctr">
            <a:noAutofit/>
          </a:bodyPr>
          <a:lstStyle>
            <a:defPPr>
              <a:defRPr lang="en-US"/>
            </a:defPPr>
            <a:lvl1pPr algn="ctr" eaLnBrk="1" fontAlgn="auto" hangingPunct="1">
              <a:spcBef>
                <a:spcPts val="0"/>
              </a:spcBef>
              <a:spcAft>
                <a:spcPts val="0"/>
              </a:spcAft>
              <a:defRPr sz="1400" b="1">
                <a:solidFill>
                  <a:schemeClr val="bg2">
                    <a:lumMod val="10000"/>
                  </a:schemeClr>
                </a:solidFill>
                <a:latin typeface="+mn-lt"/>
              </a:defRPr>
            </a:lvl1pPr>
          </a:lstStyle>
          <a:p>
            <a:r>
              <a:rPr lang="sv-SE" sz="1680" dirty="0">
                <a:solidFill>
                  <a:schemeClr val="bg2"/>
                </a:solidFill>
              </a:rPr>
              <a:t>The solution</a:t>
            </a:r>
            <a:endParaRPr lang="en-SG" sz="1680" dirty="0">
              <a:solidFill>
                <a:schemeClr val="bg2"/>
              </a:solidFill>
            </a:endParaRPr>
          </a:p>
        </p:txBody>
      </p:sp>
      <p:sp>
        <p:nvSpPr>
          <p:cNvPr id="16" name="Arrow: Right 15">
            <a:extLst>
              <a:ext uri="{FF2B5EF4-FFF2-40B4-BE49-F238E27FC236}">
                <a16:creationId xmlns:a16="http://schemas.microsoft.com/office/drawing/2014/main" id="{350D59FB-4C63-631B-DED6-D53DE052663F}"/>
              </a:ext>
            </a:extLst>
          </p:cNvPr>
          <p:cNvSpPr/>
          <p:nvPr/>
        </p:nvSpPr>
        <p:spPr>
          <a:xfrm>
            <a:off x="7796596" y="2693670"/>
            <a:ext cx="184680" cy="483082"/>
          </a:xfrm>
          <a:prstGeom prst="rightArrow">
            <a:avLst>
              <a:gd name="adj1" fmla="val 50000"/>
              <a:gd name="adj2" fmla="val 115127"/>
            </a:avLst>
          </a:prstGeom>
          <a:solidFill>
            <a:schemeClr val="accent1">
              <a:lumMod val="60000"/>
              <a:lumOff val="40000"/>
              <a:alpha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7" name="Arrow: Right 16">
            <a:extLst>
              <a:ext uri="{FF2B5EF4-FFF2-40B4-BE49-F238E27FC236}">
                <a16:creationId xmlns:a16="http://schemas.microsoft.com/office/drawing/2014/main" id="{842B16E1-7E6C-6432-D8A7-E666D6C47150}"/>
              </a:ext>
            </a:extLst>
          </p:cNvPr>
          <p:cNvSpPr/>
          <p:nvPr/>
        </p:nvSpPr>
        <p:spPr>
          <a:xfrm>
            <a:off x="7796596" y="3651303"/>
            <a:ext cx="184680" cy="483082"/>
          </a:xfrm>
          <a:prstGeom prst="rightArrow">
            <a:avLst>
              <a:gd name="adj1" fmla="val 50000"/>
              <a:gd name="adj2" fmla="val 115127"/>
            </a:avLst>
          </a:prstGeom>
          <a:solidFill>
            <a:schemeClr val="accent1">
              <a:lumMod val="60000"/>
              <a:lumOff val="40000"/>
              <a:alpha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8" name="Arrow: Right 17">
            <a:extLst>
              <a:ext uri="{FF2B5EF4-FFF2-40B4-BE49-F238E27FC236}">
                <a16:creationId xmlns:a16="http://schemas.microsoft.com/office/drawing/2014/main" id="{4EF4E6C6-4738-3436-D090-31C66C13770D}"/>
              </a:ext>
            </a:extLst>
          </p:cNvPr>
          <p:cNvSpPr/>
          <p:nvPr/>
        </p:nvSpPr>
        <p:spPr>
          <a:xfrm>
            <a:off x="7796596" y="4608937"/>
            <a:ext cx="184680" cy="483082"/>
          </a:xfrm>
          <a:prstGeom prst="rightArrow">
            <a:avLst>
              <a:gd name="adj1" fmla="val 50000"/>
              <a:gd name="adj2" fmla="val 115127"/>
            </a:avLst>
          </a:prstGeom>
          <a:solidFill>
            <a:schemeClr val="accent1">
              <a:lumMod val="60000"/>
              <a:lumOff val="40000"/>
              <a:alpha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9" name="Arrow: Right 18">
            <a:extLst>
              <a:ext uri="{FF2B5EF4-FFF2-40B4-BE49-F238E27FC236}">
                <a16:creationId xmlns:a16="http://schemas.microsoft.com/office/drawing/2014/main" id="{EDC1B5A8-5A3B-21FD-0B05-D44C83C188A1}"/>
              </a:ext>
            </a:extLst>
          </p:cNvPr>
          <p:cNvSpPr/>
          <p:nvPr/>
        </p:nvSpPr>
        <p:spPr>
          <a:xfrm>
            <a:off x="7796596" y="5566572"/>
            <a:ext cx="184680" cy="483082"/>
          </a:xfrm>
          <a:prstGeom prst="rightArrow">
            <a:avLst>
              <a:gd name="adj1" fmla="val 50000"/>
              <a:gd name="adj2" fmla="val 115127"/>
            </a:avLst>
          </a:prstGeom>
          <a:solidFill>
            <a:schemeClr val="accent1">
              <a:lumMod val="60000"/>
              <a:lumOff val="40000"/>
              <a:alpha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20" name="Arrow: Right 19">
            <a:extLst>
              <a:ext uri="{FF2B5EF4-FFF2-40B4-BE49-F238E27FC236}">
                <a16:creationId xmlns:a16="http://schemas.microsoft.com/office/drawing/2014/main" id="{27736EA2-2918-81D9-0FC2-C78EC75DD49E}"/>
              </a:ext>
            </a:extLst>
          </p:cNvPr>
          <p:cNvSpPr/>
          <p:nvPr/>
        </p:nvSpPr>
        <p:spPr>
          <a:xfrm>
            <a:off x="4194782" y="2631164"/>
            <a:ext cx="184680" cy="1536192"/>
          </a:xfrm>
          <a:prstGeom prst="rightArrow">
            <a:avLst>
              <a:gd name="adj1" fmla="val 50000"/>
              <a:gd name="adj2" fmla="val 115127"/>
            </a:avLst>
          </a:prstGeom>
          <a:solidFill>
            <a:schemeClr val="accent1">
              <a:lumMod val="60000"/>
              <a:lumOff val="40000"/>
              <a:alpha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Tree>
    <p:extLst>
      <p:ext uri="{BB962C8B-B14F-4D97-AF65-F5344CB8AC3E}">
        <p14:creationId xmlns:p14="http://schemas.microsoft.com/office/powerpoint/2010/main" val="1788645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A23CCB-D000-015A-8AD4-77CA70E3898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228600"/>
            <a:ext cx="12192000" cy="8128000"/>
          </a:xfrm>
          <a:prstGeom prst="rect">
            <a:avLst/>
          </a:prstGeom>
        </p:spPr>
      </p:pic>
      <p:sp>
        <p:nvSpPr>
          <p:cNvPr id="3" name="Text Placeholder 2">
            <a:extLst>
              <a:ext uri="{FF2B5EF4-FFF2-40B4-BE49-F238E27FC236}">
                <a16:creationId xmlns:a16="http://schemas.microsoft.com/office/drawing/2014/main" id="{1B448739-8290-5A8C-18E6-09F394778C8C}"/>
              </a:ext>
            </a:extLst>
          </p:cNvPr>
          <p:cNvSpPr>
            <a:spLocks noGrp="1"/>
          </p:cNvSpPr>
          <p:nvPr>
            <p:ph type="body" sz="half" idx="10"/>
          </p:nvPr>
        </p:nvSpPr>
        <p:spPr/>
        <p:txBody>
          <a:bodyPr/>
          <a:lstStyle/>
          <a:p>
            <a:endParaRPr lang="en-US"/>
          </a:p>
        </p:txBody>
      </p:sp>
      <p:sp>
        <p:nvSpPr>
          <p:cNvPr id="11" name="Title 10">
            <a:extLst>
              <a:ext uri="{FF2B5EF4-FFF2-40B4-BE49-F238E27FC236}">
                <a16:creationId xmlns:a16="http://schemas.microsoft.com/office/drawing/2014/main" id="{5B3FAE49-4C94-BD58-399C-7A4AE3E62ACB}"/>
              </a:ext>
            </a:extLst>
          </p:cNvPr>
          <p:cNvSpPr>
            <a:spLocks noGrp="1"/>
          </p:cNvSpPr>
          <p:nvPr>
            <p:ph type="title"/>
          </p:nvPr>
        </p:nvSpPr>
        <p:spPr>
          <a:noFill/>
        </p:spPr>
        <p:txBody>
          <a:bodyPr/>
          <a:lstStyle/>
          <a:p>
            <a:r>
              <a:rPr lang="en-US" dirty="0">
                <a:solidFill>
                  <a:schemeClr val="bg2"/>
                </a:solidFill>
              </a:rPr>
              <a:t>Categorizing customers based on their roles and responsibilities </a:t>
            </a:r>
            <a:endParaRPr lang="en-SG" dirty="0">
              <a:solidFill>
                <a:schemeClr val="bg2"/>
              </a:solidFill>
            </a:endParaRPr>
          </a:p>
        </p:txBody>
      </p:sp>
      <p:sp>
        <p:nvSpPr>
          <p:cNvPr id="2" name="Text Placeholder 1">
            <a:extLst>
              <a:ext uri="{FF2B5EF4-FFF2-40B4-BE49-F238E27FC236}">
                <a16:creationId xmlns:a16="http://schemas.microsoft.com/office/drawing/2014/main" id="{B3A951CE-5847-8F0F-1980-7DB6B26D4961}"/>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26953104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FAFE74-CC28-8E05-54FC-7665D280127F}"/>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EDE82443-7669-F288-0FAF-F66C005D5926}"/>
              </a:ext>
            </a:extLst>
          </p:cNvPr>
          <p:cNvSpPr>
            <a:spLocks noGrp="1"/>
          </p:cNvSpPr>
          <p:nvPr>
            <p:ph type="title"/>
          </p:nvPr>
        </p:nvSpPr>
        <p:spPr/>
        <p:txBody>
          <a:bodyPr/>
          <a:lstStyle/>
          <a:p>
            <a:r>
              <a:rPr lang="sv-SE" dirty="0"/>
              <a:t>What is a persona, and why is it important?</a:t>
            </a:r>
            <a:endParaRPr lang="en-SG" dirty="0"/>
          </a:p>
        </p:txBody>
      </p:sp>
      <p:sp>
        <p:nvSpPr>
          <p:cNvPr id="3" name="Text Placeholder 2">
            <a:extLst>
              <a:ext uri="{FF2B5EF4-FFF2-40B4-BE49-F238E27FC236}">
                <a16:creationId xmlns:a16="http://schemas.microsoft.com/office/drawing/2014/main" id="{0CC2359F-3756-1665-932E-1338FABC458E}"/>
              </a:ext>
            </a:extLst>
          </p:cNvPr>
          <p:cNvSpPr>
            <a:spLocks noGrp="1"/>
          </p:cNvSpPr>
          <p:nvPr>
            <p:ph type="body" sz="half" idx="2"/>
          </p:nvPr>
        </p:nvSpPr>
        <p:spPr/>
        <p:txBody>
          <a:bodyPr/>
          <a:lstStyle/>
          <a:p>
            <a:endParaRPr lang="en-US"/>
          </a:p>
        </p:txBody>
      </p:sp>
      <p:pic>
        <p:nvPicPr>
          <p:cNvPr id="6" name="Picture 5">
            <a:extLst>
              <a:ext uri="{FF2B5EF4-FFF2-40B4-BE49-F238E27FC236}">
                <a16:creationId xmlns:a16="http://schemas.microsoft.com/office/drawing/2014/main" id="{6E0B7B10-53DE-7BB6-A310-5FC0948B4C6F}"/>
              </a:ext>
            </a:extLst>
          </p:cNvPr>
          <p:cNvPicPr>
            <a:picLocks noChangeAspect="1"/>
          </p:cNvPicPr>
          <p:nvPr/>
        </p:nvPicPr>
        <p:blipFill rotWithShape="1">
          <a:blip r:embed="rId2" cstate="screen">
            <a:duotone>
              <a:schemeClr val="accent2">
                <a:shade val="45000"/>
                <a:satMod val="135000"/>
              </a:schemeClr>
              <a:prstClr val="white"/>
            </a:duotone>
            <a:extLst>
              <a:ext uri="{BEBA8EAE-BF5A-486C-A8C5-ECC9F3942E4B}">
                <a14:imgProps xmlns:a14="http://schemas.microsoft.com/office/drawing/2010/main">
                  <a14:imgLayer r:embed="rId3">
                    <a14:imgEffect>
                      <a14:backgroundRemoval t="9194" b="90948" l="10000" r="90000">
                        <a14:foregroundMark x1="37927" y1="10325" x2="54878" y2="9194"/>
                        <a14:foregroundMark x1="54878" y1="9194" x2="58902" y2="11315"/>
                        <a14:foregroundMark x1="49024" y1="90948" x2="49024" y2="90948"/>
                      </a14:backgroundRemoval>
                    </a14:imgEffect>
                    <a14:imgEffect>
                      <a14:colorTemperature colorTemp="11500"/>
                    </a14:imgEffect>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l="18163" t="4209" r="18984" b="15874"/>
          <a:stretch/>
        </p:blipFill>
        <p:spPr>
          <a:xfrm>
            <a:off x="4250913" y="1556462"/>
            <a:ext cx="4405407" cy="4829511"/>
          </a:xfrm>
          <a:prstGeom prst="rect">
            <a:avLst/>
          </a:prstGeom>
        </p:spPr>
      </p:pic>
    </p:spTree>
    <p:extLst>
      <p:ext uri="{BB962C8B-B14F-4D97-AF65-F5344CB8AC3E}">
        <p14:creationId xmlns:p14="http://schemas.microsoft.com/office/powerpoint/2010/main" val="34402898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5CF245E0-99E6-31FD-C912-617BF06933E8}"/>
              </a:ext>
            </a:extLst>
          </p:cNvPr>
          <p:cNvGrpSpPr/>
          <p:nvPr/>
        </p:nvGrpSpPr>
        <p:grpSpPr>
          <a:xfrm>
            <a:off x="0" y="0"/>
            <a:ext cx="12192000" cy="7538565"/>
            <a:chOff x="820057" y="-1"/>
            <a:chExt cx="9144000" cy="5715001"/>
          </a:xfrm>
        </p:grpSpPr>
        <p:pic>
          <p:nvPicPr>
            <p:cNvPr id="8" name="Picture 7">
              <a:extLst>
                <a:ext uri="{FF2B5EF4-FFF2-40B4-BE49-F238E27FC236}">
                  <a16:creationId xmlns:a16="http://schemas.microsoft.com/office/drawing/2014/main" id="{D8674E6D-ADDC-6F69-6EC4-9A16C2AA80F2}"/>
                </a:ext>
              </a:extLst>
            </p:cNvPr>
            <p:cNvPicPr>
              <a:picLocks noChangeAspect="1"/>
            </p:cNvPicPr>
            <p:nvPr/>
          </p:nvPicPr>
          <p:blipFill rotWithShape="1">
            <a:blip r:embed="rId2" cstate="screen">
              <a:duotone>
                <a:prstClr val="black"/>
                <a:schemeClr val="tx2">
                  <a:tint val="45000"/>
                  <a:satMod val="400000"/>
                </a:schemeClr>
              </a:duotone>
              <a:extLst>
                <a:ext uri="{BEBA8EAE-BF5A-486C-A8C5-ECC9F3942E4B}">
                  <a14:imgProps xmlns:a14="http://schemas.microsoft.com/office/drawing/2010/main">
                    <a14:imgLayer r:embed="rId3">
                      <a14:imgEffect>
                        <a14:saturation sat="400000"/>
                      </a14:imgEffect>
                      <a14:imgEffect>
                        <a14:brightnessContrast bright="-40000" contrast="20000"/>
                      </a14:imgEffect>
                    </a14:imgLayer>
                  </a14:imgProps>
                </a:ext>
                <a:ext uri="{28A0092B-C50C-407E-A947-70E740481C1C}">
                  <a14:useLocalDpi xmlns:a14="http://schemas.microsoft.com/office/drawing/2010/main"/>
                </a:ext>
              </a:extLst>
            </a:blip>
            <a:srcRect/>
            <a:stretch/>
          </p:blipFill>
          <p:spPr>
            <a:xfrm>
              <a:off x="820057" y="-1"/>
              <a:ext cx="9144000" cy="5715001"/>
            </a:xfrm>
            <a:prstGeom prst="rect">
              <a:avLst/>
            </a:prstGeom>
          </p:spPr>
        </p:pic>
        <p:sp>
          <p:nvSpPr>
            <p:cNvPr id="9" name="Rectangle 8">
              <a:extLst>
                <a:ext uri="{FF2B5EF4-FFF2-40B4-BE49-F238E27FC236}">
                  <a16:creationId xmlns:a16="http://schemas.microsoft.com/office/drawing/2014/main" id="{759AB91A-44C6-6DBD-D25D-77A3BB617B01}"/>
                </a:ext>
              </a:extLst>
            </p:cNvPr>
            <p:cNvSpPr/>
            <p:nvPr/>
          </p:nvSpPr>
          <p:spPr>
            <a:xfrm>
              <a:off x="820057" y="-1"/>
              <a:ext cx="9144000" cy="5715000"/>
            </a:xfrm>
            <a:prstGeom prst="rect">
              <a:avLst/>
            </a:prstGeom>
            <a:solidFill>
              <a:schemeClr val="bg2">
                <a:lumMod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6" name="Text Placeholder 5">
            <a:extLst>
              <a:ext uri="{FF2B5EF4-FFF2-40B4-BE49-F238E27FC236}">
                <a16:creationId xmlns:a16="http://schemas.microsoft.com/office/drawing/2014/main" id="{8F4BEEC7-A5C5-0E18-2E13-07A4534ECABD}"/>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259A65CD-05C9-D9D6-2F32-AC235EF79509}"/>
              </a:ext>
            </a:extLst>
          </p:cNvPr>
          <p:cNvSpPr>
            <a:spLocks noGrp="1"/>
          </p:cNvSpPr>
          <p:nvPr>
            <p:ph type="title"/>
          </p:nvPr>
        </p:nvSpPr>
        <p:spPr>
          <a:prstGeom prst="rect">
            <a:avLst/>
          </a:prstGeom>
          <a:noFill/>
        </p:spPr>
        <p:txBody>
          <a:bodyPr anchor="ctr"/>
          <a:lstStyle/>
          <a:p>
            <a:r>
              <a:rPr lang="sv-SE" sz="3840" dirty="0">
                <a:solidFill>
                  <a:schemeClr val="bg2"/>
                </a:solidFill>
              </a:rPr>
              <a:t>User buyers need to understand the customer experience</a:t>
            </a:r>
            <a:endParaRPr lang="en-SG" sz="3840" dirty="0">
              <a:solidFill>
                <a:schemeClr val="bg2"/>
              </a:solidFill>
            </a:endParaRPr>
          </a:p>
        </p:txBody>
      </p:sp>
      <p:sp>
        <p:nvSpPr>
          <p:cNvPr id="5" name="Text Placeholder 4">
            <a:extLst>
              <a:ext uri="{FF2B5EF4-FFF2-40B4-BE49-F238E27FC236}">
                <a16:creationId xmlns:a16="http://schemas.microsoft.com/office/drawing/2014/main" id="{C64DA295-F5A4-F312-5089-EA813501E995}"/>
              </a:ext>
            </a:extLst>
          </p:cNvPr>
          <p:cNvSpPr>
            <a:spLocks noGrp="1"/>
          </p:cNvSpPr>
          <p:nvPr>
            <p:ph type="body" sz="half" idx="2"/>
          </p:nvPr>
        </p:nvSpPr>
        <p:spPr/>
        <p:txBody>
          <a:bodyPr/>
          <a:lstStyle/>
          <a:p>
            <a:endParaRPr lang="en-US"/>
          </a:p>
        </p:txBody>
      </p:sp>
      <p:sp>
        <p:nvSpPr>
          <p:cNvPr id="4" name="Rectangle 3">
            <a:extLst>
              <a:ext uri="{FF2B5EF4-FFF2-40B4-BE49-F238E27FC236}">
                <a16:creationId xmlns:a16="http://schemas.microsoft.com/office/drawing/2014/main" id="{F8554403-B425-554E-1A99-1A799CF8721D}"/>
              </a:ext>
            </a:extLst>
          </p:cNvPr>
          <p:cNvSpPr/>
          <p:nvPr/>
        </p:nvSpPr>
        <p:spPr>
          <a:xfrm>
            <a:off x="1357846" y="2702312"/>
            <a:ext cx="5439194" cy="2570729"/>
          </a:xfrm>
          <a:prstGeom prst="rect">
            <a:avLst/>
          </a:prstGeom>
          <a:solidFill>
            <a:schemeClr val="bg2">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 name="TextBox 2">
            <a:extLst>
              <a:ext uri="{FF2B5EF4-FFF2-40B4-BE49-F238E27FC236}">
                <a16:creationId xmlns:a16="http://schemas.microsoft.com/office/drawing/2014/main" id="{4A908669-8460-8C91-F3B8-30CA9FFD05C6}"/>
              </a:ext>
            </a:extLst>
          </p:cNvPr>
          <p:cNvSpPr txBox="1"/>
          <p:nvPr/>
        </p:nvSpPr>
        <p:spPr>
          <a:xfrm>
            <a:off x="1555968" y="2927341"/>
            <a:ext cx="4634864" cy="2456057"/>
          </a:xfrm>
          <a:prstGeom prst="rect">
            <a:avLst/>
          </a:prstGeom>
          <a:noFill/>
        </p:spPr>
        <p:txBody>
          <a:bodyPr wrap="square" rtlCol="0">
            <a:spAutoFit/>
          </a:bodyPr>
          <a:lstStyle/>
          <a:p>
            <a:pPr marL="342900" indent="-342900" eaLnBrk="1" fontAlgn="auto" hangingPunct="1">
              <a:spcBef>
                <a:spcPts val="0"/>
              </a:spcBef>
              <a:spcAft>
                <a:spcPts val="0"/>
              </a:spcAft>
              <a:buFont typeface="Arial" panose="020B0604020202020204" pitchFamily="34" charset="0"/>
              <a:buChar char="•"/>
            </a:pPr>
            <a:r>
              <a:rPr lang="sv-SE" sz="1920" dirty="0">
                <a:solidFill>
                  <a:schemeClr val="bg1"/>
                </a:solidFill>
                <a:latin typeface="+mn-lt"/>
              </a:rPr>
              <a:t>Care about how it will help them</a:t>
            </a:r>
            <a:br>
              <a:rPr lang="sv-SE" sz="1920" dirty="0">
                <a:solidFill>
                  <a:schemeClr val="bg1"/>
                </a:solidFill>
                <a:latin typeface="+mn-lt"/>
              </a:rPr>
            </a:br>
            <a:endParaRPr lang="sv-SE" sz="1920" dirty="0">
              <a:solidFill>
                <a:schemeClr val="bg1"/>
              </a:solidFill>
              <a:latin typeface="+mn-lt"/>
            </a:endParaRPr>
          </a:p>
          <a:p>
            <a:pPr marL="342900" indent="-342900" eaLnBrk="1" fontAlgn="auto" hangingPunct="1">
              <a:spcBef>
                <a:spcPts val="0"/>
              </a:spcBef>
              <a:spcAft>
                <a:spcPts val="0"/>
              </a:spcAft>
              <a:buFont typeface="Arial" panose="020B0604020202020204" pitchFamily="34" charset="0"/>
              <a:buChar char="•"/>
            </a:pPr>
            <a:r>
              <a:rPr lang="sv-SE" sz="1920" dirty="0">
                <a:solidFill>
                  <a:schemeClr val="bg1"/>
                </a:solidFill>
                <a:latin typeface="+mn-lt"/>
              </a:rPr>
              <a:t>Let them see, touch, feel, experience the product. </a:t>
            </a:r>
          </a:p>
          <a:p>
            <a:pPr marL="342900" indent="-342900" eaLnBrk="1" fontAlgn="auto" hangingPunct="1">
              <a:spcBef>
                <a:spcPts val="0"/>
              </a:spcBef>
              <a:spcAft>
                <a:spcPts val="0"/>
              </a:spcAft>
              <a:buFont typeface="Arial" panose="020B0604020202020204" pitchFamily="34" charset="0"/>
              <a:buChar char="•"/>
            </a:pPr>
            <a:r>
              <a:rPr lang="sv-SE" sz="1920" dirty="0">
                <a:solidFill>
                  <a:schemeClr val="bg1"/>
                </a:solidFill>
                <a:latin typeface="+mn-lt"/>
              </a:rPr>
              <a:t>Prepare free trial, demo, show the software etc. </a:t>
            </a:r>
          </a:p>
          <a:p>
            <a:pPr eaLnBrk="1" fontAlgn="auto" hangingPunct="1">
              <a:spcBef>
                <a:spcPts val="0"/>
              </a:spcBef>
              <a:spcAft>
                <a:spcPts val="0"/>
              </a:spcAft>
            </a:pPr>
            <a:r>
              <a:rPr lang="sv-SE" sz="1920" dirty="0">
                <a:solidFill>
                  <a:schemeClr val="bg1"/>
                </a:solidFill>
                <a:latin typeface="+mn-lt"/>
              </a:rPr>
              <a:t>(Commonly Validation engineer)</a:t>
            </a:r>
          </a:p>
          <a:p>
            <a:pPr eaLnBrk="1" fontAlgn="auto" hangingPunct="1">
              <a:spcBef>
                <a:spcPts val="0"/>
              </a:spcBef>
              <a:spcAft>
                <a:spcPts val="0"/>
              </a:spcAft>
            </a:pPr>
            <a:endParaRPr lang="en-SG" sz="1920" dirty="0">
              <a:solidFill>
                <a:schemeClr val="bg1"/>
              </a:solidFill>
              <a:latin typeface="+mn-lt"/>
            </a:endParaRPr>
          </a:p>
        </p:txBody>
      </p:sp>
    </p:spTree>
    <p:extLst>
      <p:ext uri="{BB962C8B-B14F-4D97-AF65-F5344CB8AC3E}">
        <p14:creationId xmlns:p14="http://schemas.microsoft.com/office/powerpoint/2010/main" val="23569226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1C69E3E-83CE-B87A-DEA3-94E2E13C25C3}"/>
              </a:ext>
            </a:extLst>
          </p:cNvPr>
          <p:cNvGrpSpPr/>
          <p:nvPr/>
        </p:nvGrpSpPr>
        <p:grpSpPr>
          <a:xfrm>
            <a:off x="0" y="0"/>
            <a:ext cx="10972800" cy="6858000"/>
            <a:chOff x="300037" y="0"/>
            <a:chExt cx="9144000" cy="5715000"/>
          </a:xfrm>
        </p:grpSpPr>
        <p:pic>
          <p:nvPicPr>
            <p:cNvPr id="4" name="Picture 3">
              <a:extLst>
                <a:ext uri="{FF2B5EF4-FFF2-40B4-BE49-F238E27FC236}">
                  <a16:creationId xmlns:a16="http://schemas.microsoft.com/office/drawing/2014/main" id="{33E72FCB-7360-A8B0-A733-8CC7B142A6D0}"/>
                </a:ext>
              </a:extLst>
            </p:cNvPr>
            <p:cNvPicPr>
              <a:picLocks noChangeAspect="1"/>
            </p:cNvPicPr>
            <p:nvPr/>
          </p:nvPicPr>
          <p:blipFill rotWithShape="1">
            <a:blip r:embed="rId2" cstate="screen">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300037" y="0"/>
              <a:ext cx="9144000" cy="5715000"/>
            </a:xfrm>
            <a:prstGeom prst="rect">
              <a:avLst/>
            </a:prstGeom>
          </p:spPr>
        </p:pic>
        <p:sp>
          <p:nvSpPr>
            <p:cNvPr id="5" name="Rectangle 4">
              <a:extLst>
                <a:ext uri="{FF2B5EF4-FFF2-40B4-BE49-F238E27FC236}">
                  <a16:creationId xmlns:a16="http://schemas.microsoft.com/office/drawing/2014/main" id="{52FBAC48-4AC3-A981-F377-3453B3CFDDDB}"/>
                </a:ext>
              </a:extLst>
            </p:cNvPr>
            <p:cNvSpPr/>
            <p:nvPr/>
          </p:nvSpPr>
          <p:spPr>
            <a:xfrm>
              <a:off x="300037" y="0"/>
              <a:ext cx="9144000" cy="5715000"/>
            </a:xfrm>
            <a:prstGeom prst="rect">
              <a:avLst/>
            </a:prstGeom>
            <a:solidFill>
              <a:srgbClr val="1F689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9" name="Text Placeholder 8">
            <a:extLst>
              <a:ext uri="{FF2B5EF4-FFF2-40B4-BE49-F238E27FC236}">
                <a16:creationId xmlns:a16="http://schemas.microsoft.com/office/drawing/2014/main" id="{EC9AAA46-AB2C-39FC-DDDA-D004EF27225D}"/>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259A65CD-05C9-D9D6-2F32-AC235EF79509}"/>
              </a:ext>
            </a:extLst>
          </p:cNvPr>
          <p:cNvSpPr>
            <a:spLocks noGrp="1"/>
          </p:cNvSpPr>
          <p:nvPr>
            <p:ph type="title"/>
          </p:nvPr>
        </p:nvSpPr>
        <p:spPr>
          <a:prstGeom prst="rect">
            <a:avLst/>
          </a:prstGeom>
          <a:noFill/>
        </p:spPr>
        <p:txBody>
          <a:bodyPr anchor="ctr"/>
          <a:lstStyle/>
          <a:p>
            <a:r>
              <a:rPr lang="en-SG" sz="3840" dirty="0">
                <a:solidFill>
                  <a:schemeClr val="bg2"/>
                </a:solidFill>
              </a:rPr>
              <a:t>Technical buyers want to buy – not be sold</a:t>
            </a:r>
          </a:p>
        </p:txBody>
      </p:sp>
      <p:sp>
        <p:nvSpPr>
          <p:cNvPr id="8" name="Text Placeholder 7">
            <a:extLst>
              <a:ext uri="{FF2B5EF4-FFF2-40B4-BE49-F238E27FC236}">
                <a16:creationId xmlns:a16="http://schemas.microsoft.com/office/drawing/2014/main" id="{2BA5B9C2-AFB3-D2D1-0AB9-8886D49D25FF}"/>
              </a:ext>
            </a:extLst>
          </p:cNvPr>
          <p:cNvSpPr>
            <a:spLocks noGrp="1"/>
          </p:cNvSpPr>
          <p:nvPr>
            <p:ph type="body" sz="half" idx="2"/>
          </p:nvPr>
        </p:nvSpPr>
        <p:spPr/>
        <p:txBody>
          <a:bodyPr/>
          <a:lstStyle/>
          <a:p>
            <a:endParaRPr lang="en-US"/>
          </a:p>
        </p:txBody>
      </p:sp>
      <p:sp>
        <p:nvSpPr>
          <p:cNvPr id="7" name="Rectangle 6">
            <a:extLst>
              <a:ext uri="{FF2B5EF4-FFF2-40B4-BE49-F238E27FC236}">
                <a16:creationId xmlns:a16="http://schemas.microsoft.com/office/drawing/2014/main" id="{FB56BF11-72B2-60C9-1B07-8328AD907F72}"/>
              </a:ext>
            </a:extLst>
          </p:cNvPr>
          <p:cNvSpPr/>
          <p:nvPr/>
        </p:nvSpPr>
        <p:spPr>
          <a:xfrm>
            <a:off x="4389121" y="2255520"/>
            <a:ext cx="6501766" cy="3429000"/>
          </a:xfrm>
          <a:prstGeom prst="rect">
            <a:avLst/>
          </a:prstGeom>
          <a:solidFill>
            <a:srgbClr val="1F6898">
              <a:alpha val="80000"/>
            </a:srgb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 name="TextBox 2">
            <a:extLst>
              <a:ext uri="{FF2B5EF4-FFF2-40B4-BE49-F238E27FC236}">
                <a16:creationId xmlns:a16="http://schemas.microsoft.com/office/drawing/2014/main" id="{4A908669-8460-8C91-F3B8-30CA9FFD05C6}"/>
              </a:ext>
            </a:extLst>
          </p:cNvPr>
          <p:cNvSpPr txBox="1"/>
          <p:nvPr/>
        </p:nvSpPr>
        <p:spPr>
          <a:xfrm>
            <a:off x="4686301" y="2585025"/>
            <a:ext cx="5907406" cy="3046988"/>
          </a:xfrm>
          <a:prstGeom prst="rect">
            <a:avLst/>
          </a:prstGeom>
          <a:noFill/>
        </p:spPr>
        <p:txBody>
          <a:bodyPr wrap="square" rtlCol="0">
            <a:spAutoFit/>
          </a:bodyPr>
          <a:lstStyle/>
          <a:p>
            <a:pPr marL="342900" indent="-342900" eaLnBrk="1" fontAlgn="auto" hangingPunct="1">
              <a:spcBef>
                <a:spcPts val="0"/>
              </a:spcBef>
              <a:spcAft>
                <a:spcPts val="0"/>
              </a:spcAft>
              <a:buFont typeface="Arial" panose="020B0604020202020204" pitchFamily="34" charset="0"/>
              <a:buChar char="•"/>
            </a:pPr>
            <a:r>
              <a:rPr lang="en-SG" sz="1920" dirty="0">
                <a:solidFill>
                  <a:schemeClr val="bg1"/>
                </a:solidFill>
                <a:latin typeface="+mn-lt"/>
              </a:rPr>
              <a:t>They are analytical, risk averse and can seem introvert </a:t>
            </a:r>
          </a:p>
          <a:p>
            <a:pPr marL="342900" indent="-342900" eaLnBrk="1" fontAlgn="auto" hangingPunct="1">
              <a:spcBef>
                <a:spcPts val="0"/>
              </a:spcBef>
              <a:spcAft>
                <a:spcPts val="0"/>
              </a:spcAft>
              <a:buFont typeface="Arial" panose="020B0604020202020204" pitchFamily="34" charset="0"/>
              <a:buChar char="•"/>
            </a:pPr>
            <a:r>
              <a:rPr lang="en-SG" sz="1920" dirty="0">
                <a:solidFill>
                  <a:schemeClr val="bg1"/>
                </a:solidFill>
                <a:latin typeface="+mn-lt"/>
              </a:rPr>
              <a:t>They often have the right to say no to a solution, but not yes</a:t>
            </a:r>
            <a:br>
              <a:rPr lang="en-SG" sz="1920" dirty="0">
                <a:solidFill>
                  <a:schemeClr val="bg1"/>
                </a:solidFill>
                <a:latin typeface="+mn-lt"/>
              </a:rPr>
            </a:br>
            <a:endParaRPr lang="en-SG" sz="1920" dirty="0">
              <a:solidFill>
                <a:schemeClr val="bg1"/>
              </a:solidFill>
              <a:latin typeface="+mn-lt"/>
            </a:endParaRPr>
          </a:p>
          <a:p>
            <a:pPr marL="342900" indent="-342900" eaLnBrk="1" fontAlgn="auto" hangingPunct="1">
              <a:spcBef>
                <a:spcPts val="0"/>
              </a:spcBef>
              <a:spcAft>
                <a:spcPts val="0"/>
              </a:spcAft>
              <a:buFont typeface="Arial" panose="020B0604020202020204" pitchFamily="34" charset="0"/>
              <a:buChar char="•"/>
            </a:pPr>
            <a:r>
              <a:rPr lang="en-SG" sz="1920" dirty="0">
                <a:solidFill>
                  <a:schemeClr val="bg1"/>
                </a:solidFill>
                <a:latin typeface="+mn-lt"/>
              </a:rPr>
              <a:t>Do your homework</a:t>
            </a:r>
          </a:p>
          <a:p>
            <a:pPr marL="342900" indent="-342900" eaLnBrk="1" fontAlgn="auto" hangingPunct="1">
              <a:spcBef>
                <a:spcPts val="0"/>
              </a:spcBef>
              <a:spcAft>
                <a:spcPts val="0"/>
              </a:spcAft>
              <a:buFont typeface="Arial" panose="020B0604020202020204" pitchFamily="34" charset="0"/>
              <a:buChar char="•"/>
            </a:pPr>
            <a:r>
              <a:rPr lang="en-SG" sz="1920" dirty="0">
                <a:solidFill>
                  <a:schemeClr val="bg1"/>
                </a:solidFill>
                <a:latin typeface="+mn-lt"/>
              </a:rPr>
              <a:t>Prepare proof</a:t>
            </a:r>
          </a:p>
          <a:p>
            <a:pPr marL="342900" indent="-342900" eaLnBrk="1" fontAlgn="auto" hangingPunct="1">
              <a:spcBef>
                <a:spcPts val="0"/>
              </a:spcBef>
              <a:spcAft>
                <a:spcPts val="0"/>
              </a:spcAft>
              <a:buFont typeface="Arial" panose="020B0604020202020204" pitchFamily="34" charset="0"/>
              <a:buChar char="•"/>
            </a:pPr>
            <a:r>
              <a:rPr lang="en-SG" sz="1920" dirty="0">
                <a:solidFill>
                  <a:schemeClr val="bg1"/>
                </a:solidFill>
                <a:latin typeface="+mn-lt"/>
              </a:rPr>
              <a:t>Let them come to the conclusion it’s a good buy</a:t>
            </a:r>
          </a:p>
          <a:p>
            <a:pPr eaLnBrk="1" fontAlgn="auto" hangingPunct="1">
              <a:spcBef>
                <a:spcPts val="0"/>
              </a:spcBef>
              <a:spcAft>
                <a:spcPts val="0"/>
              </a:spcAft>
            </a:pPr>
            <a:r>
              <a:rPr lang="en-SG" sz="1920" dirty="0">
                <a:solidFill>
                  <a:schemeClr val="bg1"/>
                </a:solidFill>
                <a:latin typeface="+mn-lt"/>
              </a:rPr>
              <a:t>(commonly RA or QA)</a:t>
            </a:r>
          </a:p>
        </p:txBody>
      </p:sp>
    </p:spTree>
    <p:extLst>
      <p:ext uri="{BB962C8B-B14F-4D97-AF65-F5344CB8AC3E}">
        <p14:creationId xmlns:p14="http://schemas.microsoft.com/office/powerpoint/2010/main" val="1204816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9A9EB45-B45F-4566-E808-10165B9A2677}"/>
              </a:ext>
            </a:extLst>
          </p:cNvPr>
          <p:cNvGrpSpPr/>
          <p:nvPr/>
        </p:nvGrpSpPr>
        <p:grpSpPr>
          <a:xfrm>
            <a:off x="-53514" y="0"/>
            <a:ext cx="10972800" cy="6858000"/>
            <a:chOff x="696685" y="0"/>
            <a:chExt cx="9144000" cy="5715000"/>
          </a:xfrm>
        </p:grpSpPr>
        <p:pic>
          <p:nvPicPr>
            <p:cNvPr id="8" name="Picture 7">
              <a:extLst>
                <a:ext uri="{FF2B5EF4-FFF2-40B4-BE49-F238E27FC236}">
                  <a16:creationId xmlns:a16="http://schemas.microsoft.com/office/drawing/2014/main" id="{D8674E6D-ADDC-6F69-6EC4-9A16C2AA80F2}"/>
                </a:ext>
              </a:extLst>
            </p:cNvPr>
            <p:cNvPicPr>
              <a:picLocks noChangeAspect="1"/>
            </p:cNvPicPr>
            <p:nvPr/>
          </p:nvPicPr>
          <p:blipFill rotWithShape="1">
            <a:blip r:embed="rId3" cstate="screen">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rcRect/>
            <a:stretch/>
          </p:blipFill>
          <p:spPr>
            <a:xfrm>
              <a:off x="696685" y="0"/>
              <a:ext cx="9144000" cy="5715000"/>
            </a:xfrm>
            <a:prstGeom prst="rect">
              <a:avLst/>
            </a:prstGeom>
          </p:spPr>
        </p:pic>
        <p:sp>
          <p:nvSpPr>
            <p:cNvPr id="4" name="Rectangle 3">
              <a:extLst>
                <a:ext uri="{FF2B5EF4-FFF2-40B4-BE49-F238E27FC236}">
                  <a16:creationId xmlns:a16="http://schemas.microsoft.com/office/drawing/2014/main" id="{4888151B-5098-144E-3AB1-9DC86C213E2C}"/>
                </a:ext>
              </a:extLst>
            </p:cNvPr>
            <p:cNvSpPr/>
            <p:nvPr/>
          </p:nvSpPr>
          <p:spPr>
            <a:xfrm>
              <a:off x="696685" y="0"/>
              <a:ext cx="9144000" cy="5715000"/>
            </a:xfrm>
            <a:prstGeom prst="rect">
              <a:avLst/>
            </a:prstGeom>
            <a:solidFill>
              <a:schemeClr val="accent6">
                <a:lumMod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9" name="Text Placeholder 8">
            <a:extLst>
              <a:ext uri="{FF2B5EF4-FFF2-40B4-BE49-F238E27FC236}">
                <a16:creationId xmlns:a16="http://schemas.microsoft.com/office/drawing/2014/main" id="{1EAC6AF0-777F-3C40-CA8F-4AD125E330DE}"/>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259A65CD-05C9-D9D6-2F32-AC235EF79509}"/>
              </a:ext>
            </a:extLst>
          </p:cNvPr>
          <p:cNvSpPr>
            <a:spLocks noGrp="1"/>
          </p:cNvSpPr>
          <p:nvPr>
            <p:ph type="title"/>
          </p:nvPr>
        </p:nvSpPr>
        <p:spPr>
          <a:prstGeom prst="rect">
            <a:avLst/>
          </a:prstGeom>
          <a:noFill/>
        </p:spPr>
        <p:txBody>
          <a:bodyPr anchor="ctr"/>
          <a:lstStyle/>
          <a:p>
            <a:r>
              <a:rPr lang="sv-SE" sz="3840" dirty="0">
                <a:solidFill>
                  <a:schemeClr val="bg2"/>
                </a:solidFill>
              </a:rPr>
              <a:t>Financial buyers want to make the smart financial decision</a:t>
            </a:r>
            <a:endParaRPr lang="en-SG" sz="3840" dirty="0">
              <a:solidFill>
                <a:schemeClr val="bg2"/>
              </a:solidFill>
            </a:endParaRPr>
          </a:p>
        </p:txBody>
      </p:sp>
      <p:sp>
        <p:nvSpPr>
          <p:cNvPr id="7" name="Text Placeholder 6">
            <a:extLst>
              <a:ext uri="{FF2B5EF4-FFF2-40B4-BE49-F238E27FC236}">
                <a16:creationId xmlns:a16="http://schemas.microsoft.com/office/drawing/2014/main" id="{EAD78EEB-2AE3-7C70-D470-290C31155838}"/>
              </a:ext>
            </a:extLst>
          </p:cNvPr>
          <p:cNvSpPr>
            <a:spLocks noGrp="1"/>
          </p:cNvSpPr>
          <p:nvPr>
            <p:ph type="body" sz="half" idx="2"/>
          </p:nvPr>
        </p:nvSpPr>
        <p:spPr/>
        <p:txBody>
          <a:bodyPr/>
          <a:lstStyle/>
          <a:p>
            <a:endParaRPr lang="en-US"/>
          </a:p>
        </p:txBody>
      </p:sp>
      <p:sp>
        <p:nvSpPr>
          <p:cNvPr id="6" name="Rectangle 5">
            <a:extLst>
              <a:ext uri="{FF2B5EF4-FFF2-40B4-BE49-F238E27FC236}">
                <a16:creationId xmlns:a16="http://schemas.microsoft.com/office/drawing/2014/main" id="{1B3010B9-34EC-4CF0-79D8-13452CF139F0}"/>
              </a:ext>
            </a:extLst>
          </p:cNvPr>
          <p:cNvSpPr/>
          <p:nvPr/>
        </p:nvSpPr>
        <p:spPr>
          <a:xfrm>
            <a:off x="5072318" y="2225040"/>
            <a:ext cx="5946202" cy="2676144"/>
          </a:xfrm>
          <a:prstGeom prst="rect">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 name="TextBox 2">
            <a:extLst>
              <a:ext uri="{FF2B5EF4-FFF2-40B4-BE49-F238E27FC236}">
                <a16:creationId xmlns:a16="http://schemas.microsoft.com/office/drawing/2014/main" id="{4A908669-8460-8C91-F3B8-30CA9FFD05C6}"/>
              </a:ext>
            </a:extLst>
          </p:cNvPr>
          <p:cNvSpPr txBox="1"/>
          <p:nvPr/>
        </p:nvSpPr>
        <p:spPr>
          <a:xfrm>
            <a:off x="5282577" y="2473584"/>
            <a:ext cx="5553064" cy="2160591"/>
          </a:xfrm>
          <a:prstGeom prst="rect">
            <a:avLst/>
          </a:prstGeom>
          <a:noFill/>
        </p:spPr>
        <p:txBody>
          <a:bodyPr wrap="square" rtlCol="0">
            <a:spAutoFit/>
          </a:bodyPr>
          <a:lstStyle/>
          <a:p>
            <a:pPr marL="342900" indent="-342900" eaLnBrk="1" fontAlgn="auto" hangingPunct="1">
              <a:spcBef>
                <a:spcPts val="0"/>
              </a:spcBef>
              <a:spcAft>
                <a:spcPts val="0"/>
              </a:spcAft>
              <a:buFont typeface="Arial" panose="020B0604020202020204" pitchFamily="34" charset="0"/>
              <a:buChar char="•"/>
            </a:pPr>
            <a:r>
              <a:rPr lang="sv-SE" sz="1920" dirty="0">
                <a:solidFill>
                  <a:schemeClr val="bg1"/>
                </a:solidFill>
                <a:latin typeface="+mn-lt"/>
              </a:rPr>
              <a:t>Will it increase revenue or reduce cost? </a:t>
            </a:r>
          </a:p>
          <a:p>
            <a:pPr marL="342900" indent="-342900" eaLnBrk="1" fontAlgn="auto" hangingPunct="1">
              <a:spcBef>
                <a:spcPts val="0"/>
              </a:spcBef>
              <a:spcAft>
                <a:spcPts val="0"/>
              </a:spcAft>
              <a:buFont typeface="Arial" panose="020B0604020202020204" pitchFamily="34" charset="0"/>
              <a:buChar char="•"/>
            </a:pPr>
            <a:endParaRPr lang="sv-SE" sz="1920" dirty="0">
              <a:solidFill>
                <a:schemeClr val="bg1"/>
              </a:solidFill>
              <a:latin typeface="+mn-lt"/>
            </a:endParaRPr>
          </a:p>
          <a:p>
            <a:pPr marL="342900" indent="-342900" eaLnBrk="1" fontAlgn="auto" hangingPunct="1">
              <a:spcBef>
                <a:spcPts val="0"/>
              </a:spcBef>
              <a:spcAft>
                <a:spcPts val="0"/>
              </a:spcAft>
              <a:buFont typeface="Arial" panose="020B0604020202020204" pitchFamily="34" charset="0"/>
              <a:buChar char="•"/>
            </a:pPr>
            <a:r>
              <a:rPr lang="sv-SE" sz="1920" dirty="0">
                <a:solidFill>
                  <a:schemeClr val="bg1"/>
                </a:solidFill>
                <a:latin typeface="+mn-lt"/>
              </a:rPr>
              <a:t>Prepare case studies, financial models and referrals</a:t>
            </a:r>
          </a:p>
          <a:p>
            <a:pPr marL="342900" indent="-342900" eaLnBrk="1" fontAlgn="auto" hangingPunct="1">
              <a:spcBef>
                <a:spcPts val="0"/>
              </a:spcBef>
              <a:spcAft>
                <a:spcPts val="0"/>
              </a:spcAft>
              <a:buFont typeface="Arial" panose="020B0604020202020204" pitchFamily="34" charset="0"/>
              <a:buChar char="•"/>
            </a:pPr>
            <a:r>
              <a:rPr lang="sv-SE" sz="1920" dirty="0">
                <a:solidFill>
                  <a:schemeClr val="bg1"/>
                </a:solidFill>
                <a:latin typeface="+mn-lt"/>
              </a:rPr>
              <a:t>Help the financial buyer understand and be involved</a:t>
            </a:r>
          </a:p>
          <a:p>
            <a:pPr eaLnBrk="1" fontAlgn="auto" hangingPunct="1">
              <a:spcBef>
                <a:spcPts val="0"/>
              </a:spcBef>
              <a:spcAft>
                <a:spcPts val="0"/>
              </a:spcAft>
            </a:pPr>
            <a:r>
              <a:rPr lang="sv-SE" sz="1920" dirty="0">
                <a:solidFill>
                  <a:schemeClr val="bg1"/>
                </a:solidFill>
                <a:latin typeface="+mn-lt"/>
              </a:rPr>
              <a:t>(commonly procurement, finance)  </a:t>
            </a:r>
            <a:endParaRPr lang="en-SG" sz="1920" dirty="0">
              <a:solidFill>
                <a:schemeClr val="bg1"/>
              </a:solidFill>
              <a:latin typeface="+mn-lt"/>
            </a:endParaRPr>
          </a:p>
        </p:txBody>
      </p:sp>
    </p:spTree>
    <p:extLst>
      <p:ext uri="{BB962C8B-B14F-4D97-AF65-F5344CB8AC3E}">
        <p14:creationId xmlns:p14="http://schemas.microsoft.com/office/powerpoint/2010/main" val="16701697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F1CF27A-58A8-F7E7-5C6B-CE01AF9FBCC4}"/>
              </a:ext>
            </a:extLst>
          </p:cNvPr>
          <p:cNvSpPr>
            <a:spLocks noGrp="1"/>
          </p:cNvSpPr>
          <p:nvPr>
            <p:ph type="title"/>
          </p:nvPr>
        </p:nvSpPr>
        <p:spPr/>
        <p:txBody>
          <a:bodyPr/>
          <a:lstStyle/>
          <a:p>
            <a:r>
              <a:rPr lang="en-GB" dirty="0"/>
              <a:t>Aim of the training</a:t>
            </a:r>
            <a:endParaRPr lang="en-DK" dirty="0"/>
          </a:p>
        </p:txBody>
      </p:sp>
      <p:sp>
        <p:nvSpPr>
          <p:cNvPr id="8" name="Text Placeholder 7">
            <a:extLst>
              <a:ext uri="{FF2B5EF4-FFF2-40B4-BE49-F238E27FC236}">
                <a16:creationId xmlns:a16="http://schemas.microsoft.com/office/drawing/2014/main" id="{D57B11BF-4DC1-1A37-D71B-FBF887FC4157}"/>
              </a:ext>
            </a:extLst>
          </p:cNvPr>
          <p:cNvSpPr>
            <a:spLocks noGrp="1"/>
          </p:cNvSpPr>
          <p:nvPr>
            <p:ph type="body" sz="half" idx="10"/>
          </p:nvPr>
        </p:nvSpPr>
        <p:spPr>
          <a:xfrm>
            <a:off x="371475" y="2452557"/>
            <a:ext cx="5724525" cy="4065215"/>
          </a:xfrm>
        </p:spPr>
        <p:txBody>
          <a:bodyPr/>
          <a:lstStyle/>
          <a:p>
            <a:pPr marL="411480" indent="-411480">
              <a:buAutoNum type="arabicParenR"/>
            </a:pPr>
            <a:r>
              <a:rPr lang="en-GB" b="1" dirty="0"/>
              <a:t>Become familiar with the main Ellab products</a:t>
            </a:r>
          </a:p>
          <a:p>
            <a:pPr marL="567536" lvl="1" indent="-411480">
              <a:buClr>
                <a:schemeClr val="bg1"/>
              </a:buClr>
              <a:buFont typeface="Arial" panose="020B0604020202020204" pitchFamily="34" charset="0"/>
              <a:buChar char="•"/>
            </a:pPr>
            <a:r>
              <a:rPr lang="en-GB" dirty="0"/>
              <a:t>What are they?</a:t>
            </a:r>
          </a:p>
          <a:p>
            <a:pPr marL="567536" lvl="1" indent="-411480">
              <a:buClr>
                <a:schemeClr val="bg1"/>
              </a:buClr>
              <a:buFont typeface="Arial" panose="020B0604020202020204" pitchFamily="34" charset="0"/>
              <a:buChar char="•"/>
            </a:pPr>
            <a:r>
              <a:rPr lang="en-GB" dirty="0"/>
              <a:t>How to use them?</a:t>
            </a:r>
          </a:p>
          <a:p>
            <a:pPr marL="567536" lvl="1" indent="-411480">
              <a:buClr>
                <a:schemeClr val="bg1"/>
              </a:buClr>
              <a:buFont typeface="Arial" panose="020B0604020202020204" pitchFamily="34" charset="0"/>
              <a:buChar char="•"/>
            </a:pPr>
            <a:r>
              <a:rPr lang="en-GB" dirty="0"/>
              <a:t>How to quote?</a:t>
            </a:r>
          </a:p>
          <a:p>
            <a:pPr marL="411480" indent="-411480">
              <a:buClr>
                <a:schemeClr val="bg1"/>
              </a:buClr>
              <a:buAutoNum type="arabicParenR"/>
            </a:pPr>
            <a:endParaRPr lang="en-GB" dirty="0"/>
          </a:p>
          <a:p>
            <a:pPr marL="411480" indent="-411480">
              <a:buAutoNum type="arabicParenR"/>
            </a:pPr>
            <a:r>
              <a:rPr lang="en-GB" b="1" dirty="0"/>
              <a:t>Get inspired on how to sell Ellab solutions</a:t>
            </a:r>
          </a:p>
          <a:p>
            <a:pPr marL="567536" lvl="1" indent="-411480">
              <a:buClr>
                <a:schemeClr val="bg1"/>
              </a:buClr>
              <a:buFont typeface="Arial" panose="020B0604020202020204" pitchFamily="34" charset="0"/>
              <a:buChar char="•"/>
            </a:pPr>
            <a:r>
              <a:rPr lang="en-GB" dirty="0"/>
              <a:t>Overall process and timelines</a:t>
            </a:r>
          </a:p>
          <a:p>
            <a:pPr marL="567536" lvl="1" indent="-411480">
              <a:buClr>
                <a:schemeClr val="bg1"/>
              </a:buClr>
              <a:buFont typeface="Arial" panose="020B0604020202020204" pitchFamily="34" charset="0"/>
              <a:buChar char="•"/>
            </a:pPr>
            <a:r>
              <a:rPr lang="en-GB" dirty="0"/>
              <a:t>How to explore customer needs?</a:t>
            </a:r>
          </a:p>
          <a:p>
            <a:pPr marL="567536" lvl="1" indent="-411480">
              <a:buClr>
                <a:schemeClr val="bg1"/>
              </a:buClr>
              <a:buFont typeface="Arial" panose="020B0604020202020204" pitchFamily="34" charset="0"/>
              <a:buChar char="•"/>
            </a:pPr>
            <a:r>
              <a:rPr lang="en-GB" dirty="0"/>
              <a:t>DEMO</a:t>
            </a:r>
          </a:p>
          <a:p>
            <a:pPr marL="411480" indent="-411480">
              <a:buClr>
                <a:schemeClr val="bg1"/>
              </a:buClr>
              <a:buAutoNum type="arabicParenR"/>
            </a:pPr>
            <a:endParaRPr lang="en-GB" dirty="0"/>
          </a:p>
          <a:p>
            <a:pPr marL="411480" indent="-411480">
              <a:buAutoNum type="arabicParenR"/>
            </a:pPr>
            <a:r>
              <a:rPr lang="en-GB" b="1" dirty="0"/>
              <a:t>Get to know your HQ</a:t>
            </a:r>
          </a:p>
          <a:p>
            <a:pPr marL="567536" lvl="1" indent="-411480">
              <a:buClr>
                <a:schemeClr val="bg1"/>
              </a:buClr>
              <a:buFont typeface="Arial" panose="020B0604020202020204" pitchFamily="34" charset="0"/>
              <a:buChar char="•"/>
            </a:pPr>
            <a:r>
              <a:rPr lang="en-GB" dirty="0"/>
              <a:t>Factory</a:t>
            </a:r>
          </a:p>
          <a:p>
            <a:pPr marL="567536" lvl="1" indent="-411480">
              <a:buClr>
                <a:schemeClr val="bg1"/>
              </a:buClr>
              <a:buFont typeface="Arial" panose="020B0604020202020204" pitchFamily="34" charset="0"/>
              <a:buChar char="•"/>
            </a:pPr>
            <a:r>
              <a:rPr lang="en-GB" dirty="0"/>
              <a:t>2</a:t>
            </a:r>
            <a:r>
              <a:rPr lang="en-GB" baseline="30000" dirty="0"/>
              <a:t>nd</a:t>
            </a:r>
            <a:r>
              <a:rPr lang="en-GB" dirty="0"/>
              <a:t> Line support</a:t>
            </a:r>
          </a:p>
          <a:p>
            <a:pPr marL="411480" indent="-411480">
              <a:buAutoNum type="arabicParenR"/>
            </a:pPr>
            <a:endParaRPr lang="en-GB" dirty="0"/>
          </a:p>
          <a:p>
            <a:pPr marL="411480" indent="-411480">
              <a:buAutoNum type="arabicParenR"/>
            </a:pPr>
            <a:r>
              <a:rPr lang="en-GB" b="1" dirty="0"/>
              <a:t>Network with your colleagues</a:t>
            </a:r>
          </a:p>
          <a:p>
            <a:pPr marL="567536" lvl="1" indent="-411480">
              <a:buClr>
                <a:schemeClr val="bg1"/>
              </a:buClr>
              <a:buAutoNum type="arabicParenR"/>
            </a:pPr>
            <a:endParaRPr lang="en-GB" dirty="0"/>
          </a:p>
          <a:p>
            <a:pPr marL="411480" indent="-411480">
              <a:buClr>
                <a:schemeClr val="bg1"/>
              </a:buClr>
              <a:buAutoNum type="arabicParenR"/>
            </a:pPr>
            <a:endParaRPr lang="en-DK" dirty="0"/>
          </a:p>
        </p:txBody>
      </p:sp>
    </p:spTree>
    <p:extLst>
      <p:ext uri="{BB962C8B-B14F-4D97-AF65-F5344CB8AC3E}">
        <p14:creationId xmlns:p14="http://schemas.microsoft.com/office/powerpoint/2010/main" val="38156502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37633D39-7062-DE2E-B5E0-82C133506987}"/>
              </a:ext>
            </a:extLst>
          </p:cNvPr>
          <p:cNvGrpSpPr/>
          <p:nvPr/>
        </p:nvGrpSpPr>
        <p:grpSpPr>
          <a:xfrm>
            <a:off x="0" y="0"/>
            <a:ext cx="10972800" cy="6858000"/>
            <a:chOff x="519112" y="-50800"/>
            <a:chExt cx="9144000" cy="5715000"/>
          </a:xfrm>
        </p:grpSpPr>
        <p:pic>
          <p:nvPicPr>
            <p:cNvPr id="4" name="Picture 3">
              <a:extLst>
                <a:ext uri="{FF2B5EF4-FFF2-40B4-BE49-F238E27FC236}">
                  <a16:creationId xmlns:a16="http://schemas.microsoft.com/office/drawing/2014/main" id="{33E72FCB-7360-A8B0-A733-8CC7B142A6D0}"/>
                </a:ext>
              </a:extLst>
            </p:cNvPr>
            <p:cNvPicPr>
              <a:picLocks noChangeAspect="1"/>
            </p:cNvPicPr>
            <p:nvPr/>
          </p:nvPicPr>
          <p:blipFill rotWithShape="1">
            <a:blip r:embed="rId3" cstate="screen">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519112" y="-50800"/>
              <a:ext cx="9144000" cy="5715000"/>
            </a:xfrm>
            <a:prstGeom prst="rect">
              <a:avLst/>
            </a:prstGeom>
          </p:spPr>
        </p:pic>
        <p:sp>
          <p:nvSpPr>
            <p:cNvPr id="5" name="Rectangle 4">
              <a:extLst>
                <a:ext uri="{FF2B5EF4-FFF2-40B4-BE49-F238E27FC236}">
                  <a16:creationId xmlns:a16="http://schemas.microsoft.com/office/drawing/2014/main" id="{65ECD5AC-1906-7EFF-53FE-D405CC45904D}"/>
                </a:ext>
              </a:extLst>
            </p:cNvPr>
            <p:cNvSpPr/>
            <p:nvPr/>
          </p:nvSpPr>
          <p:spPr>
            <a:xfrm>
              <a:off x="519112" y="-50800"/>
              <a:ext cx="9144000" cy="5715000"/>
            </a:xfrm>
            <a:prstGeom prst="rect">
              <a:avLst/>
            </a:prstGeom>
            <a:solidFill>
              <a:srgbClr val="7030A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9" name="Text Placeholder 8">
            <a:extLst>
              <a:ext uri="{FF2B5EF4-FFF2-40B4-BE49-F238E27FC236}">
                <a16:creationId xmlns:a16="http://schemas.microsoft.com/office/drawing/2014/main" id="{6334DECA-AF21-710E-763E-F16739F0C4B7}"/>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259A65CD-05C9-D9D6-2F32-AC235EF79509}"/>
              </a:ext>
            </a:extLst>
          </p:cNvPr>
          <p:cNvSpPr>
            <a:spLocks noGrp="1"/>
          </p:cNvSpPr>
          <p:nvPr>
            <p:ph type="title"/>
          </p:nvPr>
        </p:nvSpPr>
        <p:spPr>
          <a:prstGeom prst="rect">
            <a:avLst/>
          </a:prstGeom>
          <a:noFill/>
        </p:spPr>
        <p:txBody>
          <a:bodyPr anchor="ctr"/>
          <a:lstStyle/>
          <a:p>
            <a:r>
              <a:rPr lang="sv-SE" sz="3840" dirty="0">
                <a:solidFill>
                  <a:schemeClr val="bg2"/>
                </a:solidFill>
              </a:rPr>
              <a:t>Strategic buyers want to understand the business impact </a:t>
            </a:r>
            <a:endParaRPr lang="en-SG" sz="3840" dirty="0">
              <a:solidFill>
                <a:schemeClr val="bg2"/>
              </a:solidFill>
            </a:endParaRPr>
          </a:p>
        </p:txBody>
      </p:sp>
      <p:sp>
        <p:nvSpPr>
          <p:cNvPr id="8" name="Text Placeholder 7">
            <a:extLst>
              <a:ext uri="{FF2B5EF4-FFF2-40B4-BE49-F238E27FC236}">
                <a16:creationId xmlns:a16="http://schemas.microsoft.com/office/drawing/2014/main" id="{0EBAB850-460A-8546-F836-34D45785AEF6}"/>
              </a:ext>
            </a:extLst>
          </p:cNvPr>
          <p:cNvSpPr>
            <a:spLocks noGrp="1"/>
          </p:cNvSpPr>
          <p:nvPr>
            <p:ph type="body" sz="half" idx="2"/>
          </p:nvPr>
        </p:nvSpPr>
        <p:spPr/>
        <p:txBody>
          <a:bodyPr/>
          <a:lstStyle/>
          <a:p>
            <a:endParaRPr lang="en-US"/>
          </a:p>
        </p:txBody>
      </p:sp>
      <p:sp>
        <p:nvSpPr>
          <p:cNvPr id="7" name="Rectangle 6">
            <a:extLst>
              <a:ext uri="{FF2B5EF4-FFF2-40B4-BE49-F238E27FC236}">
                <a16:creationId xmlns:a16="http://schemas.microsoft.com/office/drawing/2014/main" id="{3677FB36-0401-1756-17B0-8E6ED7DDBAEA}"/>
              </a:ext>
            </a:extLst>
          </p:cNvPr>
          <p:cNvSpPr/>
          <p:nvPr/>
        </p:nvSpPr>
        <p:spPr>
          <a:xfrm>
            <a:off x="4992029" y="2141034"/>
            <a:ext cx="6228700" cy="2475571"/>
          </a:xfrm>
          <a:prstGeom prst="rect">
            <a:avLst/>
          </a:prstGeom>
          <a:solidFill>
            <a:srgbClr val="7030A0">
              <a:alpha val="8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bg1"/>
              </a:solidFill>
            </a:endParaRPr>
          </a:p>
        </p:txBody>
      </p:sp>
      <p:sp>
        <p:nvSpPr>
          <p:cNvPr id="3" name="TextBox 2">
            <a:extLst>
              <a:ext uri="{FF2B5EF4-FFF2-40B4-BE49-F238E27FC236}">
                <a16:creationId xmlns:a16="http://schemas.microsoft.com/office/drawing/2014/main" id="{4A908669-8460-8C91-F3B8-30CA9FFD05C6}"/>
              </a:ext>
            </a:extLst>
          </p:cNvPr>
          <p:cNvSpPr txBox="1"/>
          <p:nvPr/>
        </p:nvSpPr>
        <p:spPr>
          <a:xfrm>
            <a:off x="5210780" y="2289291"/>
            <a:ext cx="5791199" cy="2160591"/>
          </a:xfrm>
          <a:prstGeom prst="rect">
            <a:avLst/>
          </a:prstGeom>
          <a:noFill/>
          <a:ln>
            <a:noFill/>
          </a:ln>
        </p:spPr>
        <p:txBody>
          <a:bodyPr wrap="square" rtlCol="0">
            <a:spAutoFit/>
          </a:bodyPr>
          <a:lstStyle>
            <a:defPPr>
              <a:defRPr lang="en-US"/>
            </a:defPPr>
            <a:lvl1pPr eaLnBrk="1" fontAlgn="auto" hangingPunct="1">
              <a:spcBef>
                <a:spcPts val="0"/>
              </a:spcBef>
              <a:spcAft>
                <a:spcPts val="0"/>
              </a:spcAft>
              <a:defRPr sz="1600" b="0">
                <a:solidFill>
                  <a:schemeClr val="bg1"/>
                </a:solidFill>
                <a:latin typeface="+mn-lt"/>
              </a:defRPr>
            </a:lvl1pPr>
          </a:lstStyle>
          <a:p>
            <a:pPr marL="342900" indent="-342900">
              <a:buFont typeface="Arial" panose="020B0604020202020204" pitchFamily="34" charset="0"/>
              <a:buChar char="•"/>
            </a:pPr>
            <a:r>
              <a:rPr lang="en-SG" sz="1920" dirty="0"/>
              <a:t>How will it impact the overall business</a:t>
            </a:r>
          </a:p>
          <a:p>
            <a:pPr marL="342900" indent="-342900">
              <a:buFont typeface="Arial" panose="020B0604020202020204" pitchFamily="34" charset="0"/>
              <a:buChar char="•"/>
            </a:pPr>
            <a:r>
              <a:rPr lang="en-SG" sz="1920" dirty="0"/>
              <a:t>Long-term focus</a:t>
            </a:r>
          </a:p>
          <a:p>
            <a:pPr marL="342900" indent="-342900">
              <a:buFont typeface="Arial" panose="020B0604020202020204" pitchFamily="34" charset="0"/>
              <a:buChar char="•"/>
            </a:pPr>
            <a:r>
              <a:rPr lang="en-SG" sz="1920" dirty="0"/>
              <a:t>Does it create strategic advantage</a:t>
            </a:r>
            <a:br>
              <a:rPr lang="en-SG" sz="1920" dirty="0"/>
            </a:br>
            <a:endParaRPr lang="en-SG" sz="1920" dirty="0"/>
          </a:p>
          <a:p>
            <a:pPr marL="342900" indent="-342900">
              <a:buFont typeface="Arial" panose="020B0604020202020204" pitchFamily="34" charset="0"/>
              <a:buChar char="•"/>
            </a:pPr>
            <a:r>
              <a:rPr lang="sv-SE" sz="1920" dirty="0"/>
              <a:t>Build a good rapport, share information, case studies</a:t>
            </a:r>
          </a:p>
          <a:p>
            <a:r>
              <a:rPr lang="sv-SE" sz="1920" dirty="0"/>
              <a:t>(Commonly director or other senior title)</a:t>
            </a:r>
          </a:p>
        </p:txBody>
      </p:sp>
    </p:spTree>
    <p:extLst>
      <p:ext uri="{BB962C8B-B14F-4D97-AF65-F5344CB8AC3E}">
        <p14:creationId xmlns:p14="http://schemas.microsoft.com/office/powerpoint/2010/main" val="41721337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16290713-07F2-13FA-E62A-9B3477ECBF74}"/>
                  </a:ext>
                </a:extLst>
              </p:cNvPr>
              <p:cNvGraphicFramePr>
                <a:graphicFrameLocks noChangeAspect="1"/>
              </p:cNvGraphicFramePr>
              <p:nvPr/>
            </p:nvGraphicFramePr>
            <p:xfrm>
              <a:off x="7376161" y="4494362"/>
              <a:ext cx="2319169" cy="1449481"/>
            </p:xfrm>
            <a:graphic>
              <a:graphicData uri="http://schemas.microsoft.com/office/powerpoint/2016/slidezoom">
                <pslz:sldZm>
                  <pslz:sldZmObj sldId="9929" cId="4172133730">
                    <pslz:zmPr id="{64A456EE-6148-4650-8B79-CC78D95A0C87}" returnToParent="0" transitionDur="1000">
                      <p166:blipFill xmlns:p166="http://schemas.microsoft.com/office/powerpoint/2016/6/main">
                        <a:blip r:embed="rId2"/>
                        <a:stretch>
                          <a:fillRect/>
                        </a:stretch>
                      </p166:blipFill>
                      <p166:spPr xmlns:p166="http://schemas.microsoft.com/office/powerpoint/2016/6/main">
                        <a:xfrm>
                          <a:off x="0" y="0"/>
                          <a:ext cx="2319169" cy="1449481"/>
                        </a:xfrm>
                        <a:prstGeom prst="rect">
                          <a:avLst/>
                        </a:prstGeom>
                        <a:ln w="3175">
                          <a:solidFill>
                            <a:prstClr val="ltGray"/>
                          </a:solidFill>
                        </a:ln>
                      </p166:spPr>
                    </pslz:zmPr>
                  </pslz:sldZmObj>
                </pslz:sldZm>
              </a:graphicData>
            </a:graphic>
          </p:graphicFrame>
        </mc:Choice>
        <mc:Fallback xmlns="">
          <p:pic>
            <p:nvPicPr>
              <p:cNvPr id="3" name="Slide Zoom 2">
                <a:hlinkClick r:id="rId3" action="ppaction://hlinksldjump"/>
                <a:extLst>
                  <a:ext uri="{FF2B5EF4-FFF2-40B4-BE49-F238E27FC236}">
                    <a16:creationId xmlns:a16="http://schemas.microsoft.com/office/drawing/2014/main" id="{16290713-07F2-13FA-E62A-9B3477ECBF74}"/>
                  </a:ext>
                </a:extLst>
              </p:cNvPr>
              <p:cNvPicPr>
                <a:picLocks noGrp="1" noRot="1" noChangeAspect="1" noMove="1" noResize="1" noEditPoints="1" noAdjustHandles="1" noChangeArrowheads="1" noChangeShapeType="1"/>
              </p:cNvPicPr>
              <p:nvPr/>
            </p:nvPicPr>
            <p:blipFill>
              <a:blip r:embed="rId4"/>
              <a:stretch>
                <a:fillRect/>
              </a:stretch>
            </p:blipFill>
            <p:spPr>
              <a:xfrm>
                <a:off x="7376161" y="4494362"/>
                <a:ext cx="2319169" cy="1449481"/>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BB6BC4A1-77D2-64B1-05C2-05FE6E806F7B}"/>
                  </a:ext>
                </a:extLst>
              </p:cNvPr>
              <p:cNvGraphicFramePr>
                <a:graphicFrameLocks noChangeAspect="1"/>
              </p:cNvGraphicFramePr>
              <p:nvPr/>
            </p:nvGraphicFramePr>
            <p:xfrm>
              <a:off x="2298552" y="4494362"/>
              <a:ext cx="2319169" cy="1449481"/>
            </p:xfrm>
            <a:graphic>
              <a:graphicData uri="http://schemas.microsoft.com/office/powerpoint/2016/slidezoom">
                <pslz:sldZm>
                  <pslz:sldZmObj sldId="9928" cId="1670169725">
                    <pslz:zmPr id="{049C9631-1433-43F9-A025-0E487729F52A}" returnToParent="0" transitionDur="1000">
                      <p166:blipFill xmlns:p166="http://schemas.microsoft.com/office/powerpoint/2016/6/main">
                        <a:blip r:embed="rId5"/>
                        <a:stretch>
                          <a:fillRect/>
                        </a:stretch>
                      </p166:blipFill>
                      <p166:spPr xmlns:p166="http://schemas.microsoft.com/office/powerpoint/2016/6/main">
                        <a:xfrm>
                          <a:off x="0" y="0"/>
                          <a:ext cx="2319169" cy="1449481"/>
                        </a:xfrm>
                        <a:prstGeom prst="rect">
                          <a:avLst/>
                        </a:prstGeom>
                        <a:ln w="3175">
                          <a:solidFill>
                            <a:prstClr val="ltGray"/>
                          </a:solidFill>
                        </a:ln>
                      </p166:spPr>
                    </pslz:zmPr>
                  </pslz:sldZmObj>
                </pslz:sldZm>
              </a:graphicData>
            </a:graphic>
          </p:graphicFrame>
        </mc:Choice>
        <mc:Fallback xmlns="">
          <p:pic>
            <p:nvPicPr>
              <p:cNvPr id="5" name="Slide Zoom 4">
                <a:hlinkClick r:id="rId6" action="ppaction://hlinksldjump"/>
                <a:extLst>
                  <a:ext uri="{FF2B5EF4-FFF2-40B4-BE49-F238E27FC236}">
                    <a16:creationId xmlns:a16="http://schemas.microsoft.com/office/drawing/2014/main" id="{BB6BC4A1-77D2-64B1-05C2-05FE6E806F7B}"/>
                  </a:ext>
                </a:extLst>
              </p:cNvPr>
              <p:cNvPicPr>
                <a:picLocks noGrp="1" noRot="1" noChangeAspect="1" noMove="1" noResize="1" noEditPoints="1" noAdjustHandles="1" noChangeArrowheads="1" noChangeShapeType="1"/>
              </p:cNvPicPr>
              <p:nvPr/>
            </p:nvPicPr>
            <p:blipFill>
              <a:blip r:embed="rId7"/>
              <a:stretch>
                <a:fillRect/>
              </a:stretch>
            </p:blipFill>
            <p:spPr>
              <a:xfrm>
                <a:off x="2298552" y="4494362"/>
                <a:ext cx="2319169" cy="1449481"/>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FA425B5A-1C54-6F87-3A63-2C690E21EFA6}"/>
                  </a:ext>
                </a:extLst>
              </p:cNvPr>
              <p:cNvGraphicFramePr>
                <a:graphicFrameLocks noChangeAspect="1"/>
              </p:cNvGraphicFramePr>
              <p:nvPr/>
            </p:nvGraphicFramePr>
            <p:xfrm>
              <a:off x="7354646" y="252288"/>
              <a:ext cx="2319169" cy="1449481"/>
            </p:xfrm>
            <a:graphic>
              <a:graphicData uri="http://schemas.microsoft.com/office/powerpoint/2016/slidezoom">
                <pslz:sldZm>
                  <pslz:sldZmObj sldId="9927" cId="120481655">
                    <pslz:zmPr id="{1E9A6E1F-4C28-4EFC-991F-4407A2970551}" returnToParent="0" transitionDur="1000">
                      <p166:blipFill xmlns:p166="http://schemas.microsoft.com/office/powerpoint/2016/6/main">
                        <a:blip r:embed="rId8"/>
                        <a:stretch>
                          <a:fillRect/>
                        </a:stretch>
                      </p166:blipFill>
                      <p166:spPr xmlns:p166="http://schemas.microsoft.com/office/powerpoint/2016/6/main">
                        <a:xfrm>
                          <a:off x="0" y="0"/>
                          <a:ext cx="2319169" cy="1449481"/>
                        </a:xfrm>
                        <a:prstGeom prst="rect">
                          <a:avLst/>
                        </a:prstGeom>
                        <a:ln w="3175">
                          <a:solidFill>
                            <a:prstClr val="ltGray"/>
                          </a:solidFill>
                        </a:ln>
                      </p166:spPr>
                    </pslz:zmPr>
                  </pslz:sldZmObj>
                </pslz:sldZm>
              </a:graphicData>
            </a:graphic>
          </p:graphicFrame>
        </mc:Choice>
        <mc:Fallback xmlns="">
          <p:pic>
            <p:nvPicPr>
              <p:cNvPr id="7" name="Slide Zoom 6">
                <a:hlinkClick r:id="rId9" action="ppaction://hlinksldjump"/>
                <a:extLst>
                  <a:ext uri="{FF2B5EF4-FFF2-40B4-BE49-F238E27FC236}">
                    <a16:creationId xmlns:a16="http://schemas.microsoft.com/office/drawing/2014/main" id="{FA425B5A-1C54-6F87-3A63-2C690E21EFA6}"/>
                  </a:ext>
                </a:extLst>
              </p:cNvPr>
              <p:cNvPicPr>
                <a:picLocks noGrp="1" noRot="1" noChangeAspect="1" noMove="1" noResize="1" noEditPoints="1" noAdjustHandles="1" noChangeArrowheads="1" noChangeShapeType="1"/>
              </p:cNvPicPr>
              <p:nvPr/>
            </p:nvPicPr>
            <p:blipFill>
              <a:blip r:embed="rId10"/>
              <a:stretch>
                <a:fillRect/>
              </a:stretch>
            </p:blipFill>
            <p:spPr>
              <a:xfrm>
                <a:off x="7354646" y="252288"/>
                <a:ext cx="2319169" cy="1449481"/>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FCDB8B97-6476-2388-067A-01A31EFC67A5}"/>
                  </a:ext>
                </a:extLst>
              </p:cNvPr>
              <p:cNvGraphicFramePr>
                <a:graphicFrameLocks noChangeAspect="1"/>
              </p:cNvGraphicFramePr>
              <p:nvPr/>
            </p:nvGraphicFramePr>
            <p:xfrm>
              <a:off x="2298552" y="252288"/>
              <a:ext cx="2319169" cy="1449481"/>
            </p:xfrm>
            <a:graphic>
              <a:graphicData uri="http://schemas.microsoft.com/office/powerpoint/2016/slidezoom">
                <pslz:sldZm>
                  <pslz:sldZmObj sldId="9926" cId="2356922689">
                    <pslz:zmPr id="{534BFFA3-D5A6-4F92-87A0-496C2F0C4C45}" returnToParent="0" transitionDur="1000">
                      <p166:blipFill xmlns:p166="http://schemas.microsoft.com/office/powerpoint/2016/6/main">
                        <a:blip r:embed="rId11"/>
                        <a:stretch>
                          <a:fillRect/>
                        </a:stretch>
                      </p166:blipFill>
                      <p166:spPr xmlns:p166="http://schemas.microsoft.com/office/powerpoint/2016/6/main">
                        <a:xfrm>
                          <a:off x="0" y="0"/>
                          <a:ext cx="2319169" cy="1449481"/>
                        </a:xfrm>
                        <a:prstGeom prst="rect">
                          <a:avLst/>
                        </a:prstGeom>
                        <a:ln w="3175">
                          <a:solidFill>
                            <a:prstClr val="ltGray"/>
                          </a:solidFill>
                        </a:ln>
                      </p166:spPr>
                    </pslz:zmPr>
                  </pslz:sldZmObj>
                </pslz:sldZm>
              </a:graphicData>
            </a:graphic>
          </p:graphicFrame>
        </mc:Choice>
        <mc:Fallback xmlns="">
          <p:pic>
            <p:nvPicPr>
              <p:cNvPr id="9" name="Slide Zoom 8">
                <a:hlinkClick r:id="rId12" action="ppaction://hlinksldjump"/>
                <a:extLst>
                  <a:ext uri="{FF2B5EF4-FFF2-40B4-BE49-F238E27FC236}">
                    <a16:creationId xmlns:a16="http://schemas.microsoft.com/office/drawing/2014/main" id="{FCDB8B97-6476-2388-067A-01A31EFC67A5}"/>
                  </a:ext>
                </a:extLst>
              </p:cNvPr>
              <p:cNvPicPr>
                <a:picLocks noGrp="1" noRot="1" noChangeAspect="1" noMove="1" noResize="1" noEditPoints="1" noAdjustHandles="1" noChangeArrowheads="1" noChangeShapeType="1"/>
              </p:cNvPicPr>
              <p:nvPr/>
            </p:nvPicPr>
            <p:blipFill>
              <a:blip r:embed="rId13"/>
              <a:stretch>
                <a:fillRect/>
              </a:stretch>
            </p:blipFill>
            <p:spPr>
              <a:xfrm>
                <a:off x="2298552" y="252288"/>
                <a:ext cx="2319169" cy="1449481"/>
              </a:xfrm>
              <a:prstGeom prst="rect">
                <a:avLst/>
              </a:prstGeom>
              <a:ln w="3175">
                <a:solidFill>
                  <a:prstClr val="ltGray"/>
                </a:solidFill>
              </a:ln>
            </p:spPr>
          </p:pic>
        </mc:Fallback>
      </mc:AlternateContent>
      <p:sp>
        <p:nvSpPr>
          <p:cNvPr id="11" name="Rectangle 10">
            <a:extLst>
              <a:ext uri="{FF2B5EF4-FFF2-40B4-BE49-F238E27FC236}">
                <a16:creationId xmlns:a16="http://schemas.microsoft.com/office/drawing/2014/main" id="{48EEC247-3026-8E32-C61B-1BD8DB405769}"/>
              </a:ext>
            </a:extLst>
          </p:cNvPr>
          <p:cNvSpPr/>
          <p:nvPr/>
        </p:nvSpPr>
        <p:spPr>
          <a:xfrm>
            <a:off x="4168142" y="3028555"/>
            <a:ext cx="4671059" cy="1097280"/>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SG"/>
          </a:p>
        </p:txBody>
      </p:sp>
      <p:sp>
        <p:nvSpPr>
          <p:cNvPr id="12" name="TextBox 11">
            <a:extLst>
              <a:ext uri="{FF2B5EF4-FFF2-40B4-BE49-F238E27FC236}">
                <a16:creationId xmlns:a16="http://schemas.microsoft.com/office/drawing/2014/main" id="{6BA63B14-7CF3-ACA2-E23E-5EDD24BAFB1A}"/>
              </a:ext>
            </a:extLst>
          </p:cNvPr>
          <p:cNvSpPr txBox="1"/>
          <p:nvPr/>
        </p:nvSpPr>
        <p:spPr>
          <a:xfrm>
            <a:off x="4495709" y="3244797"/>
            <a:ext cx="4343490" cy="646331"/>
          </a:xfrm>
          <a:prstGeom prst="rect">
            <a:avLst/>
          </a:prstGeom>
          <a:noFill/>
        </p:spPr>
        <p:txBody>
          <a:bodyPr wrap="square" rtlCol="0">
            <a:spAutoFit/>
          </a:bodyPr>
          <a:lstStyle/>
          <a:p>
            <a:pPr algn="ctr" eaLnBrk="1" fontAlgn="auto" hangingPunct="1">
              <a:spcBef>
                <a:spcPts val="0"/>
              </a:spcBef>
              <a:spcAft>
                <a:spcPts val="0"/>
              </a:spcAft>
            </a:pPr>
            <a:r>
              <a:rPr lang="sv-SE" sz="1200" b="1" dirty="0">
                <a:solidFill>
                  <a:schemeClr val="bg1"/>
                </a:solidFill>
                <a:latin typeface="+mn-lt"/>
              </a:rPr>
              <a:t>All these types are usualy represented at all our pharma customers. Ideally you connect with all types and present benefits related to them</a:t>
            </a:r>
            <a:endParaRPr lang="en-SG" sz="1200" b="1" dirty="0">
              <a:solidFill>
                <a:schemeClr val="bg1"/>
              </a:solidFill>
              <a:latin typeface="+mn-lt"/>
            </a:endParaRPr>
          </a:p>
        </p:txBody>
      </p:sp>
      <p:sp>
        <p:nvSpPr>
          <p:cNvPr id="13" name="TextBox 12">
            <a:extLst>
              <a:ext uri="{FF2B5EF4-FFF2-40B4-BE49-F238E27FC236}">
                <a16:creationId xmlns:a16="http://schemas.microsoft.com/office/drawing/2014/main" id="{0382417D-D46B-F121-53FD-718F0860B916}"/>
              </a:ext>
            </a:extLst>
          </p:cNvPr>
          <p:cNvSpPr txBox="1"/>
          <p:nvPr/>
        </p:nvSpPr>
        <p:spPr>
          <a:xfrm>
            <a:off x="4289700" y="3152464"/>
            <a:ext cx="402336" cy="830997"/>
          </a:xfrm>
          <a:prstGeom prst="rect">
            <a:avLst/>
          </a:prstGeom>
          <a:noFill/>
        </p:spPr>
        <p:txBody>
          <a:bodyPr wrap="square" rtlCol="0">
            <a:spAutoFit/>
          </a:bodyPr>
          <a:lstStyle/>
          <a:p>
            <a:pPr eaLnBrk="1" fontAlgn="auto" hangingPunct="1">
              <a:spcBef>
                <a:spcPts val="0"/>
              </a:spcBef>
              <a:spcAft>
                <a:spcPts val="0"/>
              </a:spcAft>
            </a:pPr>
            <a:r>
              <a:rPr lang="sv-SE" sz="4800" b="1" dirty="0">
                <a:solidFill>
                  <a:schemeClr val="bg1"/>
                </a:solidFill>
                <a:latin typeface="+mn-lt"/>
              </a:rPr>
              <a:t>!</a:t>
            </a:r>
            <a:endParaRPr lang="en-SG" sz="1680" b="1" dirty="0">
              <a:solidFill>
                <a:schemeClr val="bg1"/>
              </a:solidFill>
              <a:latin typeface="+mn-lt"/>
            </a:endParaRPr>
          </a:p>
        </p:txBody>
      </p:sp>
      <p:pic>
        <p:nvPicPr>
          <p:cNvPr id="15" name="Graphic 14" descr="Office worker female outline">
            <a:extLst>
              <a:ext uri="{FF2B5EF4-FFF2-40B4-BE49-F238E27FC236}">
                <a16:creationId xmlns:a16="http://schemas.microsoft.com/office/drawing/2014/main" id="{EA7E80D8-6555-DE61-0EDC-C3EA495F916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32489" y="428387"/>
            <a:ext cx="1097280" cy="1097280"/>
          </a:xfrm>
          <a:prstGeom prst="rect">
            <a:avLst/>
          </a:prstGeom>
        </p:spPr>
      </p:pic>
      <p:pic>
        <p:nvPicPr>
          <p:cNvPr id="17" name="Graphic 16" descr="Office worker male with solid fill">
            <a:extLst>
              <a:ext uri="{FF2B5EF4-FFF2-40B4-BE49-F238E27FC236}">
                <a16:creationId xmlns:a16="http://schemas.microsoft.com/office/drawing/2014/main" id="{21F733AB-CCD5-39AD-5788-830039153FB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16015" y="4670461"/>
            <a:ext cx="1097280" cy="1097280"/>
          </a:xfrm>
          <a:prstGeom prst="rect">
            <a:avLst/>
          </a:prstGeom>
        </p:spPr>
      </p:pic>
      <p:pic>
        <p:nvPicPr>
          <p:cNvPr id="19" name="Graphic 18" descr="Female Profile outline">
            <a:extLst>
              <a:ext uri="{FF2B5EF4-FFF2-40B4-BE49-F238E27FC236}">
                <a16:creationId xmlns:a16="http://schemas.microsoft.com/office/drawing/2014/main" id="{DF9F1DF3-93B1-6A33-E0FC-A759CC1273D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617720" y="428387"/>
            <a:ext cx="1097280" cy="1097280"/>
          </a:xfrm>
          <a:prstGeom prst="rect">
            <a:avLst/>
          </a:prstGeom>
        </p:spPr>
      </p:pic>
      <p:pic>
        <p:nvPicPr>
          <p:cNvPr id="21" name="Graphic 20" descr="Office worker female with solid fill">
            <a:extLst>
              <a:ext uri="{FF2B5EF4-FFF2-40B4-BE49-F238E27FC236}">
                <a16:creationId xmlns:a16="http://schemas.microsoft.com/office/drawing/2014/main" id="{A658A535-3301-6DFA-1E70-B78979040A1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695329" y="4670461"/>
            <a:ext cx="1097280" cy="1097280"/>
          </a:xfrm>
          <a:prstGeom prst="rect">
            <a:avLst/>
          </a:prstGeom>
        </p:spPr>
      </p:pic>
      <p:pic>
        <p:nvPicPr>
          <p:cNvPr id="28" name="Graphic 27" descr="Trophy with solid fill">
            <a:extLst>
              <a:ext uri="{FF2B5EF4-FFF2-40B4-BE49-F238E27FC236}">
                <a16:creationId xmlns:a16="http://schemas.microsoft.com/office/drawing/2014/main" id="{A0FCFACE-5DA4-7BA2-229A-6C1F5E6A2FB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310269" y="631192"/>
            <a:ext cx="1097280" cy="1097280"/>
          </a:xfrm>
          <a:prstGeom prst="rect">
            <a:avLst/>
          </a:prstGeom>
        </p:spPr>
      </p:pic>
      <p:sp>
        <p:nvSpPr>
          <p:cNvPr id="2" name="Title 1">
            <a:extLst>
              <a:ext uri="{FF2B5EF4-FFF2-40B4-BE49-F238E27FC236}">
                <a16:creationId xmlns:a16="http://schemas.microsoft.com/office/drawing/2014/main" id="{F0700C37-E588-D692-6224-175BA7D8D0B6}"/>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6645C9A5-FD00-F2E9-D3B3-11E819D22812}"/>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2949758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46000" decel="54000" fill="hold" nodeType="clickEffect">
                                  <p:stCondLst>
                                    <p:cond delay="0"/>
                                  </p:stCondLst>
                                  <p:childTnLst>
                                    <p:animMotion origin="layout" path="M 0.08038 0.515 L -0.43628 0.54834 L -0.39878 -0.10944 L 0.05677 -0.10277 L -0.16267 0.20167 " pathEditMode="relative" rAng="0" ptsTypes="AAAAA">
                                      <p:cBhvr>
                                        <p:cTn id="6" dur="5000" fill="hold"/>
                                        <p:tgtEl>
                                          <p:spTgt spid="28"/>
                                        </p:tgtEl>
                                        <p:attrNameLst>
                                          <p:attrName>ppt_x</p:attrName>
                                          <p:attrName>ppt_y</p:attrName>
                                        </p:attrNameLst>
                                      </p:cBhvr>
                                      <p:rCtr x="-25833" y="-2955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8D770-1C47-3D37-203A-22F1262619FE}"/>
            </a:ext>
          </a:extLst>
        </p:cNvPr>
        <p:cNvGrpSpPr/>
        <p:nvPr/>
      </p:nvGrpSpPr>
      <p:grpSpPr>
        <a:xfrm>
          <a:off x="0" y="0"/>
          <a:ext cx="0" cy="0"/>
          <a:chOff x="0" y="0"/>
          <a:chExt cx="0" cy="0"/>
        </a:xfrm>
      </p:grpSpPr>
      <p:sp>
        <p:nvSpPr>
          <p:cNvPr id="10" name="Oval 9">
            <a:extLst>
              <a:ext uri="{FF2B5EF4-FFF2-40B4-BE49-F238E27FC236}">
                <a16:creationId xmlns:a16="http://schemas.microsoft.com/office/drawing/2014/main" id="{AB986E39-E679-F2CB-BA9F-C84E47E8A741}"/>
              </a:ext>
            </a:extLst>
          </p:cNvPr>
          <p:cNvSpPr/>
          <p:nvPr/>
        </p:nvSpPr>
        <p:spPr>
          <a:xfrm>
            <a:off x="-1990011" y="-939374"/>
            <a:ext cx="10136115" cy="9255377"/>
          </a:xfrm>
          <a:prstGeom prst="ellipse">
            <a:avLst/>
          </a:prstGeom>
          <a:gradFill>
            <a:gsLst>
              <a:gs pos="77000">
                <a:schemeClr val="accent1">
                  <a:lumMod val="5000"/>
                  <a:lumOff val="95000"/>
                  <a:alpha val="0"/>
                </a:schemeClr>
              </a:gs>
              <a:gs pos="0">
                <a:schemeClr val="accent6"/>
              </a:gs>
            </a:gsLst>
            <a:path path="circle">
              <a:fillToRect l="50000" t="50000" r="50000" b="50000"/>
            </a:path>
          </a:gradFill>
          <a:ln>
            <a:noFill/>
          </a:ln>
          <a:effectLst>
            <a:softEdge rad="1270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train with smoke coming out of it&#10;&#10;AI-generated content may be incorrect.">
            <a:extLst>
              <a:ext uri="{FF2B5EF4-FFF2-40B4-BE49-F238E27FC236}">
                <a16:creationId xmlns:a16="http://schemas.microsoft.com/office/drawing/2014/main" id="{2FA45986-6236-724E-FDCD-333F68A0D83C}"/>
              </a:ext>
            </a:extLst>
          </p:cNvPr>
          <p:cNvPicPr>
            <a:picLocks noChangeAspect="1"/>
          </p:cNvPicPr>
          <p:nvPr/>
        </p:nvPicPr>
        <p:blipFill>
          <a:blip r:embed="rId3"/>
          <a:stretch>
            <a:fillRect/>
          </a:stretch>
        </p:blipFill>
        <p:spPr>
          <a:xfrm>
            <a:off x="-1541679" y="-737785"/>
            <a:ext cx="8330659" cy="8330659"/>
          </a:xfrm>
          <a:prstGeom prst="rect">
            <a:avLst/>
          </a:prstGeom>
        </p:spPr>
      </p:pic>
      <p:sp>
        <p:nvSpPr>
          <p:cNvPr id="2" name="Title 1">
            <a:extLst>
              <a:ext uri="{FF2B5EF4-FFF2-40B4-BE49-F238E27FC236}">
                <a16:creationId xmlns:a16="http://schemas.microsoft.com/office/drawing/2014/main" id="{EF9FC079-8A98-8A1B-E7BA-8E6DF397822A}"/>
              </a:ext>
            </a:extLst>
          </p:cNvPr>
          <p:cNvSpPr>
            <a:spLocks noGrp="1"/>
          </p:cNvSpPr>
          <p:nvPr>
            <p:ph type="title"/>
          </p:nvPr>
        </p:nvSpPr>
        <p:spPr>
          <a:noFill/>
        </p:spPr>
        <p:txBody>
          <a:bodyPr anchor="ctr"/>
          <a:lstStyle/>
          <a:p>
            <a:pPr>
              <a:lnSpc>
                <a:spcPct val="90000"/>
              </a:lnSpc>
              <a:spcBef>
                <a:spcPct val="0"/>
              </a:spcBef>
              <a:spcAft>
                <a:spcPct val="0"/>
              </a:spcAft>
            </a:pPr>
            <a:r>
              <a:rPr lang="sv-SE" sz="3840" dirty="0"/>
              <a:t>Practical Steps Towards </a:t>
            </a:r>
            <a:r>
              <a:rPr lang="sv-SE" sz="3840" dirty="0">
                <a:solidFill>
                  <a:schemeClr val="accent1"/>
                </a:solidFill>
              </a:rPr>
              <a:t>Value</a:t>
            </a:r>
            <a:r>
              <a:rPr lang="sv-SE" sz="3840" dirty="0">
                <a:solidFill>
                  <a:schemeClr val="bg2"/>
                </a:solidFill>
              </a:rPr>
              <a:t> </a:t>
            </a:r>
            <a:r>
              <a:rPr lang="sv-SE" sz="3840" dirty="0">
                <a:solidFill>
                  <a:schemeClr val="accent1"/>
                </a:solidFill>
              </a:rPr>
              <a:t>Sales</a:t>
            </a:r>
            <a:endParaRPr lang="en-SG" sz="3840" dirty="0">
              <a:solidFill>
                <a:schemeClr val="accent1"/>
              </a:solidFill>
            </a:endParaRPr>
          </a:p>
        </p:txBody>
      </p:sp>
      <p:sp>
        <p:nvSpPr>
          <p:cNvPr id="4" name="TextBox 3">
            <a:extLst>
              <a:ext uri="{FF2B5EF4-FFF2-40B4-BE49-F238E27FC236}">
                <a16:creationId xmlns:a16="http://schemas.microsoft.com/office/drawing/2014/main" id="{587ADC5B-917C-D795-8DD5-A4894856BD91}"/>
              </a:ext>
            </a:extLst>
          </p:cNvPr>
          <p:cNvSpPr txBox="1"/>
          <p:nvPr/>
        </p:nvSpPr>
        <p:spPr>
          <a:xfrm>
            <a:off x="6096002" y="1935831"/>
            <a:ext cx="5546477" cy="523220"/>
          </a:xfrm>
          <a:prstGeom prst="rect">
            <a:avLst/>
          </a:prstGeom>
          <a:noFill/>
        </p:spPr>
        <p:txBody>
          <a:bodyPr wrap="square" rtlCol="0">
            <a:spAutoFit/>
          </a:bodyPr>
          <a:lstStyle/>
          <a:p>
            <a:pPr marL="457200" indent="-457200" eaLnBrk="1" fontAlgn="auto" hangingPunct="1">
              <a:spcBef>
                <a:spcPts val="0"/>
              </a:spcBef>
              <a:spcAft>
                <a:spcPts val="0"/>
              </a:spcAft>
              <a:buClr>
                <a:schemeClr val="accent1"/>
              </a:buClr>
              <a:buSzPct val="110000"/>
              <a:buFont typeface="Arial" panose="020B0604020202020204" pitchFamily="34" charset="0"/>
              <a:buChar char="•"/>
            </a:pPr>
            <a:r>
              <a:rPr lang="sv-SE" sz="2800" dirty="0">
                <a:solidFill>
                  <a:schemeClr val="tx2"/>
                </a:solidFill>
                <a:latin typeface="+mn-lt"/>
              </a:rPr>
              <a:t>Prepare</a:t>
            </a:r>
            <a:endParaRPr lang="en-SG" sz="2800" dirty="0">
              <a:solidFill>
                <a:schemeClr val="tx2"/>
              </a:solidFill>
              <a:latin typeface="+mn-lt"/>
            </a:endParaRPr>
          </a:p>
        </p:txBody>
      </p:sp>
      <p:sp>
        <p:nvSpPr>
          <p:cNvPr id="5" name="TextBox 4">
            <a:extLst>
              <a:ext uri="{FF2B5EF4-FFF2-40B4-BE49-F238E27FC236}">
                <a16:creationId xmlns:a16="http://schemas.microsoft.com/office/drawing/2014/main" id="{ED422CE7-945C-EF2D-69EE-86E7806AF956}"/>
              </a:ext>
            </a:extLst>
          </p:cNvPr>
          <p:cNvSpPr txBox="1"/>
          <p:nvPr/>
        </p:nvSpPr>
        <p:spPr>
          <a:xfrm>
            <a:off x="6096001" y="2646466"/>
            <a:ext cx="5546477" cy="523220"/>
          </a:xfrm>
          <a:prstGeom prst="rect">
            <a:avLst/>
          </a:prstGeom>
          <a:noFill/>
        </p:spPr>
        <p:txBody>
          <a:bodyPr wrap="square" rtlCol="0">
            <a:spAutoFit/>
          </a:bodyPr>
          <a:lstStyle/>
          <a:p>
            <a:pPr marL="457200" indent="-457200" eaLnBrk="1" fontAlgn="auto" hangingPunct="1">
              <a:spcBef>
                <a:spcPts val="0"/>
              </a:spcBef>
              <a:spcAft>
                <a:spcPts val="0"/>
              </a:spcAft>
              <a:buClr>
                <a:schemeClr val="accent1"/>
              </a:buClr>
              <a:buSzPct val="110000"/>
              <a:buFont typeface="Arial" panose="020B0604020202020204" pitchFamily="34" charset="0"/>
              <a:buChar char="•"/>
            </a:pPr>
            <a:r>
              <a:rPr lang="sv-SE" sz="2800" dirty="0">
                <a:solidFill>
                  <a:schemeClr val="tx2"/>
                </a:solidFill>
                <a:latin typeface="+mn-lt"/>
              </a:rPr>
              <a:t>Stay updated in the industry</a:t>
            </a:r>
            <a:endParaRPr lang="en-SG" sz="2800" dirty="0">
              <a:solidFill>
                <a:schemeClr val="tx2"/>
              </a:solidFill>
              <a:latin typeface="+mn-lt"/>
            </a:endParaRPr>
          </a:p>
        </p:txBody>
      </p:sp>
      <p:sp>
        <p:nvSpPr>
          <p:cNvPr id="6" name="TextBox 5">
            <a:extLst>
              <a:ext uri="{FF2B5EF4-FFF2-40B4-BE49-F238E27FC236}">
                <a16:creationId xmlns:a16="http://schemas.microsoft.com/office/drawing/2014/main" id="{03D30A8F-74A9-2068-10A3-37D979BEF8B5}"/>
              </a:ext>
            </a:extLst>
          </p:cNvPr>
          <p:cNvSpPr txBox="1"/>
          <p:nvPr/>
        </p:nvSpPr>
        <p:spPr>
          <a:xfrm>
            <a:off x="6096001" y="3398403"/>
            <a:ext cx="5546477" cy="523220"/>
          </a:xfrm>
          <a:prstGeom prst="rect">
            <a:avLst/>
          </a:prstGeom>
          <a:noFill/>
        </p:spPr>
        <p:txBody>
          <a:bodyPr wrap="square" rtlCol="0">
            <a:spAutoFit/>
          </a:bodyPr>
          <a:lstStyle/>
          <a:p>
            <a:pPr marL="457200" indent="-457200" eaLnBrk="1" fontAlgn="auto" hangingPunct="1">
              <a:spcBef>
                <a:spcPts val="0"/>
              </a:spcBef>
              <a:spcAft>
                <a:spcPts val="0"/>
              </a:spcAft>
              <a:buClr>
                <a:schemeClr val="accent1"/>
              </a:buClr>
              <a:buSzPct val="110000"/>
              <a:buFont typeface="Arial" panose="020B0604020202020204" pitchFamily="34" charset="0"/>
              <a:buChar char="•"/>
            </a:pPr>
            <a:r>
              <a:rPr lang="sv-SE" sz="2800" dirty="0">
                <a:solidFill>
                  <a:schemeClr val="tx2"/>
                </a:solidFill>
                <a:latin typeface="+mn-lt"/>
              </a:rPr>
              <a:t>Listen more than you talk</a:t>
            </a:r>
            <a:endParaRPr lang="en-SG" sz="2800" dirty="0">
              <a:solidFill>
                <a:schemeClr val="tx2"/>
              </a:solidFill>
              <a:latin typeface="+mn-lt"/>
            </a:endParaRPr>
          </a:p>
        </p:txBody>
      </p:sp>
      <p:sp>
        <p:nvSpPr>
          <p:cNvPr id="7" name="TextBox 6">
            <a:extLst>
              <a:ext uri="{FF2B5EF4-FFF2-40B4-BE49-F238E27FC236}">
                <a16:creationId xmlns:a16="http://schemas.microsoft.com/office/drawing/2014/main" id="{B27A9548-D08D-DFB4-B487-B0AFC2B66339}"/>
              </a:ext>
            </a:extLst>
          </p:cNvPr>
          <p:cNvSpPr txBox="1"/>
          <p:nvPr/>
        </p:nvSpPr>
        <p:spPr>
          <a:xfrm>
            <a:off x="6107476" y="4152275"/>
            <a:ext cx="6273210" cy="523220"/>
          </a:xfrm>
          <a:prstGeom prst="rect">
            <a:avLst/>
          </a:prstGeom>
          <a:noFill/>
        </p:spPr>
        <p:txBody>
          <a:bodyPr wrap="square" rtlCol="0">
            <a:spAutoFit/>
          </a:bodyPr>
          <a:lstStyle/>
          <a:p>
            <a:pPr marL="457200" indent="-457200" eaLnBrk="1" fontAlgn="auto" hangingPunct="1">
              <a:spcBef>
                <a:spcPts val="0"/>
              </a:spcBef>
              <a:spcAft>
                <a:spcPts val="0"/>
              </a:spcAft>
              <a:buClr>
                <a:schemeClr val="accent1"/>
              </a:buClr>
              <a:buSzPct val="110000"/>
              <a:buFont typeface="Arial" panose="020B0604020202020204" pitchFamily="34" charset="0"/>
              <a:buChar char="•"/>
            </a:pPr>
            <a:r>
              <a:rPr lang="sv-SE" sz="2800" dirty="0">
                <a:solidFill>
                  <a:schemeClr val="tx2"/>
                </a:solidFill>
                <a:latin typeface="+mn-lt"/>
              </a:rPr>
              <a:t>Practice using open questions</a:t>
            </a:r>
            <a:endParaRPr lang="en-SG" sz="2800" dirty="0">
              <a:solidFill>
                <a:schemeClr val="tx2"/>
              </a:solidFill>
              <a:latin typeface="+mn-lt"/>
            </a:endParaRPr>
          </a:p>
        </p:txBody>
      </p:sp>
      <p:sp>
        <p:nvSpPr>
          <p:cNvPr id="8" name="TextBox 7">
            <a:extLst>
              <a:ext uri="{FF2B5EF4-FFF2-40B4-BE49-F238E27FC236}">
                <a16:creationId xmlns:a16="http://schemas.microsoft.com/office/drawing/2014/main" id="{50C74123-6D6E-7E67-DE50-EC6CBE00EADA}"/>
              </a:ext>
            </a:extLst>
          </p:cNvPr>
          <p:cNvSpPr txBox="1"/>
          <p:nvPr/>
        </p:nvSpPr>
        <p:spPr>
          <a:xfrm>
            <a:off x="6096000" y="4862910"/>
            <a:ext cx="5268686" cy="954107"/>
          </a:xfrm>
          <a:prstGeom prst="rect">
            <a:avLst/>
          </a:prstGeom>
          <a:noFill/>
        </p:spPr>
        <p:txBody>
          <a:bodyPr wrap="square" rtlCol="0">
            <a:spAutoFit/>
          </a:bodyPr>
          <a:lstStyle/>
          <a:p>
            <a:pPr marL="457200" indent="-457200" eaLnBrk="1" fontAlgn="auto" hangingPunct="1">
              <a:spcBef>
                <a:spcPts val="0"/>
              </a:spcBef>
              <a:spcAft>
                <a:spcPts val="0"/>
              </a:spcAft>
              <a:buClr>
                <a:schemeClr val="accent1"/>
              </a:buClr>
              <a:buSzPct val="110000"/>
              <a:buFont typeface="Arial" panose="020B0604020202020204" pitchFamily="34" charset="0"/>
              <a:buChar char="•"/>
            </a:pPr>
            <a:r>
              <a:rPr lang="sv-SE" sz="2800" dirty="0">
                <a:solidFill>
                  <a:schemeClr val="tx2"/>
                </a:solidFill>
                <a:latin typeface="+mn-lt"/>
              </a:rPr>
              <a:t>Put yourself in the customer’s shoes</a:t>
            </a:r>
            <a:endParaRPr lang="en-SG" sz="2800" dirty="0">
              <a:solidFill>
                <a:schemeClr val="tx2"/>
              </a:solidFill>
              <a:latin typeface="+mn-lt"/>
            </a:endParaRPr>
          </a:p>
        </p:txBody>
      </p:sp>
    </p:spTree>
    <p:extLst>
      <p:ext uri="{BB962C8B-B14F-4D97-AF65-F5344CB8AC3E}">
        <p14:creationId xmlns:p14="http://schemas.microsoft.com/office/powerpoint/2010/main" val="12649621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FF4064E-8306-C383-84CB-109D56987F30}"/>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CE776A69-4725-44CA-A4E0-E9519BF7F6EC}"/>
              </a:ext>
            </a:extLst>
          </p:cNvPr>
          <p:cNvSpPr>
            <a:spLocks noGrp="1"/>
          </p:cNvSpPr>
          <p:nvPr>
            <p:ph type="title"/>
          </p:nvPr>
        </p:nvSpPr>
        <p:spPr/>
        <p:txBody>
          <a:bodyPr/>
          <a:lstStyle/>
          <a:p>
            <a:r>
              <a:rPr lang="en-US" dirty="0"/>
              <a:t>Who do we target and how?</a:t>
            </a:r>
            <a:endParaRPr lang="en-DK" dirty="0"/>
          </a:p>
        </p:txBody>
      </p:sp>
      <p:sp>
        <p:nvSpPr>
          <p:cNvPr id="3" name="Text Placeholder 2">
            <a:extLst>
              <a:ext uri="{FF2B5EF4-FFF2-40B4-BE49-F238E27FC236}">
                <a16:creationId xmlns:a16="http://schemas.microsoft.com/office/drawing/2014/main" id="{39B5A83C-4729-44E5-BD3D-ED33059A4FE3}"/>
              </a:ext>
            </a:extLst>
          </p:cNvPr>
          <p:cNvSpPr>
            <a:spLocks noGrp="1"/>
          </p:cNvSpPr>
          <p:nvPr>
            <p:ph type="body" sz="half" idx="2"/>
          </p:nvPr>
        </p:nvSpPr>
        <p:spPr/>
        <p:txBody>
          <a:bodyPr/>
          <a:lstStyle/>
          <a:p>
            <a:r>
              <a:rPr lang="en-US" sz="1440" dirty="0">
                <a:solidFill>
                  <a:schemeClr val="dk1"/>
                </a:solidFill>
                <a:latin typeface="+mn-lt"/>
                <a:ea typeface="+mn-ea"/>
                <a:cs typeface="+mn-cs"/>
              </a:rPr>
              <a:t>Map out locations</a:t>
            </a:r>
          </a:p>
          <a:p>
            <a:endParaRPr lang="en-DK" dirty="0"/>
          </a:p>
        </p:txBody>
      </p:sp>
      <p:pic>
        <p:nvPicPr>
          <p:cNvPr id="10" name="Picture 9">
            <a:extLst>
              <a:ext uri="{FF2B5EF4-FFF2-40B4-BE49-F238E27FC236}">
                <a16:creationId xmlns:a16="http://schemas.microsoft.com/office/drawing/2014/main" id="{1F90561C-09A0-9F0B-082A-8960A63067C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4165" r="3725" b="7586"/>
          <a:stretch/>
        </p:blipFill>
        <p:spPr>
          <a:xfrm>
            <a:off x="1342004" y="1671456"/>
            <a:ext cx="9618212" cy="4261418"/>
          </a:xfrm>
          <a:prstGeom prst="rect">
            <a:avLst/>
          </a:prstGeom>
        </p:spPr>
      </p:pic>
      <p:pic>
        <p:nvPicPr>
          <p:cNvPr id="8" name="Picture 7">
            <a:extLst>
              <a:ext uri="{FF2B5EF4-FFF2-40B4-BE49-F238E27FC236}">
                <a16:creationId xmlns:a16="http://schemas.microsoft.com/office/drawing/2014/main" id="{46B1F436-6771-695C-1ED7-22A67AB6393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96001" y="1671456"/>
            <a:ext cx="5119590" cy="4261418"/>
          </a:xfrm>
          <a:prstGeom prst="rect">
            <a:avLst/>
          </a:prstGeom>
        </p:spPr>
      </p:pic>
    </p:spTree>
    <p:extLst>
      <p:ext uri="{BB962C8B-B14F-4D97-AF65-F5344CB8AC3E}">
        <p14:creationId xmlns:p14="http://schemas.microsoft.com/office/powerpoint/2010/main" val="15503450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5FCAEF3-2082-2AC0-D781-E784BC5B24BF}"/>
              </a:ext>
            </a:extLst>
          </p:cNvPr>
          <p:cNvSpPr>
            <a:spLocks noGrp="1"/>
          </p:cNvSpPr>
          <p:nvPr>
            <p:ph type="body" sz="half" idx="10"/>
          </p:nvPr>
        </p:nvSpPr>
        <p:spPr/>
        <p:txBody>
          <a:bodyPr/>
          <a:lstStyle/>
          <a:p>
            <a:endParaRPr lang="en-US"/>
          </a:p>
        </p:txBody>
      </p:sp>
      <p:sp>
        <p:nvSpPr>
          <p:cNvPr id="5" name="Title 4">
            <a:extLst>
              <a:ext uri="{FF2B5EF4-FFF2-40B4-BE49-F238E27FC236}">
                <a16:creationId xmlns:a16="http://schemas.microsoft.com/office/drawing/2014/main" id="{F790396D-0BEB-94D9-7099-4B5AA489087B}"/>
              </a:ext>
            </a:extLst>
          </p:cNvPr>
          <p:cNvSpPr>
            <a:spLocks noGrp="1"/>
          </p:cNvSpPr>
          <p:nvPr>
            <p:ph type="title"/>
          </p:nvPr>
        </p:nvSpPr>
        <p:spPr/>
        <p:txBody>
          <a:bodyPr/>
          <a:lstStyle/>
          <a:p>
            <a:r>
              <a:rPr lang="en-GB" dirty="0"/>
              <a:t>Account planning</a:t>
            </a:r>
            <a:endParaRPr lang="en-DK" dirty="0"/>
          </a:p>
        </p:txBody>
      </p:sp>
      <p:sp>
        <p:nvSpPr>
          <p:cNvPr id="2" name="Text Placeholder 1">
            <a:extLst>
              <a:ext uri="{FF2B5EF4-FFF2-40B4-BE49-F238E27FC236}">
                <a16:creationId xmlns:a16="http://schemas.microsoft.com/office/drawing/2014/main" id="{E36E145A-4104-E9D7-0A90-8E1D17D045BA}"/>
              </a:ext>
            </a:extLst>
          </p:cNvPr>
          <p:cNvSpPr>
            <a:spLocks noGrp="1"/>
          </p:cNvSpPr>
          <p:nvPr>
            <p:ph type="body" sz="half" idx="2"/>
          </p:nvPr>
        </p:nvSpPr>
        <p:spPr/>
        <p:txBody>
          <a:bodyPr/>
          <a:lstStyle/>
          <a:p>
            <a:endParaRPr lang="en-US"/>
          </a:p>
        </p:txBody>
      </p:sp>
      <p:pic>
        <p:nvPicPr>
          <p:cNvPr id="3" name="Picture 2">
            <a:extLst>
              <a:ext uri="{FF2B5EF4-FFF2-40B4-BE49-F238E27FC236}">
                <a16:creationId xmlns:a16="http://schemas.microsoft.com/office/drawing/2014/main" id="{95FED33C-23BB-2371-0948-5788DF56094A}"/>
              </a:ext>
            </a:extLst>
          </p:cNvPr>
          <p:cNvPicPr>
            <a:picLocks noChangeAspect="1"/>
          </p:cNvPicPr>
          <p:nvPr/>
        </p:nvPicPr>
        <p:blipFill>
          <a:blip r:embed="rId2"/>
          <a:stretch>
            <a:fillRect/>
          </a:stretch>
        </p:blipFill>
        <p:spPr>
          <a:xfrm>
            <a:off x="1473410" y="1451721"/>
            <a:ext cx="8908654" cy="5163835"/>
          </a:xfrm>
          <a:prstGeom prst="rect">
            <a:avLst/>
          </a:prstGeom>
        </p:spPr>
      </p:pic>
    </p:spTree>
    <p:extLst>
      <p:ext uri="{BB962C8B-B14F-4D97-AF65-F5344CB8AC3E}">
        <p14:creationId xmlns:p14="http://schemas.microsoft.com/office/powerpoint/2010/main" val="10809298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2CBB0E4-098D-43EF-864E-68630598085F}"/>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72CBB0E4-098D-43EF-864E-68630598085F}"/>
                          </a:ext>
                        </a:extLst>
                      </p:cNvPr>
                      <p:cNvPicPr/>
                      <p:nvPr/>
                    </p:nvPicPr>
                    <p:blipFill>
                      <a:blip r:embed="rId4"/>
                      <a:stretch>
                        <a:fillRect/>
                      </a:stretch>
                    </p:blipFill>
                    <p:spPr>
                      <a:xfrm>
                        <a:off x="611505" y="1905"/>
                        <a:ext cx="1906" cy="1906"/>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261186A-80D1-12EB-DE52-40784813BC17}"/>
              </a:ext>
            </a:extLst>
          </p:cNvPr>
          <p:cNvSpPr>
            <a:spLocks noGrp="1"/>
          </p:cNvSpPr>
          <p:nvPr>
            <p:ph type="body" sz="half" idx="10"/>
          </p:nvPr>
        </p:nvSpPr>
        <p:spPr/>
        <p:txBody>
          <a:bodyPr/>
          <a:lstStyle/>
          <a:p>
            <a:endParaRPr lang="en-US"/>
          </a:p>
        </p:txBody>
      </p:sp>
      <p:sp>
        <p:nvSpPr>
          <p:cNvPr id="6" name="Title 5">
            <a:extLst>
              <a:ext uri="{FF2B5EF4-FFF2-40B4-BE49-F238E27FC236}">
                <a16:creationId xmlns:a16="http://schemas.microsoft.com/office/drawing/2014/main" id="{8B09B43D-3361-4793-9EF9-AAF4B14B6CBB}"/>
              </a:ext>
            </a:extLst>
          </p:cNvPr>
          <p:cNvSpPr>
            <a:spLocks noGrp="1"/>
          </p:cNvSpPr>
          <p:nvPr>
            <p:ph type="title"/>
          </p:nvPr>
        </p:nvSpPr>
        <p:spPr/>
        <p:txBody>
          <a:bodyPr vert="horz"/>
          <a:lstStyle/>
          <a:p>
            <a:r>
              <a:rPr lang="en-US"/>
              <a:t>Who </a:t>
            </a:r>
            <a:r>
              <a:rPr lang="en-US" dirty="0"/>
              <a:t>do we target and how?</a:t>
            </a:r>
          </a:p>
        </p:txBody>
      </p:sp>
      <p:sp>
        <p:nvSpPr>
          <p:cNvPr id="2" name="Text Placeholder 1">
            <a:extLst>
              <a:ext uri="{FF2B5EF4-FFF2-40B4-BE49-F238E27FC236}">
                <a16:creationId xmlns:a16="http://schemas.microsoft.com/office/drawing/2014/main" id="{DE38CBAA-ECFD-80DE-455B-7019E1B72F85}"/>
              </a:ext>
            </a:extLst>
          </p:cNvPr>
          <p:cNvSpPr>
            <a:spLocks noGrp="1"/>
          </p:cNvSpPr>
          <p:nvPr>
            <p:ph type="body" sz="half" idx="2"/>
          </p:nvPr>
        </p:nvSpPr>
        <p:spPr/>
        <p:txBody>
          <a:bodyPr/>
          <a:lstStyle/>
          <a:p>
            <a:endParaRPr lang="en-US"/>
          </a:p>
        </p:txBody>
      </p:sp>
      <p:sp>
        <p:nvSpPr>
          <p:cNvPr id="13" name="Rectangle 12">
            <a:extLst>
              <a:ext uri="{FF2B5EF4-FFF2-40B4-BE49-F238E27FC236}">
                <a16:creationId xmlns:a16="http://schemas.microsoft.com/office/drawing/2014/main" id="{B5F237F0-7047-4182-90AF-D590E9768813}"/>
              </a:ext>
            </a:extLst>
          </p:cNvPr>
          <p:cNvSpPr/>
          <p:nvPr/>
        </p:nvSpPr>
        <p:spPr>
          <a:xfrm>
            <a:off x="1127761" y="1460386"/>
            <a:ext cx="9936479" cy="769735"/>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endParaRPr lang="en-GB" sz="1080">
              <a:solidFill>
                <a:srgbClr val="FFFFFF"/>
              </a:solidFill>
              <a:latin typeface="Calibri" panose="020F0502020204030204"/>
            </a:endParaRPr>
          </a:p>
        </p:txBody>
      </p:sp>
      <p:grpSp>
        <p:nvGrpSpPr>
          <p:cNvPr id="17" name="Group 16">
            <a:extLst>
              <a:ext uri="{FF2B5EF4-FFF2-40B4-BE49-F238E27FC236}">
                <a16:creationId xmlns:a16="http://schemas.microsoft.com/office/drawing/2014/main" id="{30192B34-B267-408E-89CF-313CA98B6246}"/>
              </a:ext>
            </a:extLst>
          </p:cNvPr>
          <p:cNvGrpSpPr/>
          <p:nvPr/>
        </p:nvGrpSpPr>
        <p:grpSpPr>
          <a:xfrm>
            <a:off x="1196508" y="1577913"/>
            <a:ext cx="1375795" cy="413632"/>
            <a:chOff x="4925358" y="2111327"/>
            <a:chExt cx="2120783" cy="679498"/>
          </a:xfrm>
        </p:grpSpPr>
        <p:sp>
          <p:nvSpPr>
            <p:cNvPr id="18" name="Rectangle 17">
              <a:extLst>
                <a:ext uri="{FF2B5EF4-FFF2-40B4-BE49-F238E27FC236}">
                  <a16:creationId xmlns:a16="http://schemas.microsoft.com/office/drawing/2014/main" id="{A699DCE0-FAAC-418B-8FE2-2632E99DAB2A}"/>
                </a:ext>
              </a:extLst>
            </p:cNvPr>
            <p:cNvSpPr/>
            <p:nvPr/>
          </p:nvSpPr>
          <p:spPr>
            <a:xfrm>
              <a:off x="4925358" y="2111329"/>
              <a:ext cx="297521" cy="6794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r>
                <a:rPr lang="en-GB" sz="960" b="1">
                  <a:solidFill>
                    <a:srgbClr val="FFFFFF"/>
                  </a:solidFill>
                  <a:latin typeface="Avenir Next LT Pro"/>
                </a:rPr>
                <a:t>1</a:t>
              </a:r>
            </a:p>
          </p:txBody>
        </p:sp>
        <p:sp>
          <p:nvSpPr>
            <p:cNvPr id="19" name="Rectangle 18">
              <a:extLst>
                <a:ext uri="{FF2B5EF4-FFF2-40B4-BE49-F238E27FC236}">
                  <a16:creationId xmlns:a16="http://schemas.microsoft.com/office/drawing/2014/main" id="{8D28C430-AB9A-4D45-8F7D-6876CCF61669}"/>
                </a:ext>
              </a:extLst>
            </p:cNvPr>
            <p:cNvSpPr/>
            <p:nvPr/>
          </p:nvSpPr>
          <p:spPr>
            <a:xfrm>
              <a:off x="5252577" y="2111327"/>
              <a:ext cx="1793564" cy="679496"/>
            </a:xfrm>
            <a:prstGeom prst="rect">
              <a:avLst/>
            </a:prstGeom>
            <a:solidFill>
              <a:schemeClr val="bg1"/>
            </a:solidFill>
            <a:ln w="3175">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eaLnBrk="1" fontAlgn="auto" hangingPunct="1">
                <a:spcBef>
                  <a:spcPts val="0"/>
                </a:spcBef>
                <a:spcAft>
                  <a:spcPts val="0"/>
                </a:spcAft>
                <a:defRPr/>
              </a:pPr>
              <a:r>
                <a:rPr lang="en-GB" sz="960" b="1">
                  <a:solidFill>
                    <a:srgbClr val="333333"/>
                  </a:solidFill>
                  <a:latin typeface="Avenir Next LT Pro"/>
                </a:rPr>
                <a:t>BIOPHARMA DRUG DEVELOPERS</a:t>
              </a:r>
            </a:p>
          </p:txBody>
        </p:sp>
      </p:grpSp>
      <p:sp>
        <p:nvSpPr>
          <p:cNvPr id="23" name="Rectangle 22">
            <a:extLst>
              <a:ext uri="{FF2B5EF4-FFF2-40B4-BE49-F238E27FC236}">
                <a16:creationId xmlns:a16="http://schemas.microsoft.com/office/drawing/2014/main" id="{D85C2DDC-F798-4EAE-9F0B-B4A1C71E4099}"/>
              </a:ext>
            </a:extLst>
          </p:cNvPr>
          <p:cNvSpPr/>
          <p:nvPr/>
        </p:nvSpPr>
        <p:spPr>
          <a:xfrm rot="16200000">
            <a:off x="426839" y="1732852"/>
            <a:ext cx="1190621" cy="240066"/>
          </a:xfrm>
          <a:prstGeom prst="rect">
            <a:avLst/>
          </a:prstGeom>
        </p:spPr>
        <p:txBody>
          <a:bodyPr wrap="square">
            <a:spAutoFit/>
          </a:bodyPr>
          <a:lstStyle/>
          <a:p>
            <a:pPr algn="ctr" defTabSz="1097280" eaLnBrk="1" fontAlgn="auto" hangingPunct="1">
              <a:spcBef>
                <a:spcPts val="0"/>
              </a:spcBef>
              <a:spcAft>
                <a:spcPts val="0"/>
              </a:spcAft>
              <a:defRPr/>
            </a:pPr>
            <a:r>
              <a:rPr lang="en-GB" sz="960" b="1">
                <a:solidFill>
                  <a:srgbClr val="333333"/>
                </a:solidFill>
                <a:latin typeface="Avenir Next LT Pro"/>
              </a:rPr>
              <a:t>Segment</a:t>
            </a:r>
          </a:p>
        </p:txBody>
      </p:sp>
      <p:sp>
        <p:nvSpPr>
          <p:cNvPr id="24" name="Isosceles Triangle 23">
            <a:extLst>
              <a:ext uri="{FF2B5EF4-FFF2-40B4-BE49-F238E27FC236}">
                <a16:creationId xmlns:a16="http://schemas.microsoft.com/office/drawing/2014/main" id="{966E6C74-ACB4-4F57-BEBF-54E7014C38ED}"/>
              </a:ext>
            </a:extLst>
          </p:cNvPr>
          <p:cNvSpPr/>
          <p:nvPr/>
        </p:nvSpPr>
        <p:spPr>
          <a:xfrm rot="10800000">
            <a:off x="1305910" y="2304470"/>
            <a:ext cx="9229656" cy="21579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endParaRPr lang="en-GB" sz="1080">
              <a:solidFill>
                <a:srgbClr val="FFFFFF"/>
              </a:solidFill>
              <a:latin typeface="Calibri" panose="020F0502020204030204"/>
            </a:endParaRPr>
          </a:p>
        </p:txBody>
      </p:sp>
      <p:grpSp>
        <p:nvGrpSpPr>
          <p:cNvPr id="28" name="Group 27">
            <a:extLst>
              <a:ext uri="{FF2B5EF4-FFF2-40B4-BE49-F238E27FC236}">
                <a16:creationId xmlns:a16="http://schemas.microsoft.com/office/drawing/2014/main" id="{AC4872D3-F6F3-431B-B6E9-B167BE0503BD}"/>
              </a:ext>
            </a:extLst>
          </p:cNvPr>
          <p:cNvGrpSpPr/>
          <p:nvPr/>
        </p:nvGrpSpPr>
        <p:grpSpPr>
          <a:xfrm>
            <a:off x="2889427" y="1577913"/>
            <a:ext cx="1375795" cy="413629"/>
            <a:chOff x="4925358" y="2111329"/>
            <a:chExt cx="2120785" cy="679496"/>
          </a:xfrm>
        </p:grpSpPr>
        <p:sp>
          <p:nvSpPr>
            <p:cNvPr id="29" name="Rectangle 28">
              <a:extLst>
                <a:ext uri="{FF2B5EF4-FFF2-40B4-BE49-F238E27FC236}">
                  <a16:creationId xmlns:a16="http://schemas.microsoft.com/office/drawing/2014/main" id="{D9D1E542-AFCF-43F3-82B6-58FBC407D3DD}"/>
                </a:ext>
              </a:extLst>
            </p:cNvPr>
            <p:cNvSpPr/>
            <p:nvPr/>
          </p:nvSpPr>
          <p:spPr>
            <a:xfrm>
              <a:off x="4925358" y="2111329"/>
              <a:ext cx="297521" cy="6794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r>
                <a:rPr lang="en-GB" sz="960" b="1">
                  <a:solidFill>
                    <a:srgbClr val="FFFFFF"/>
                  </a:solidFill>
                  <a:latin typeface="Avenir Next LT Pro"/>
                </a:rPr>
                <a:t>2</a:t>
              </a:r>
            </a:p>
          </p:txBody>
        </p:sp>
        <p:sp>
          <p:nvSpPr>
            <p:cNvPr id="30" name="Rectangle 29">
              <a:extLst>
                <a:ext uri="{FF2B5EF4-FFF2-40B4-BE49-F238E27FC236}">
                  <a16:creationId xmlns:a16="http://schemas.microsoft.com/office/drawing/2014/main" id="{2827745D-53D9-4838-8B63-A6FA897F2D7C}"/>
                </a:ext>
              </a:extLst>
            </p:cNvPr>
            <p:cNvSpPr/>
            <p:nvPr/>
          </p:nvSpPr>
          <p:spPr>
            <a:xfrm>
              <a:off x="5252578" y="2111329"/>
              <a:ext cx="1793565" cy="679496"/>
            </a:xfrm>
            <a:prstGeom prst="rect">
              <a:avLst/>
            </a:prstGeom>
            <a:solidFill>
              <a:schemeClr val="bg1"/>
            </a:solidFill>
            <a:ln w="3175">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eaLnBrk="1" fontAlgn="auto" hangingPunct="1">
                <a:spcBef>
                  <a:spcPts val="0"/>
                </a:spcBef>
                <a:spcAft>
                  <a:spcPts val="0"/>
                </a:spcAft>
                <a:defRPr/>
              </a:pPr>
              <a:r>
                <a:rPr lang="en-GB" sz="960" b="1">
                  <a:solidFill>
                    <a:srgbClr val="333333"/>
                  </a:solidFill>
                  <a:latin typeface="Avenir Next LT Pro"/>
                </a:rPr>
                <a:t>BIOPHARMA CDMOs</a:t>
              </a:r>
            </a:p>
          </p:txBody>
        </p:sp>
      </p:grpSp>
      <p:grpSp>
        <p:nvGrpSpPr>
          <p:cNvPr id="31" name="Group 30">
            <a:extLst>
              <a:ext uri="{FF2B5EF4-FFF2-40B4-BE49-F238E27FC236}">
                <a16:creationId xmlns:a16="http://schemas.microsoft.com/office/drawing/2014/main" id="{E984E1D4-8764-4196-8CBA-FEF13D2A46DD}"/>
              </a:ext>
            </a:extLst>
          </p:cNvPr>
          <p:cNvGrpSpPr/>
          <p:nvPr/>
        </p:nvGrpSpPr>
        <p:grpSpPr>
          <a:xfrm>
            <a:off x="4614163" y="1577914"/>
            <a:ext cx="1375795" cy="413629"/>
            <a:chOff x="4925358" y="2111329"/>
            <a:chExt cx="2120785" cy="679496"/>
          </a:xfrm>
        </p:grpSpPr>
        <p:sp>
          <p:nvSpPr>
            <p:cNvPr id="32" name="Rectangle 31">
              <a:extLst>
                <a:ext uri="{FF2B5EF4-FFF2-40B4-BE49-F238E27FC236}">
                  <a16:creationId xmlns:a16="http://schemas.microsoft.com/office/drawing/2014/main" id="{4CB67F00-620C-4842-BDA9-D8E2E0185A8A}"/>
                </a:ext>
              </a:extLst>
            </p:cNvPr>
            <p:cNvSpPr/>
            <p:nvPr/>
          </p:nvSpPr>
          <p:spPr>
            <a:xfrm>
              <a:off x="4925358" y="2111329"/>
              <a:ext cx="297521" cy="6794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r>
                <a:rPr lang="en-GB" sz="960" b="1">
                  <a:solidFill>
                    <a:srgbClr val="FFFFFF"/>
                  </a:solidFill>
                  <a:latin typeface="Avenir Next LT Pro"/>
                </a:rPr>
                <a:t>3</a:t>
              </a:r>
            </a:p>
          </p:txBody>
        </p:sp>
        <p:sp>
          <p:nvSpPr>
            <p:cNvPr id="33" name="Rectangle 32">
              <a:extLst>
                <a:ext uri="{FF2B5EF4-FFF2-40B4-BE49-F238E27FC236}">
                  <a16:creationId xmlns:a16="http://schemas.microsoft.com/office/drawing/2014/main" id="{4D88C14A-7FCD-49EA-9880-28EA0BD2985B}"/>
                </a:ext>
              </a:extLst>
            </p:cNvPr>
            <p:cNvSpPr/>
            <p:nvPr/>
          </p:nvSpPr>
          <p:spPr>
            <a:xfrm>
              <a:off x="5252578" y="2111329"/>
              <a:ext cx="1793565" cy="679496"/>
            </a:xfrm>
            <a:prstGeom prst="rect">
              <a:avLst/>
            </a:prstGeom>
            <a:solidFill>
              <a:schemeClr val="bg1"/>
            </a:solidFill>
            <a:ln w="3175">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eaLnBrk="1" fontAlgn="auto" hangingPunct="1">
                <a:spcBef>
                  <a:spcPts val="0"/>
                </a:spcBef>
                <a:spcAft>
                  <a:spcPts val="0"/>
                </a:spcAft>
                <a:defRPr/>
              </a:pPr>
              <a:r>
                <a:rPr lang="en-GB" sz="960" b="1">
                  <a:solidFill>
                    <a:srgbClr val="333333"/>
                  </a:solidFill>
                  <a:latin typeface="Avenir Next LT Pro"/>
                </a:rPr>
                <a:t>SMALL MOLECULE</a:t>
              </a:r>
            </a:p>
          </p:txBody>
        </p:sp>
      </p:grpSp>
      <p:grpSp>
        <p:nvGrpSpPr>
          <p:cNvPr id="34" name="Group 33">
            <a:extLst>
              <a:ext uri="{FF2B5EF4-FFF2-40B4-BE49-F238E27FC236}">
                <a16:creationId xmlns:a16="http://schemas.microsoft.com/office/drawing/2014/main" id="{CC9054A0-BD83-4F19-8DFA-1AED55452DC7}"/>
              </a:ext>
            </a:extLst>
          </p:cNvPr>
          <p:cNvGrpSpPr/>
          <p:nvPr/>
        </p:nvGrpSpPr>
        <p:grpSpPr>
          <a:xfrm>
            <a:off x="7926779" y="1577916"/>
            <a:ext cx="1375795" cy="413629"/>
            <a:chOff x="4925358" y="2111329"/>
            <a:chExt cx="2120785" cy="679496"/>
          </a:xfrm>
        </p:grpSpPr>
        <p:sp>
          <p:nvSpPr>
            <p:cNvPr id="35" name="Rectangle 34">
              <a:extLst>
                <a:ext uri="{FF2B5EF4-FFF2-40B4-BE49-F238E27FC236}">
                  <a16:creationId xmlns:a16="http://schemas.microsoft.com/office/drawing/2014/main" id="{BA4D84F9-60A9-4DEB-86DE-D650911BDF3E}"/>
                </a:ext>
              </a:extLst>
            </p:cNvPr>
            <p:cNvSpPr/>
            <p:nvPr/>
          </p:nvSpPr>
          <p:spPr>
            <a:xfrm>
              <a:off x="4925358" y="2111329"/>
              <a:ext cx="297521" cy="6794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r>
                <a:rPr lang="en-GB" sz="960" b="1">
                  <a:solidFill>
                    <a:srgbClr val="FFFFFF"/>
                  </a:solidFill>
                  <a:latin typeface="Avenir Next LT Pro"/>
                </a:rPr>
                <a:t>5</a:t>
              </a:r>
            </a:p>
          </p:txBody>
        </p:sp>
        <p:sp>
          <p:nvSpPr>
            <p:cNvPr id="36" name="Rectangle 35">
              <a:extLst>
                <a:ext uri="{FF2B5EF4-FFF2-40B4-BE49-F238E27FC236}">
                  <a16:creationId xmlns:a16="http://schemas.microsoft.com/office/drawing/2014/main" id="{9871B8C1-6A42-4C02-8F1E-8BF34FDADD28}"/>
                </a:ext>
              </a:extLst>
            </p:cNvPr>
            <p:cNvSpPr/>
            <p:nvPr/>
          </p:nvSpPr>
          <p:spPr>
            <a:xfrm>
              <a:off x="5252578" y="2111329"/>
              <a:ext cx="1793565" cy="679496"/>
            </a:xfrm>
            <a:prstGeom prst="rect">
              <a:avLst/>
            </a:prstGeom>
            <a:solidFill>
              <a:schemeClr val="bg1"/>
            </a:solidFill>
            <a:ln w="3175">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eaLnBrk="1" fontAlgn="auto" hangingPunct="1">
                <a:spcBef>
                  <a:spcPts val="0"/>
                </a:spcBef>
                <a:spcAft>
                  <a:spcPts val="0"/>
                </a:spcAft>
                <a:defRPr/>
              </a:pPr>
              <a:r>
                <a:rPr lang="en-GB" sz="960" b="1">
                  <a:solidFill>
                    <a:srgbClr val="333333"/>
                  </a:solidFill>
                  <a:latin typeface="Avenir Next LT Pro"/>
                </a:rPr>
                <a:t>FOOD PRODUCTION</a:t>
              </a:r>
            </a:p>
          </p:txBody>
        </p:sp>
      </p:grpSp>
      <p:grpSp>
        <p:nvGrpSpPr>
          <p:cNvPr id="37" name="Group 36">
            <a:extLst>
              <a:ext uri="{FF2B5EF4-FFF2-40B4-BE49-F238E27FC236}">
                <a16:creationId xmlns:a16="http://schemas.microsoft.com/office/drawing/2014/main" id="{5E63D253-E0AB-4FD5-8E6D-4A7BAFBFA2AB}"/>
              </a:ext>
            </a:extLst>
          </p:cNvPr>
          <p:cNvGrpSpPr/>
          <p:nvPr/>
        </p:nvGrpSpPr>
        <p:grpSpPr>
          <a:xfrm>
            <a:off x="9599283" y="1577917"/>
            <a:ext cx="1375795" cy="413629"/>
            <a:chOff x="4925358" y="2111329"/>
            <a:chExt cx="2120785" cy="679496"/>
          </a:xfrm>
        </p:grpSpPr>
        <p:sp>
          <p:nvSpPr>
            <p:cNvPr id="38" name="Rectangle 37">
              <a:extLst>
                <a:ext uri="{FF2B5EF4-FFF2-40B4-BE49-F238E27FC236}">
                  <a16:creationId xmlns:a16="http://schemas.microsoft.com/office/drawing/2014/main" id="{1C956772-F5D5-4B78-8996-75D0D83FB18F}"/>
                </a:ext>
              </a:extLst>
            </p:cNvPr>
            <p:cNvSpPr/>
            <p:nvPr/>
          </p:nvSpPr>
          <p:spPr>
            <a:xfrm>
              <a:off x="4925358" y="2111329"/>
              <a:ext cx="297521" cy="67949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r>
                <a:rPr lang="en-GB" sz="960" b="1">
                  <a:solidFill>
                    <a:srgbClr val="FFFFFF"/>
                  </a:solidFill>
                  <a:latin typeface="Avenir Next LT Pro"/>
                </a:rPr>
                <a:t>6</a:t>
              </a:r>
            </a:p>
          </p:txBody>
        </p:sp>
        <p:sp>
          <p:nvSpPr>
            <p:cNvPr id="39" name="Rectangle 38">
              <a:extLst>
                <a:ext uri="{FF2B5EF4-FFF2-40B4-BE49-F238E27FC236}">
                  <a16:creationId xmlns:a16="http://schemas.microsoft.com/office/drawing/2014/main" id="{4BBF231A-C72F-4323-B20D-9392A0468592}"/>
                </a:ext>
              </a:extLst>
            </p:cNvPr>
            <p:cNvSpPr/>
            <p:nvPr/>
          </p:nvSpPr>
          <p:spPr>
            <a:xfrm>
              <a:off x="5252578" y="2111329"/>
              <a:ext cx="1793565" cy="679496"/>
            </a:xfrm>
            <a:prstGeom prst="rect">
              <a:avLst/>
            </a:prstGeom>
            <a:solidFill>
              <a:schemeClr val="bg1"/>
            </a:solidFill>
            <a:ln w="3175">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eaLnBrk="1" fontAlgn="auto" hangingPunct="1">
                <a:spcBef>
                  <a:spcPts val="0"/>
                </a:spcBef>
                <a:spcAft>
                  <a:spcPts val="0"/>
                </a:spcAft>
                <a:defRPr/>
              </a:pPr>
              <a:r>
                <a:rPr lang="en-GB" sz="960" b="1">
                  <a:solidFill>
                    <a:srgbClr val="333333"/>
                  </a:solidFill>
                  <a:latin typeface="Avenir Next LT Pro"/>
                </a:rPr>
                <a:t>HEALTHCARE</a:t>
              </a:r>
            </a:p>
          </p:txBody>
        </p:sp>
      </p:grpSp>
      <p:sp>
        <p:nvSpPr>
          <p:cNvPr id="40" name="Rectangle 39">
            <a:extLst>
              <a:ext uri="{FF2B5EF4-FFF2-40B4-BE49-F238E27FC236}">
                <a16:creationId xmlns:a16="http://schemas.microsoft.com/office/drawing/2014/main" id="{AA42A092-2F94-42A1-AFC2-9545B5F94EB0}"/>
              </a:ext>
            </a:extLst>
          </p:cNvPr>
          <p:cNvSpPr/>
          <p:nvPr/>
        </p:nvSpPr>
        <p:spPr>
          <a:xfrm>
            <a:off x="1196508" y="2603383"/>
            <a:ext cx="1375795" cy="530285"/>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Ins="345600" rtlCol="0" anchor="ctr"/>
          <a:lstStyle/>
          <a:p>
            <a:pPr defTabSz="1097280" eaLnBrk="1" fontAlgn="auto" hangingPunct="1">
              <a:spcBef>
                <a:spcPts val="0"/>
              </a:spcBef>
              <a:spcAft>
                <a:spcPts val="0"/>
              </a:spcAft>
              <a:defRPr/>
            </a:pPr>
            <a:r>
              <a:rPr lang="en-GB" sz="960" b="1">
                <a:solidFill>
                  <a:srgbClr val="333333"/>
                </a:solidFill>
                <a:latin typeface="Avenir Next LT Pro"/>
              </a:rPr>
              <a:t>HUNT &amp; FISH</a:t>
            </a:r>
          </a:p>
        </p:txBody>
      </p:sp>
      <p:sp>
        <p:nvSpPr>
          <p:cNvPr id="45" name="Rectangle 44">
            <a:extLst>
              <a:ext uri="{FF2B5EF4-FFF2-40B4-BE49-F238E27FC236}">
                <a16:creationId xmlns:a16="http://schemas.microsoft.com/office/drawing/2014/main" id="{D8B0B1FC-A92B-442C-8A1F-684C8962713E}"/>
              </a:ext>
            </a:extLst>
          </p:cNvPr>
          <p:cNvSpPr/>
          <p:nvPr/>
        </p:nvSpPr>
        <p:spPr>
          <a:xfrm>
            <a:off x="1196508" y="3250898"/>
            <a:ext cx="1375795" cy="2029188"/>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F5F5F5">
                    <a:lumMod val="10000"/>
                  </a:srgbClr>
                </a:solidFill>
                <a:latin typeface="Avenir Next LT Pro"/>
              </a:rPr>
              <a:t>Biopharma division of large pharmaceuticals</a:t>
            </a:r>
          </a:p>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333333"/>
                </a:solidFill>
                <a:latin typeface="Avenir Next LT Pro"/>
              </a:rPr>
              <a:t>Emerging biopharma companies</a:t>
            </a:r>
          </a:p>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333333"/>
                </a:solidFill>
                <a:latin typeface="Avenir Next LT Pro"/>
              </a:rPr>
              <a:t>Developers of C&amp;G therapies, new vaccine technologies, antibodies and other biologics</a:t>
            </a:r>
          </a:p>
        </p:txBody>
      </p:sp>
      <p:sp>
        <p:nvSpPr>
          <p:cNvPr id="46" name="Rectangle 45">
            <a:extLst>
              <a:ext uri="{FF2B5EF4-FFF2-40B4-BE49-F238E27FC236}">
                <a16:creationId xmlns:a16="http://schemas.microsoft.com/office/drawing/2014/main" id="{5377CA63-BE6B-4C07-AD5F-A4FE10ACF0FE}"/>
              </a:ext>
            </a:extLst>
          </p:cNvPr>
          <p:cNvSpPr/>
          <p:nvPr/>
        </p:nvSpPr>
        <p:spPr>
          <a:xfrm>
            <a:off x="2888299" y="3250898"/>
            <a:ext cx="1374612" cy="2029188"/>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F5F5F5">
                    <a:lumMod val="10000"/>
                  </a:srgbClr>
                </a:solidFill>
                <a:latin typeface="Avenir Next LT Pro"/>
              </a:rPr>
              <a:t>CDMOs with biologics capabilities</a:t>
            </a:r>
          </a:p>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F5F5F5">
                    <a:lumMod val="10000"/>
                  </a:srgbClr>
                </a:solidFill>
                <a:latin typeface="Avenir Next LT Pro"/>
              </a:rPr>
              <a:t>Specialty Cell &amp; Gene facilities</a:t>
            </a:r>
          </a:p>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F5F5F5">
                    <a:lumMod val="10000"/>
                  </a:srgbClr>
                </a:solidFill>
                <a:latin typeface="Avenir Next LT Pro"/>
              </a:rPr>
              <a:t>CDMOs with global reach / key markets</a:t>
            </a:r>
          </a:p>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F5F5F5">
                    <a:lumMod val="10000"/>
                  </a:srgbClr>
                </a:solidFill>
                <a:latin typeface="Avenir Next LT Pro"/>
              </a:rPr>
              <a:t>More heavy on manufacturing (CMOs)</a:t>
            </a:r>
          </a:p>
        </p:txBody>
      </p:sp>
      <p:sp>
        <p:nvSpPr>
          <p:cNvPr id="47" name="Rectangle 46">
            <a:extLst>
              <a:ext uri="{FF2B5EF4-FFF2-40B4-BE49-F238E27FC236}">
                <a16:creationId xmlns:a16="http://schemas.microsoft.com/office/drawing/2014/main" id="{6066E639-A780-41AE-B9FA-CBB04DE3ED0B}"/>
              </a:ext>
            </a:extLst>
          </p:cNvPr>
          <p:cNvSpPr/>
          <p:nvPr/>
        </p:nvSpPr>
        <p:spPr>
          <a:xfrm>
            <a:off x="4611858" y="3250898"/>
            <a:ext cx="1382616" cy="2029188"/>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F5F5F5">
                    <a:lumMod val="10000"/>
                  </a:srgbClr>
                </a:solidFill>
                <a:latin typeface="Avenir Next LT Pro"/>
              </a:rPr>
              <a:t>Large pharmaceutical companies in key markets</a:t>
            </a:r>
          </a:p>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F5F5F5">
                    <a:lumMod val="10000"/>
                  </a:srgbClr>
                </a:solidFill>
                <a:latin typeface="Avenir Next LT Pro"/>
              </a:rPr>
              <a:t>Focus on oncology related molecules</a:t>
            </a:r>
          </a:p>
        </p:txBody>
      </p:sp>
      <p:sp>
        <p:nvSpPr>
          <p:cNvPr id="48" name="Rectangle 47">
            <a:extLst>
              <a:ext uri="{FF2B5EF4-FFF2-40B4-BE49-F238E27FC236}">
                <a16:creationId xmlns:a16="http://schemas.microsoft.com/office/drawing/2014/main" id="{996FCF1F-F7B2-4B60-8D79-AF0006B0BABF}"/>
              </a:ext>
            </a:extLst>
          </p:cNvPr>
          <p:cNvSpPr/>
          <p:nvPr/>
        </p:nvSpPr>
        <p:spPr>
          <a:xfrm>
            <a:off x="7926780" y="3250898"/>
            <a:ext cx="1370424" cy="2029188"/>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F5F5F5">
                    <a:lumMod val="10000"/>
                  </a:srgbClr>
                </a:solidFill>
                <a:latin typeface="Avenir Next LT Pro"/>
              </a:rPr>
              <a:t>Large food production companies in key markets</a:t>
            </a:r>
          </a:p>
        </p:txBody>
      </p:sp>
      <p:sp>
        <p:nvSpPr>
          <p:cNvPr id="49" name="Rectangle 48">
            <a:extLst>
              <a:ext uri="{FF2B5EF4-FFF2-40B4-BE49-F238E27FC236}">
                <a16:creationId xmlns:a16="http://schemas.microsoft.com/office/drawing/2014/main" id="{7D0C1099-8BD2-457C-AFE2-10CF638BA42B}"/>
              </a:ext>
            </a:extLst>
          </p:cNvPr>
          <p:cNvSpPr/>
          <p:nvPr/>
        </p:nvSpPr>
        <p:spPr>
          <a:xfrm>
            <a:off x="9599281" y="3250898"/>
            <a:ext cx="1375798" cy="2029188"/>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F5F5F5">
                    <a:lumMod val="10000"/>
                  </a:srgbClr>
                </a:solidFill>
                <a:latin typeface="Avenir Next LT Pro"/>
              </a:rPr>
              <a:t>Large healthcare providers in key markets</a:t>
            </a:r>
          </a:p>
        </p:txBody>
      </p:sp>
      <p:sp>
        <p:nvSpPr>
          <p:cNvPr id="54" name="Rectangle 53">
            <a:extLst>
              <a:ext uri="{FF2B5EF4-FFF2-40B4-BE49-F238E27FC236}">
                <a16:creationId xmlns:a16="http://schemas.microsoft.com/office/drawing/2014/main" id="{32772EA7-D069-4666-8660-22F31CC25F8B}"/>
              </a:ext>
            </a:extLst>
          </p:cNvPr>
          <p:cNvSpPr/>
          <p:nvPr/>
        </p:nvSpPr>
        <p:spPr>
          <a:xfrm>
            <a:off x="2888299" y="5420474"/>
            <a:ext cx="1374613" cy="6299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r>
              <a:rPr lang="en-US" sz="1080" b="1">
                <a:solidFill>
                  <a:srgbClr val="FFFFFF"/>
                </a:solidFill>
                <a:latin typeface="Avenir Next LT Pro"/>
              </a:rPr>
              <a:t>BECOME “PREFERRED PARTNER”</a:t>
            </a:r>
          </a:p>
        </p:txBody>
      </p:sp>
      <p:sp>
        <p:nvSpPr>
          <p:cNvPr id="55" name="Rectangle 54">
            <a:extLst>
              <a:ext uri="{FF2B5EF4-FFF2-40B4-BE49-F238E27FC236}">
                <a16:creationId xmlns:a16="http://schemas.microsoft.com/office/drawing/2014/main" id="{F5EC2629-9D1D-4D05-84B0-82EBDA6C22EA}"/>
              </a:ext>
            </a:extLst>
          </p:cNvPr>
          <p:cNvSpPr/>
          <p:nvPr/>
        </p:nvSpPr>
        <p:spPr>
          <a:xfrm>
            <a:off x="1196508" y="5420474"/>
            <a:ext cx="1375796" cy="6299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r>
              <a:rPr lang="en-US" sz="1080" b="1">
                <a:solidFill>
                  <a:srgbClr val="FFFFFF"/>
                </a:solidFill>
                <a:latin typeface="Avenir Next LT Pro"/>
              </a:rPr>
              <a:t>BECOME “ADVISOR”</a:t>
            </a:r>
          </a:p>
        </p:txBody>
      </p:sp>
      <p:sp>
        <p:nvSpPr>
          <p:cNvPr id="56" name="Rectangle 55">
            <a:extLst>
              <a:ext uri="{FF2B5EF4-FFF2-40B4-BE49-F238E27FC236}">
                <a16:creationId xmlns:a16="http://schemas.microsoft.com/office/drawing/2014/main" id="{03E02EBA-30B1-427E-A494-7F6F335B4D72}"/>
              </a:ext>
            </a:extLst>
          </p:cNvPr>
          <p:cNvSpPr/>
          <p:nvPr/>
        </p:nvSpPr>
        <p:spPr>
          <a:xfrm>
            <a:off x="4611858" y="5420474"/>
            <a:ext cx="1382617" cy="6299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r>
              <a:rPr lang="en-US" sz="1080" b="1" dirty="0">
                <a:solidFill>
                  <a:srgbClr val="FFFFFF"/>
                </a:solidFill>
                <a:latin typeface="Avenir Next LT Pro"/>
              </a:rPr>
              <a:t>STAY “FRIENDS ”</a:t>
            </a:r>
          </a:p>
        </p:txBody>
      </p:sp>
      <p:sp>
        <p:nvSpPr>
          <p:cNvPr id="57" name="Rectangle 56">
            <a:extLst>
              <a:ext uri="{FF2B5EF4-FFF2-40B4-BE49-F238E27FC236}">
                <a16:creationId xmlns:a16="http://schemas.microsoft.com/office/drawing/2014/main" id="{C2EC828E-7E35-4AED-8EE4-DE87F97BB8D6}"/>
              </a:ext>
            </a:extLst>
          </p:cNvPr>
          <p:cNvSpPr/>
          <p:nvPr/>
        </p:nvSpPr>
        <p:spPr>
          <a:xfrm>
            <a:off x="7926780" y="5420474"/>
            <a:ext cx="1370425" cy="6299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r>
              <a:rPr lang="en-US" sz="1080" b="1">
                <a:solidFill>
                  <a:srgbClr val="FFFFFF"/>
                </a:solidFill>
                <a:latin typeface="Avenir Next LT Pro"/>
              </a:rPr>
              <a:t>STAY ”TRUSTED PROVIDER”</a:t>
            </a:r>
          </a:p>
        </p:txBody>
      </p:sp>
      <p:sp>
        <p:nvSpPr>
          <p:cNvPr id="58" name="Rectangle 57">
            <a:extLst>
              <a:ext uri="{FF2B5EF4-FFF2-40B4-BE49-F238E27FC236}">
                <a16:creationId xmlns:a16="http://schemas.microsoft.com/office/drawing/2014/main" id="{9B9B9F55-E7D5-4AE5-9AAE-5B602380A1BE}"/>
              </a:ext>
            </a:extLst>
          </p:cNvPr>
          <p:cNvSpPr/>
          <p:nvPr/>
        </p:nvSpPr>
        <p:spPr>
          <a:xfrm>
            <a:off x="9599281" y="5420474"/>
            <a:ext cx="1375799" cy="6299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r>
              <a:rPr lang="en-US" sz="1080" b="1">
                <a:solidFill>
                  <a:srgbClr val="FFFFFF"/>
                </a:solidFill>
                <a:latin typeface="Avenir Next LT Pro"/>
              </a:rPr>
              <a:t>STAY ”TRUSTED PROVIDER”</a:t>
            </a:r>
          </a:p>
        </p:txBody>
      </p:sp>
      <p:sp>
        <p:nvSpPr>
          <p:cNvPr id="50" name="Rectangle 49">
            <a:extLst>
              <a:ext uri="{FF2B5EF4-FFF2-40B4-BE49-F238E27FC236}">
                <a16:creationId xmlns:a16="http://schemas.microsoft.com/office/drawing/2014/main" id="{FD9A9DAE-DAFD-4BAD-ACB2-F4D2D23FA7BD}"/>
              </a:ext>
            </a:extLst>
          </p:cNvPr>
          <p:cNvSpPr/>
          <p:nvPr/>
        </p:nvSpPr>
        <p:spPr>
          <a:xfrm rot="16200000">
            <a:off x="426839" y="2744050"/>
            <a:ext cx="1190621" cy="240066"/>
          </a:xfrm>
          <a:prstGeom prst="rect">
            <a:avLst/>
          </a:prstGeom>
        </p:spPr>
        <p:txBody>
          <a:bodyPr wrap="square">
            <a:spAutoFit/>
          </a:bodyPr>
          <a:lstStyle/>
          <a:p>
            <a:pPr algn="ctr" defTabSz="1097280" eaLnBrk="1" fontAlgn="auto" hangingPunct="1">
              <a:spcBef>
                <a:spcPts val="0"/>
              </a:spcBef>
              <a:spcAft>
                <a:spcPts val="0"/>
              </a:spcAft>
              <a:defRPr/>
            </a:pPr>
            <a:r>
              <a:rPr lang="en-GB" sz="960" b="1">
                <a:solidFill>
                  <a:srgbClr val="333333"/>
                </a:solidFill>
                <a:latin typeface="Avenir Next LT Pro"/>
              </a:rPr>
              <a:t>Strategy</a:t>
            </a:r>
          </a:p>
        </p:txBody>
      </p:sp>
      <p:sp>
        <p:nvSpPr>
          <p:cNvPr id="51" name="Rectangle 50">
            <a:extLst>
              <a:ext uri="{FF2B5EF4-FFF2-40B4-BE49-F238E27FC236}">
                <a16:creationId xmlns:a16="http://schemas.microsoft.com/office/drawing/2014/main" id="{03EA5A89-FB5F-46BC-B57E-CFC4B5BB6036}"/>
              </a:ext>
            </a:extLst>
          </p:cNvPr>
          <p:cNvSpPr/>
          <p:nvPr/>
        </p:nvSpPr>
        <p:spPr>
          <a:xfrm rot="16200000">
            <a:off x="426839" y="5615401"/>
            <a:ext cx="1190621" cy="240066"/>
          </a:xfrm>
          <a:prstGeom prst="rect">
            <a:avLst/>
          </a:prstGeom>
        </p:spPr>
        <p:txBody>
          <a:bodyPr wrap="square">
            <a:spAutoFit/>
          </a:bodyPr>
          <a:lstStyle/>
          <a:p>
            <a:pPr algn="ctr" defTabSz="1097280" eaLnBrk="1" fontAlgn="auto" hangingPunct="1">
              <a:spcBef>
                <a:spcPts val="0"/>
              </a:spcBef>
              <a:spcAft>
                <a:spcPts val="0"/>
              </a:spcAft>
              <a:defRPr/>
            </a:pPr>
            <a:r>
              <a:rPr lang="en-GB" sz="960" b="1">
                <a:solidFill>
                  <a:srgbClr val="333333"/>
                </a:solidFill>
                <a:latin typeface="Avenir Next LT Pro"/>
              </a:rPr>
              <a:t>Goal</a:t>
            </a:r>
          </a:p>
        </p:txBody>
      </p:sp>
      <p:grpSp>
        <p:nvGrpSpPr>
          <p:cNvPr id="53" name="Groupe 394">
            <a:extLst>
              <a:ext uri="{FF2B5EF4-FFF2-40B4-BE49-F238E27FC236}">
                <a16:creationId xmlns:a16="http://schemas.microsoft.com/office/drawing/2014/main" id="{26B90387-95D2-4524-B27D-E491ECABEC36}"/>
              </a:ext>
            </a:extLst>
          </p:cNvPr>
          <p:cNvGrpSpPr/>
          <p:nvPr/>
        </p:nvGrpSpPr>
        <p:grpSpPr>
          <a:xfrm>
            <a:off x="2298305" y="2642702"/>
            <a:ext cx="206800" cy="208337"/>
            <a:chOff x="431801" y="5376863"/>
            <a:chExt cx="427037" cy="430212"/>
          </a:xfrm>
        </p:grpSpPr>
        <p:sp>
          <p:nvSpPr>
            <p:cNvPr id="60" name="Freeform 147">
              <a:extLst>
                <a:ext uri="{FF2B5EF4-FFF2-40B4-BE49-F238E27FC236}">
                  <a16:creationId xmlns:a16="http://schemas.microsoft.com/office/drawing/2014/main" id="{931ADC8E-5818-469B-9309-100F7D2B080C}"/>
                </a:ext>
              </a:extLst>
            </p:cNvPr>
            <p:cNvSpPr>
              <a:spLocks/>
            </p:cNvSpPr>
            <p:nvPr/>
          </p:nvSpPr>
          <p:spPr bwMode="auto">
            <a:xfrm>
              <a:off x="630238" y="5376863"/>
              <a:ext cx="228600" cy="217487"/>
            </a:xfrm>
            <a:custGeom>
              <a:avLst/>
              <a:gdLst/>
              <a:ahLst/>
              <a:cxnLst>
                <a:cxn ang="0">
                  <a:pos x="89" y="72"/>
                </a:cxn>
                <a:cxn ang="0">
                  <a:pos x="103" y="72"/>
                </a:cxn>
                <a:cxn ang="0">
                  <a:pos x="144" y="30"/>
                </a:cxn>
                <a:cxn ang="0">
                  <a:pos x="116" y="30"/>
                </a:cxn>
                <a:cxn ang="0">
                  <a:pos x="116" y="0"/>
                </a:cxn>
                <a:cxn ang="0">
                  <a:pos x="73" y="43"/>
                </a:cxn>
                <a:cxn ang="0">
                  <a:pos x="73" y="64"/>
                </a:cxn>
                <a:cxn ang="0">
                  <a:pos x="0" y="137"/>
                </a:cxn>
              </a:cxnLst>
              <a:rect l="0" t="0" r="r" b="b"/>
              <a:pathLst>
                <a:path w="144" h="137">
                  <a:moveTo>
                    <a:pt x="89" y="72"/>
                  </a:moveTo>
                  <a:lnTo>
                    <a:pt x="103" y="72"/>
                  </a:lnTo>
                  <a:lnTo>
                    <a:pt x="144" y="30"/>
                  </a:lnTo>
                  <a:lnTo>
                    <a:pt x="116" y="30"/>
                  </a:lnTo>
                  <a:lnTo>
                    <a:pt x="116" y="0"/>
                  </a:lnTo>
                  <a:lnTo>
                    <a:pt x="73" y="43"/>
                  </a:lnTo>
                  <a:lnTo>
                    <a:pt x="73" y="64"/>
                  </a:lnTo>
                  <a:lnTo>
                    <a:pt x="0" y="137"/>
                  </a:ln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61" name="Freeform 148">
              <a:extLst>
                <a:ext uri="{FF2B5EF4-FFF2-40B4-BE49-F238E27FC236}">
                  <a16:creationId xmlns:a16="http://schemas.microsoft.com/office/drawing/2014/main" id="{9F53E63B-665A-46CE-844A-4727542B84B3}"/>
                </a:ext>
              </a:extLst>
            </p:cNvPr>
            <p:cNvSpPr>
              <a:spLocks/>
            </p:cNvSpPr>
            <p:nvPr/>
          </p:nvSpPr>
          <p:spPr bwMode="auto">
            <a:xfrm>
              <a:off x="762001" y="5521325"/>
              <a:ext cx="1588" cy="1587"/>
            </a:xfrm>
            <a:custGeom>
              <a:avLst/>
              <a:gdLst/>
              <a:ahLst/>
              <a:cxnLst>
                <a:cxn ang="0">
                  <a:pos x="0" y="0"/>
                </a:cxn>
                <a:cxn ang="0">
                  <a:pos x="0" y="0"/>
                </a:cxn>
              </a:cxnLst>
              <a:rect l="0" t="0" r="r" b="b"/>
              <a:pathLst>
                <a:path>
                  <a:moveTo>
                    <a:pt x="0" y="0"/>
                  </a:moveTo>
                  <a:cubicBezTo>
                    <a:pt x="0" y="0"/>
                    <a:pt x="0" y="0"/>
                    <a:pt x="0" y="0"/>
                  </a:cubicBezTo>
                </a:path>
              </a:pathLst>
            </a:custGeom>
            <a:noFill/>
            <a:ln w="12700" cap="rnd">
              <a:solidFill>
                <a:schemeClr val="tx1"/>
              </a:solidFill>
              <a:prstDash val="solid"/>
              <a:bevel/>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62" name="Freeform 149">
              <a:extLst>
                <a:ext uri="{FF2B5EF4-FFF2-40B4-BE49-F238E27FC236}">
                  <a16:creationId xmlns:a16="http://schemas.microsoft.com/office/drawing/2014/main" id="{348069D9-10D2-475B-AF20-DEA25BE5F562}"/>
                </a:ext>
              </a:extLst>
            </p:cNvPr>
            <p:cNvSpPr>
              <a:spLocks/>
            </p:cNvSpPr>
            <p:nvPr/>
          </p:nvSpPr>
          <p:spPr bwMode="auto">
            <a:xfrm>
              <a:off x="585788" y="5594350"/>
              <a:ext cx="57150" cy="58737"/>
            </a:xfrm>
            <a:custGeom>
              <a:avLst/>
              <a:gdLst/>
              <a:ahLst/>
              <a:cxnLst>
                <a:cxn ang="0">
                  <a:pos x="16" y="1"/>
                </a:cxn>
                <a:cxn ang="0">
                  <a:pos x="12" y="0"/>
                </a:cxn>
                <a:cxn ang="0">
                  <a:pos x="0" y="11"/>
                </a:cxn>
                <a:cxn ang="0">
                  <a:pos x="12" y="23"/>
                </a:cxn>
                <a:cxn ang="0">
                  <a:pos x="23" y="11"/>
                </a:cxn>
                <a:cxn ang="0">
                  <a:pos x="22" y="7"/>
                </a:cxn>
              </a:cxnLst>
              <a:rect l="0" t="0" r="r" b="b"/>
              <a:pathLst>
                <a:path w="23" h="23">
                  <a:moveTo>
                    <a:pt x="16" y="1"/>
                  </a:moveTo>
                  <a:cubicBezTo>
                    <a:pt x="15" y="0"/>
                    <a:pt x="13" y="0"/>
                    <a:pt x="12" y="0"/>
                  </a:cubicBezTo>
                  <a:cubicBezTo>
                    <a:pt x="5" y="0"/>
                    <a:pt x="0" y="5"/>
                    <a:pt x="0" y="11"/>
                  </a:cubicBezTo>
                  <a:cubicBezTo>
                    <a:pt x="0" y="18"/>
                    <a:pt x="5" y="23"/>
                    <a:pt x="12" y="23"/>
                  </a:cubicBezTo>
                  <a:cubicBezTo>
                    <a:pt x="18" y="23"/>
                    <a:pt x="23" y="18"/>
                    <a:pt x="23" y="11"/>
                  </a:cubicBezTo>
                  <a:cubicBezTo>
                    <a:pt x="23" y="10"/>
                    <a:pt x="23" y="8"/>
                    <a:pt x="22" y="7"/>
                  </a:cubicBezTo>
                </a:path>
              </a:pathLst>
            </a:custGeom>
            <a:noFill/>
            <a:ln w="12700" cap="rnd">
              <a:solidFill>
                <a:schemeClr val="tx1"/>
              </a:solidFill>
              <a:prstDash val="solid"/>
              <a:bevel/>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63" name="Freeform 150">
              <a:extLst>
                <a:ext uri="{FF2B5EF4-FFF2-40B4-BE49-F238E27FC236}">
                  <a16:creationId xmlns:a16="http://schemas.microsoft.com/office/drawing/2014/main" id="{94A672D4-2FF8-43E2-9BED-FC5764B91A9A}"/>
                </a:ext>
              </a:extLst>
            </p:cNvPr>
            <p:cNvSpPr>
              <a:spLocks/>
            </p:cNvSpPr>
            <p:nvPr/>
          </p:nvSpPr>
          <p:spPr bwMode="auto">
            <a:xfrm>
              <a:off x="431801" y="5441950"/>
              <a:ext cx="361950" cy="365125"/>
            </a:xfrm>
            <a:custGeom>
              <a:avLst/>
              <a:gdLst/>
              <a:ahLst/>
              <a:cxnLst>
                <a:cxn ang="0">
                  <a:pos x="89" y="38"/>
                </a:cxn>
                <a:cxn ang="0">
                  <a:pos x="72" y="34"/>
                </a:cxn>
                <a:cxn ang="0">
                  <a:pos x="35" y="71"/>
                </a:cxn>
                <a:cxn ang="0">
                  <a:pos x="72" y="109"/>
                </a:cxn>
                <a:cxn ang="0">
                  <a:pos x="109" y="71"/>
                </a:cxn>
                <a:cxn ang="0">
                  <a:pos x="106" y="56"/>
                </a:cxn>
                <a:cxn ang="0">
                  <a:pos x="131" y="31"/>
                </a:cxn>
                <a:cxn ang="0">
                  <a:pos x="144" y="72"/>
                </a:cxn>
                <a:cxn ang="0">
                  <a:pos x="72" y="144"/>
                </a:cxn>
                <a:cxn ang="0">
                  <a:pos x="0" y="72"/>
                </a:cxn>
                <a:cxn ang="0">
                  <a:pos x="72" y="0"/>
                </a:cxn>
                <a:cxn ang="0">
                  <a:pos x="120" y="18"/>
                </a:cxn>
              </a:cxnLst>
              <a:rect l="0" t="0" r="r" b="b"/>
              <a:pathLst>
                <a:path w="144" h="144">
                  <a:moveTo>
                    <a:pt x="89" y="38"/>
                  </a:moveTo>
                  <a:cubicBezTo>
                    <a:pt x="84" y="36"/>
                    <a:pt x="78" y="34"/>
                    <a:pt x="72" y="34"/>
                  </a:cubicBezTo>
                  <a:cubicBezTo>
                    <a:pt x="51" y="34"/>
                    <a:pt x="35" y="51"/>
                    <a:pt x="35" y="71"/>
                  </a:cubicBezTo>
                  <a:cubicBezTo>
                    <a:pt x="35" y="92"/>
                    <a:pt x="51" y="109"/>
                    <a:pt x="72" y="109"/>
                  </a:cubicBezTo>
                  <a:cubicBezTo>
                    <a:pt x="92" y="109"/>
                    <a:pt x="109" y="92"/>
                    <a:pt x="109" y="71"/>
                  </a:cubicBezTo>
                  <a:cubicBezTo>
                    <a:pt x="109" y="66"/>
                    <a:pt x="108" y="61"/>
                    <a:pt x="106" y="56"/>
                  </a:cubicBezTo>
                  <a:cubicBezTo>
                    <a:pt x="131" y="31"/>
                    <a:pt x="131" y="31"/>
                    <a:pt x="131" y="31"/>
                  </a:cubicBezTo>
                  <a:cubicBezTo>
                    <a:pt x="139" y="43"/>
                    <a:pt x="144" y="57"/>
                    <a:pt x="144" y="72"/>
                  </a:cubicBezTo>
                  <a:cubicBezTo>
                    <a:pt x="144" y="112"/>
                    <a:pt x="112" y="144"/>
                    <a:pt x="72" y="144"/>
                  </a:cubicBezTo>
                  <a:cubicBezTo>
                    <a:pt x="32" y="144"/>
                    <a:pt x="0" y="112"/>
                    <a:pt x="0" y="72"/>
                  </a:cubicBezTo>
                  <a:cubicBezTo>
                    <a:pt x="0" y="32"/>
                    <a:pt x="32" y="0"/>
                    <a:pt x="72" y="0"/>
                  </a:cubicBezTo>
                  <a:cubicBezTo>
                    <a:pt x="91" y="0"/>
                    <a:pt x="107" y="7"/>
                    <a:pt x="120" y="18"/>
                  </a:cubicBezTo>
                </a:path>
              </a:pathLst>
            </a:custGeom>
            <a:noFill/>
            <a:ln w="12700" cap="rnd">
              <a:solidFill>
                <a:schemeClr val="tx1"/>
              </a:solidFill>
              <a:prstDash val="solid"/>
              <a:bevel/>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grpSp>
        <p:nvGrpSpPr>
          <p:cNvPr id="67" name="Groupe 397">
            <a:extLst>
              <a:ext uri="{FF2B5EF4-FFF2-40B4-BE49-F238E27FC236}">
                <a16:creationId xmlns:a16="http://schemas.microsoft.com/office/drawing/2014/main" id="{4561029D-1253-4E3C-A4D3-E70350D28722}"/>
              </a:ext>
            </a:extLst>
          </p:cNvPr>
          <p:cNvGrpSpPr/>
          <p:nvPr/>
        </p:nvGrpSpPr>
        <p:grpSpPr>
          <a:xfrm>
            <a:off x="2301277" y="2911551"/>
            <a:ext cx="224862" cy="187156"/>
            <a:chOff x="2589213" y="5373688"/>
            <a:chExt cx="520701" cy="433387"/>
          </a:xfrm>
        </p:grpSpPr>
        <p:sp>
          <p:nvSpPr>
            <p:cNvPr id="68" name="Freeform 151">
              <a:extLst>
                <a:ext uri="{FF2B5EF4-FFF2-40B4-BE49-F238E27FC236}">
                  <a16:creationId xmlns:a16="http://schemas.microsoft.com/office/drawing/2014/main" id="{FDC87AF8-9818-4583-90C5-35F7F714AA60}"/>
                </a:ext>
              </a:extLst>
            </p:cNvPr>
            <p:cNvSpPr>
              <a:spLocks/>
            </p:cNvSpPr>
            <p:nvPr/>
          </p:nvSpPr>
          <p:spPr bwMode="auto">
            <a:xfrm>
              <a:off x="2589213" y="5373688"/>
              <a:ext cx="296863" cy="330200"/>
            </a:xfrm>
            <a:custGeom>
              <a:avLst/>
              <a:gdLst/>
              <a:ahLst/>
              <a:cxnLst>
                <a:cxn ang="0">
                  <a:pos x="0" y="29"/>
                </a:cxn>
                <a:cxn ang="0">
                  <a:pos x="19" y="11"/>
                </a:cxn>
                <a:cxn ang="0">
                  <a:pos x="97" y="94"/>
                </a:cxn>
                <a:cxn ang="0">
                  <a:pos x="89" y="100"/>
                </a:cxn>
                <a:cxn ang="0">
                  <a:pos x="117" y="130"/>
                </a:cxn>
                <a:cxn ang="0">
                  <a:pos x="118" y="85"/>
                </a:cxn>
                <a:cxn ang="0">
                  <a:pos x="112" y="87"/>
                </a:cxn>
                <a:cxn ang="0">
                  <a:pos x="54" y="16"/>
                </a:cxn>
                <a:cxn ang="0">
                  <a:pos x="28" y="1"/>
                </a:cxn>
                <a:cxn ang="0">
                  <a:pos x="20" y="2"/>
                </a:cxn>
              </a:cxnLst>
              <a:rect l="0" t="0" r="r" b="b"/>
              <a:pathLst>
                <a:path w="118" h="130">
                  <a:moveTo>
                    <a:pt x="0" y="29"/>
                  </a:moveTo>
                  <a:cubicBezTo>
                    <a:pt x="0" y="29"/>
                    <a:pt x="4" y="9"/>
                    <a:pt x="19" y="11"/>
                  </a:cubicBezTo>
                  <a:cubicBezTo>
                    <a:pt x="49" y="16"/>
                    <a:pt x="97" y="94"/>
                    <a:pt x="97" y="94"/>
                  </a:cubicBezTo>
                  <a:cubicBezTo>
                    <a:pt x="89" y="100"/>
                    <a:pt x="89" y="100"/>
                    <a:pt x="89" y="100"/>
                  </a:cubicBezTo>
                  <a:cubicBezTo>
                    <a:pt x="117" y="130"/>
                    <a:pt x="117" y="130"/>
                    <a:pt x="117" y="130"/>
                  </a:cubicBezTo>
                  <a:cubicBezTo>
                    <a:pt x="118" y="85"/>
                    <a:pt x="118" y="85"/>
                    <a:pt x="118" y="85"/>
                  </a:cubicBezTo>
                  <a:cubicBezTo>
                    <a:pt x="112" y="87"/>
                    <a:pt x="112" y="87"/>
                    <a:pt x="112" y="87"/>
                  </a:cubicBezTo>
                  <a:cubicBezTo>
                    <a:pt x="112" y="87"/>
                    <a:pt x="75" y="34"/>
                    <a:pt x="54" y="16"/>
                  </a:cubicBezTo>
                  <a:cubicBezTo>
                    <a:pt x="43" y="5"/>
                    <a:pt x="34" y="0"/>
                    <a:pt x="28" y="1"/>
                  </a:cubicBezTo>
                  <a:cubicBezTo>
                    <a:pt x="23" y="1"/>
                    <a:pt x="20" y="2"/>
                    <a:pt x="20" y="2"/>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69" name="Freeform 152">
              <a:extLst>
                <a:ext uri="{FF2B5EF4-FFF2-40B4-BE49-F238E27FC236}">
                  <a16:creationId xmlns:a16="http://schemas.microsoft.com/office/drawing/2014/main" id="{4458C47C-BE16-424F-92FA-3C04C7F31BAF}"/>
                </a:ext>
              </a:extLst>
            </p:cNvPr>
            <p:cNvSpPr>
              <a:spLocks/>
            </p:cNvSpPr>
            <p:nvPr/>
          </p:nvSpPr>
          <p:spPr bwMode="auto">
            <a:xfrm>
              <a:off x="2752726" y="5653088"/>
              <a:ext cx="254000" cy="85725"/>
            </a:xfrm>
            <a:custGeom>
              <a:avLst/>
              <a:gdLst/>
              <a:ahLst/>
              <a:cxnLst>
                <a:cxn ang="0">
                  <a:pos x="80" y="0"/>
                </a:cxn>
                <a:cxn ang="0">
                  <a:pos x="101" y="15"/>
                </a:cxn>
                <a:cxn ang="0">
                  <a:pos x="50" y="34"/>
                </a:cxn>
                <a:cxn ang="0">
                  <a:pos x="0" y="15"/>
                </a:cxn>
                <a:cxn ang="0">
                  <a:pos x="17" y="1"/>
                </a:cxn>
              </a:cxnLst>
              <a:rect l="0" t="0" r="r" b="b"/>
              <a:pathLst>
                <a:path w="101" h="34">
                  <a:moveTo>
                    <a:pt x="80" y="0"/>
                  </a:moveTo>
                  <a:cubicBezTo>
                    <a:pt x="93" y="3"/>
                    <a:pt x="101" y="9"/>
                    <a:pt x="101" y="15"/>
                  </a:cubicBezTo>
                  <a:cubicBezTo>
                    <a:pt x="101" y="25"/>
                    <a:pt x="78" y="34"/>
                    <a:pt x="50" y="34"/>
                  </a:cubicBezTo>
                  <a:cubicBezTo>
                    <a:pt x="23" y="34"/>
                    <a:pt x="0" y="25"/>
                    <a:pt x="0" y="15"/>
                  </a:cubicBezTo>
                  <a:cubicBezTo>
                    <a:pt x="0" y="10"/>
                    <a:pt x="7" y="4"/>
                    <a:pt x="17" y="1"/>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70" name="Freeform 153">
              <a:extLst>
                <a:ext uri="{FF2B5EF4-FFF2-40B4-BE49-F238E27FC236}">
                  <a16:creationId xmlns:a16="http://schemas.microsoft.com/office/drawing/2014/main" id="{363E93D1-DEBE-4C7A-8BC8-687E2E6B7BD6}"/>
                </a:ext>
              </a:extLst>
            </p:cNvPr>
            <p:cNvSpPr>
              <a:spLocks/>
            </p:cNvSpPr>
            <p:nvPr/>
          </p:nvSpPr>
          <p:spPr bwMode="auto">
            <a:xfrm>
              <a:off x="2700338" y="5649913"/>
              <a:ext cx="354013" cy="119062"/>
            </a:xfrm>
            <a:custGeom>
              <a:avLst/>
              <a:gdLst/>
              <a:ahLst/>
              <a:cxnLst>
                <a:cxn ang="0">
                  <a:pos x="113" y="0"/>
                </a:cxn>
                <a:cxn ang="0">
                  <a:pos x="116" y="1"/>
                </a:cxn>
                <a:cxn ang="0">
                  <a:pos x="141" y="21"/>
                </a:cxn>
                <a:cxn ang="0">
                  <a:pos x="71" y="47"/>
                </a:cxn>
                <a:cxn ang="0">
                  <a:pos x="0" y="21"/>
                </a:cxn>
                <a:cxn ang="0">
                  <a:pos x="21" y="2"/>
                </a:cxn>
              </a:cxnLst>
              <a:rect l="0" t="0" r="r" b="b"/>
              <a:pathLst>
                <a:path w="141" h="47">
                  <a:moveTo>
                    <a:pt x="113" y="0"/>
                  </a:moveTo>
                  <a:cubicBezTo>
                    <a:pt x="114" y="0"/>
                    <a:pt x="116" y="0"/>
                    <a:pt x="116" y="1"/>
                  </a:cubicBezTo>
                  <a:cubicBezTo>
                    <a:pt x="132" y="6"/>
                    <a:pt x="141" y="13"/>
                    <a:pt x="141" y="21"/>
                  </a:cubicBezTo>
                  <a:cubicBezTo>
                    <a:pt x="141" y="36"/>
                    <a:pt x="110" y="47"/>
                    <a:pt x="71" y="47"/>
                  </a:cubicBezTo>
                  <a:cubicBezTo>
                    <a:pt x="32" y="47"/>
                    <a:pt x="0" y="36"/>
                    <a:pt x="0" y="21"/>
                  </a:cubicBezTo>
                  <a:cubicBezTo>
                    <a:pt x="0" y="14"/>
                    <a:pt x="8" y="7"/>
                    <a:pt x="21" y="2"/>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71" name="Freeform 154">
              <a:extLst>
                <a:ext uri="{FF2B5EF4-FFF2-40B4-BE49-F238E27FC236}">
                  <a16:creationId xmlns:a16="http://schemas.microsoft.com/office/drawing/2014/main" id="{329D9922-19D4-4726-B575-BFB0BAF38350}"/>
                </a:ext>
              </a:extLst>
            </p:cNvPr>
            <p:cNvSpPr>
              <a:spLocks/>
            </p:cNvSpPr>
            <p:nvPr/>
          </p:nvSpPr>
          <p:spPr bwMode="auto">
            <a:xfrm>
              <a:off x="2647951" y="5645150"/>
              <a:ext cx="461963" cy="161925"/>
            </a:xfrm>
            <a:custGeom>
              <a:avLst/>
              <a:gdLst/>
              <a:ahLst/>
              <a:cxnLst>
                <a:cxn ang="0">
                  <a:pos x="147" y="0"/>
                </a:cxn>
                <a:cxn ang="0">
                  <a:pos x="151" y="2"/>
                </a:cxn>
                <a:cxn ang="0">
                  <a:pos x="184" y="29"/>
                </a:cxn>
                <a:cxn ang="0">
                  <a:pos x="92" y="64"/>
                </a:cxn>
                <a:cxn ang="0">
                  <a:pos x="0" y="29"/>
                </a:cxn>
                <a:cxn ang="0">
                  <a:pos x="27" y="4"/>
                </a:cxn>
              </a:cxnLst>
              <a:rect l="0" t="0" r="r" b="b"/>
              <a:pathLst>
                <a:path w="184" h="64">
                  <a:moveTo>
                    <a:pt x="147" y="0"/>
                  </a:moveTo>
                  <a:cubicBezTo>
                    <a:pt x="148" y="0"/>
                    <a:pt x="150" y="1"/>
                    <a:pt x="151" y="2"/>
                  </a:cubicBezTo>
                  <a:cubicBezTo>
                    <a:pt x="171" y="8"/>
                    <a:pt x="184" y="18"/>
                    <a:pt x="184" y="29"/>
                  </a:cubicBezTo>
                  <a:cubicBezTo>
                    <a:pt x="184" y="48"/>
                    <a:pt x="143" y="64"/>
                    <a:pt x="92" y="64"/>
                  </a:cubicBezTo>
                  <a:cubicBezTo>
                    <a:pt x="41" y="64"/>
                    <a:pt x="0" y="48"/>
                    <a:pt x="0" y="29"/>
                  </a:cubicBezTo>
                  <a:cubicBezTo>
                    <a:pt x="0" y="18"/>
                    <a:pt x="10" y="10"/>
                    <a:pt x="27" y="4"/>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sp>
        <p:nvSpPr>
          <p:cNvPr id="84" name="Rectangle 83">
            <a:extLst>
              <a:ext uri="{FF2B5EF4-FFF2-40B4-BE49-F238E27FC236}">
                <a16:creationId xmlns:a16="http://schemas.microsoft.com/office/drawing/2014/main" id="{AD7D74BF-F202-460D-8C20-9BFCB7D1D56E}"/>
              </a:ext>
            </a:extLst>
          </p:cNvPr>
          <p:cNvSpPr/>
          <p:nvPr/>
        </p:nvSpPr>
        <p:spPr>
          <a:xfrm>
            <a:off x="2883042" y="2603383"/>
            <a:ext cx="1374612" cy="530285"/>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Ins="345600" rtlCol="0" anchor="ctr"/>
          <a:lstStyle/>
          <a:p>
            <a:pPr defTabSz="1097280" eaLnBrk="1" fontAlgn="auto" hangingPunct="1">
              <a:spcBef>
                <a:spcPts val="0"/>
              </a:spcBef>
              <a:spcAft>
                <a:spcPts val="0"/>
              </a:spcAft>
              <a:defRPr/>
            </a:pPr>
            <a:r>
              <a:rPr lang="en-GB" sz="960" b="1">
                <a:solidFill>
                  <a:srgbClr val="333333"/>
                </a:solidFill>
                <a:latin typeface="Avenir Next LT Pro"/>
              </a:rPr>
              <a:t>HUNT &amp; FISH</a:t>
            </a:r>
          </a:p>
        </p:txBody>
      </p:sp>
      <p:sp>
        <p:nvSpPr>
          <p:cNvPr id="95" name="Rectangle 94">
            <a:extLst>
              <a:ext uri="{FF2B5EF4-FFF2-40B4-BE49-F238E27FC236}">
                <a16:creationId xmlns:a16="http://schemas.microsoft.com/office/drawing/2014/main" id="{51B36E31-9435-49EF-92ED-D6FB91DF7143}"/>
              </a:ext>
            </a:extLst>
          </p:cNvPr>
          <p:cNvSpPr/>
          <p:nvPr/>
        </p:nvSpPr>
        <p:spPr>
          <a:xfrm>
            <a:off x="4611857" y="2603383"/>
            <a:ext cx="1382616" cy="530285"/>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Ins="345600" rtlCol="0" anchor="ctr"/>
          <a:lstStyle/>
          <a:p>
            <a:pPr defTabSz="1097280" eaLnBrk="1" fontAlgn="auto" hangingPunct="1">
              <a:spcBef>
                <a:spcPts val="0"/>
              </a:spcBef>
              <a:spcAft>
                <a:spcPts val="0"/>
              </a:spcAft>
              <a:defRPr/>
            </a:pPr>
            <a:r>
              <a:rPr lang="en-GB" sz="960" b="1">
                <a:solidFill>
                  <a:srgbClr val="333333"/>
                </a:solidFill>
                <a:latin typeface="Avenir Next LT Pro"/>
              </a:rPr>
              <a:t>FARM &amp; FISH</a:t>
            </a:r>
          </a:p>
        </p:txBody>
      </p:sp>
      <p:sp>
        <p:nvSpPr>
          <p:cNvPr id="101" name="Rectangle 100">
            <a:extLst>
              <a:ext uri="{FF2B5EF4-FFF2-40B4-BE49-F238E27FC236}">
                <a16:creationId xmlns:a16="http://schemas.microsoft.com/office/drawing/2014/main" id="{8EB5A33C-05E4-461D-90DE-436DC5620718}"/>
              </a:ext>
            </a:extLst>
          </p:cNvPr>
          <p:cNvSpPr/>
          <p:nvPr/>
        </p:nvSpPr>
        <p:spPr>
          <a:xfrm>
            <a:off x="7926779" y="2603383"/>
            <a:ext cx="1370424" cy="530285"/>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Ins="345600" rtlCol="0" anchor="ctr"/>
          <a:lstStyle/>
          <a:p>
            <a:pPr defTabSz="1097280" eaLnBrk="1" fontAlgn="auto" hangingPunct="1">
              <a:spcBef>
                <a:spcPts val="0"/>
              </a:spcBef>
              <a:spcAft>
                <a:spcPts val="0"/>
              </a:spcAft>
              <a:defRPr/>
            </a:pPr>
            <a:r>
              <a:rPr lang="en-GB" sz="960" b="1">
                <a:solidFill>
                  <a:srgbClr val="333333"/>
                </a:solidFill>
                <a:latin typeface="Avenir Next LT Pro"/>
              </a:rPr>
              <a:t>FARM &amp; FISH</a:t>
            </a:r>
          </a:p>
        </p:txBody>
      </p:sp>
      <p:sp>
        <p:nvSpPr>
          <p:cNvPr id="110" name="Rectangle 109">
            <a:extLst>
              <a:ext uri="{FF2B5EF4-FFF2-40B4-BE49-F238E27FC236}">
                <a16:creationId xmlns:a16="http://schemas.microsoft.com/office/drawing/2014/main" id="{5A7A704C-F070-4AD7-AADD-E38E5CE0ED41}"/>
              </a:ext>
            </a:extLst>
          </p:cNvPr>
          <p:cNvSpPr/>
          <p:nvPr/>
        </p:nvSpPr>
        <p:spPr>
          <a:xfrm>
            <a:off x="9599280" y="2603383"/>
            <a:ext cx="1375798" cy="530285"/>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Ins="345600" rtlCol="0" anchor="ctr"/>
          <a:lstStyle/>
          <a:p>
            <a:pPr defTabSz="1097280" eaLnBrk="1" fontAlgn="auto" hangingPunct="1">
              <a:spcBef>
                <a:spcPts val="0"/>
              </a:spcBef>
              <a:spcAft>
                <a:spcPts val="0"/>
              </a:spcAft>
              <a:defRPr/>
            </a:pPr>
            <a:r>
              <a:rPr lang="en-GB" sz="960" b="1">
                <a:solidFill>
                  <a:srgbClr val="333333"/>
                </a:solidFill>
                <a:latin typeface="Avenir Next LT Pro"/>
              </a:rPr>
              <a:t>FARM &amp; FISH</a:t>
            </a:r>
          </a:p>
        </p:txBody>
      </p:sp>
      <p:sp>
        <p:nvSpPr>
          <p:cNvPr id="119" name="Rectangle 118">
            <a:extLst>
              <a:ext uri="{FF2B5EF4-FFF2-40B4-BE49-F238E27FC236}">
                <a16:creationId xmlns:a16="http://schemas.microsoft.com/office/drawing/2014/main" id="{EE5D3DF4-8B57-489C-A93D-7CAD563625F9}"/>
              </a:ext>
            </a:extLst>
          </p:cNvPr>
          <p:cNvSpPr/>
          <p:nvPr/>
        </p:nvSpPr>
        <p:spPr>
          <a:xfrm rot="16200000">
            <a:off x="426839" y="4145459"/>
            <a:ext cx="1190621" cy="240066"/>
          </a:xfrm>
          <a:prstGeom prst="rect">
            <a:avLst/>
          </a:prstGeom>
        </p:spPr>
        <p:txBody>
          <a:bodyPr wrap="square">
            <a:spAutoFit/>
          </a:bodyPr>
          <a:lstStyle/>
          <a:p>
            <a:pPr algn="ctr" defTabSz="1097280" eaLnBrk="1" fontAlgn="auto" hangingPunct="1">
              <a:spcBef>
                <a:spcPts val="0"/>
              </a:spcBef>
              <a:spcAft>
                <a:spcPts val="0"/>
              </a:spcAft>
              <a:defRPr/>
            </a:pPr>
            <a:r>
              <a:rPr lang="en-GB" sz="960" b="1">
                <a:solidFill>
                  <a:srgbClr val="333333"/>
                </a:solidFill>
                <a:latin typeface="Avenir Next LT Pro"/>
              </a:rPr>
              <a:t>Profile</a:t>
            </a:r>
          </a:p>
        </p:txBody>
      </p:sp>
      <p:grpSp>
        <p:nvGrpSpPr>
          <p:cNvPr id="121" name="Group 120">
            <a:extLst>
              <a:ext uri="{FF2B5EF4-FFF2-40B4-BE49-F238E27FC236}">
                <a16:creationId xmlns:a16="http://schemas.microsoft.com/office/drawing/2014/main" id="{8F35D75E-F3B8-47EC-B010-0C1E6C7CCF6B}"/>
              </a:ext>
            </a:extLst>
          </p:cNvPr>
          <p:cNvGrpSpPr/>
          <p:nvPr/>
        </p:nvGrpSpPr>
        <p:grpSpPr>
          <a:xfrm>
            <a:off x="6286667" y="1577914"/>
            <a:ext cx="1375795" cy="413629"/>
            <a:chOff x="4925358" y="2111329"/>
            <a:chExt cx="2120785" cy="679496"/>
          </a:xfrm>
        </p:grpSpPr>
        <p:sp>
          <p:nvSpPr>
            <p:cNvPr id="122" name="Rectangle 121">
              <a:extLst>
                <a:ext uri="{FF2B5EF4-FFF2-40B4-BE49-F238E27FC236}">
                  <a16:creationId xmlns:a16="http://schemas.microsoft.com/office/drawing/2014/main" id="{69051019-A1DF-42EC-93D7-C3A8566EA4CB}"/>
                </a:ext>
              </a:extLst>
            </p:cNvPr>
            <p:cNvSpPr/>
            <p:nvPr/>
          </p:nvSpPr>
          <p:spPr>
            <a:xfrm>
              <a:off x="4925358" y="2111329"/>
              <a:ext cx="297521" cy="6794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r>
                <a:rPr lang="en-GB" sz="960" b="1">
                  <a:solidFill>
                    <a:srgbClr val="FFFFFF"/>
                  </a:solidFill>
                  <a:latin typeface="Avenir Next LT Pro"/>
                </a:rPr>
                <a:t>4</a:t>
              </a:r>
            </a:p>
          </p:txBody>
        </p:sp>
        <p:sp>
          <p:nvSpPr>
            <p:cNvPr id="123" name="Rectangle 122">
              <a:extLst>
                <a:ext uri="{FF2B5EF4-FFF2-40B4-BE49-F238E27FC236}">
                  <a16:creationId xmlns:a16="http://schemas.microsoft.com/office/drawing/2014/main" id="{BD663D7A-4EAE-4623-84E7-708296D8CBF0}"/>
                </a:ext>
              </a:extLst>
            </p:cNvPr>
            <p:cNvSpPr/>
            <p:nvPr/>
          </p:nvSpPr>
          <p:spPr>
            <a:xfrm>
              <a:off x="5252578" y="2111329"/>
              <a:ext cx="1793565" cy="679496"/>
            </a:xfrm>
            <a:prstGeom prst="rect">
              <a:avLst/>
            </a:prstGeom>
            <a:solidFill>
              <a:schemeClr val="bg1"/>
            </a:solidFill>
            <a:ln w="3175">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eaLnBrk="1" fontAlgn="auto" hangingPunct="1">
                <a:spcBef>
                  <a:spcPts val="0"/>
                </a:spcBef>
                <a:spcAft>
                  <a:spcPts val="0"/>
                </a:spcAft>
                <a:defRPr/>
              </a:pPr>
              <a:r>
                <a:rPr lang="en-GB" sz="960" b="1">
                  <a:solidFill>
                    <a:srgbClr val="333333"/>
                  </a:solidFill>
                  <a:latin typeface="Avenir Next LT Pro"/>
                </a:rPr>
                <a:t>PARTNERS</a:t>
              </a:r>
            </a:p>
          </p:txBody>
        </p:sp>
      </p:grpSp>
      <p:sp>
        <p:nvSpPr>
          <p:cNvPr id="124" name="Rectangle 123">
            <a:extLst>
              <a:ext uri="{FF2B5EF4-FFF2-40B4-BE49-F238E27FC236}">
                <a16:creationId xmlns:a16="http://schemas.microsoft.com/office/drawing/2014/main" id="{BE6B2CB9-34A8-4656-91CC-5C08372C6728}"/>
              </a:ext>
            </a:extLst>
          </p:cNvPr>
          <p:cNvSpPr/>
          <p:nvPr/>
        </p:nvSpPr>
        <p:spPr>
          <a:xfrm>
            <a:off x="6287862" y="3250898"/>
            <a:ext cx="1370424" cy="2029188"/>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F5F5F5">
                    <a:lumMod val="10000"/>
                  </a:srgbClr>
                </a:solidFill>
                <a:latin typeface="Avenir Next LT Pro"/>
              </a:rPr>
              <a:t>Equipment chamber manufacturers</a:t>
            </a:r>
          </a:p>
          <a:p>
            <a:pPr marL="106680" indent="-106680" defTabSz="1097280" eaLnBrk="1" fontAlgn="auto" hangingPunct="1">
              <a:spcBef>
                <a:spcPts val="0"/>
              </a:spcBef>
              <a:spcAft>
                <a:spcPts val="480"/>
              </a:spcAft>
              <a:buFont typeface="Arial" panose="020B0604020202020204" pitchFamily="34" charset="0"/>
              <a:buChar char="•"/>
              <a:defRPr/>
            </a:pPr>
            <a:r>
              <a:rPr lang="en-GB" sz="960">
                <a:solidFill>
                  <a:srgbClr val="F5F5F5">
                    <a:lumMod val="10000"/>
                  </a:srgbClr>
                </a:solidFill>
                <a:latin typeface="Avenir Next LT Pro"/>
              </a:rPr>
              <a:t>Larger consulting firms that outsource some project activities – e.g. temperature mapping</a:t>
            </a:r>
          </a:p>
        </p:txBody>
      </p:sp>
      <p:sp>
        <p:nvSpPr>
          <p:cNvPr id="125" name="Rectangle 124">
            <a:extLst>
              <a:ext uri="{FF2B5EF4-FFF2-40B4-BE49-F238E27FC236}">
                <a16:creationId xmlns:a16="http://schemas.microsoft.com/office/drawing/2014/main" id="{6D53218A-D0E5-4562-998B-1E5F830A5A27}"/>
              </a:ext>
            </a:extLst>
          </p:cNvPr>
          <p:cNvSpPr/>
          <p:nvPr/>
        </p:nvSpPr>
        <p:spPr>
          <a:xfrm>
            <a:off x="6287862" y="5420474"/>
            <a:ext cx="1370425" cy="6299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48640">
              <a:defRPr/>
            </a:pPr>
            <a:r>
              <a:rPr lang="en-US" sz="1080" b="1">
                <a:solidFill>
                  <a:srgbClr val="FFFFFF"/>
                </a:solidFill>
                <a:latin typeface="Avenir Next LT Pro"/>
              </a:rPr>
              <a:t>BECOME “PREFERRED SUB-CONTRACTOR” </a:t>
            </a:r>
          </a:p>
        </p:txBody>
      </p:sp>
      <p:sp>
        <p:nvSpPr>
          <p:cNvPr id="126" name="Rectangle 125">
            <a:extLst>
              <a:ext uri="{FF2B5EF4-FFF2-40B4-BE49-F238E27FC236}">
                <a16:creationId xmlns:a16="http://schemas.microsoft.com/office/drawing/2014/main" id="{E5FE312B-8E3E-401E-87D2-042820D603E1}"/>
              </a:ext>
            </a:extLst>
          </p:cNvPr>
          <p:cNvSpPr/>
          <p:nvPr/>
        </p:nvSpPr>
        <p:spPr>
          <a:xfrm>
            <a:off x="6287861" y="2603383"/>
            <a:ext cx="1370424" cy="530285"/>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Ins="345600" rtlCol="0" anchor="ctr"/>
          <a:lstStyle/>
          <a:p>
            <a:pPr defTabSz="1097280" eaLnBrk="1" fontAlgn="auto" hangingPunct="1">
              <a:spcBef>
                <a:spcPts val="0"/>
              </a:spcBef>
              <a:spcAft>
                <a:spcPts val="0"/>
              </a:spcAft>
              <a:defRPr/>
            </a:pPr>
            <a:r>
              <a:rPr lang="en-GB" sz="960" b="1">
                <a:solidFill>
                  <a:srgbClr val="333333"/>
                </a:solidFill>
                <a:latin typeface="Avenir Next LT Pro"/>
              </a:rPr>
              <a:t>HUNT &amp; FARM</a:t>
            </a:r>
          </a:p>
        </p:txBody>
      </p:sp>
      <p:grpSp>
        <p:nvGrpSpPr>
          <p:cNvPr id="144" name="Groupe 394">
            <a:extLst>
              <a:ext uri="{FF2B5EF4-FFF2-40B4-BE49-F238E27FC236}">
                <a16:creationId xmlns:a16="http://schemas.microsoft.com/office/drawing/2014/main" id="{F28DED9A-8CAE-453A-96E5-B9B436ACF86F}"/>
              </a:ext>
            </a:extLst>
          </p:cNvPr>
          <p:cNvGrpSpPr/>
          <p:nvPr/>
        </p:nvGrpSpPr>
        <p:grpSpPr>
          <a:xfrm>
            <a:off x="3983141" y="2642702"/>
            <a:ext cx="206800" cy="208337"/>
            <a:chOff x="431801" y="5376863"/>
            <a:chExt cx="427037" cy="430212"/>
          </a:xfrm>
        </p:grpSpPr>
        <p:sp>
          <p:nvSpPr>
            <p:cNvPr id="145" name="Freeform 147">
              <a:extLst>
                <a:ext uri="{FF2B5EF4-FFF2-40B4-BE49-F238E27FC236}">
                  <a16:creationId xmlns:a16="http://schemas.microsoft.com/office/drawing/2014/main" id="{C3BB1A69-65E7-47AD-AFF8-909F7387434A}"/>
                </a:ext>
              </a:extLst>
            </p:cNvPr>
            <p:cNvSpPr>
              <a:spLocks/>
            </p:cNvSpPr>
            <p:nvPr/>
          </p:nvSpPr>
          <p:spPr bwMode="auto">
            <a:xfrm>
              <a:off x="630238" y="5376863"/>
              <a:ext cx="228600" cy="217487"/>
            </a:xfrm>
            <a:custGeom>
              <a:avLst/>
              <a:gdLst/>
              <a:ahLst/>
              <a:cxnLst>
                <a:cxn ang="0">
                  <a:pos x="89" y="72"/>
                </a:cxn>
                <a:cxn ang="0">
                  <a:pos x="103" y="72"/>
                </a:cxn>
                <a:cxn ang="0">
                  <a:pos x="144" y="30"/>
                </a:cxn>
                <a:cxn ang="0">
                  <a:pos x="116" y="30"/>
                </a:cxn>
                <a:cxn ang="0">
                  <a:pos x="116" y="0"/>
                </a:cxn>
                <a:cxn ang="0">
                  <a:pos x="73" y="43"/>
                </a:cxn>
                <a:cxn ang="0">
                  <a:pos x="73" y="64"/>
                </a:cxn>
                <a:cxn ang="0">
                  <a:pos x="0" y="137"/>
                </a:cxn>
              </a:cxnLst>
              <a:rect l="0" t="0" r="r" b="b"/>
              <a:pathLst>
                <a:path w="144" h="137">
                  <a:moveTo>
                    <a:pt x="89" y="72"/>
                  </a:moveTo>
                  <a:lnTo>
                    <a:pt x="103" y="72"/>
                  </a:lnTo>
                  <a:lnTo>
                    <a:pt x="144" y="30"/>
                  </a:lnTo>
                  <a:lnTo>
                    <a:pt x="116" y="30"/>
                  </a:lnTo>
                  <a:lnTo>
                    <a:pt x="116" y="0"/>
                  </a:lnTo>
                  <a:lnTo>
                    <a:pt x="73" y="43"/>
                  </a:lnTo>
                  <a:lnTo>
                    <a:pt x="73" y="64"/>
                  </a:lnTo>
                  <a:lnTo>
                    <a:pt x="0" y="137"/>
                  </a:ln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46" name="Freeform 148">
              <a:extLst>
                <a:ext uri="{FF2B5EF4-FFF2-40B4-BE49-F238E27FC236}">
                  <a16:creationId xmlns:a16="http://schemas.microsoft.com/office/drawing/2014/main" id="{76262496-C865-4E87-B761-4E32B9DE604E}"/>
                </a:ext>
              </a:extLst>
            </p:cNvPr>
            <p:cNvSpPr>
              <a:spLocks/>
            </p:cNvSpPr>
            <p:nvPr/>
          </p:nvSpPr>
          <p:spPr bwMode="auto">
            <a:xfrm>
              <a:off x="762001" y="5521325"/>
              <a:ext cx="1588" cy="1587"/>
            </a:xfrm>
            <a:custGeom>
              <a:avLst/>
              <a:gdLst/>
              <a:ahLst/>
              <a:cxnLst>
                <a:cxn ang="0">
                  <a:pos x="0" y="0"/>
                </a:cxn>
                <a:cxn ang="0">
                  <a:pos x="0" y="0"/>
                </a:cxn>
              </a:cxnLst>
              <a:rect l="0" t="0" r="r" b="b"/>
              <a:pathLst>
                <a:path>
                  <a:moveTo>
                    <a:pt x="0" y="0"/>
                  </a:moveTo>
                  <a:cubicBezTo>
                    <a:pt x="0" y="0"/>
                    <a:pt x="0" y="0"/>
                    <a:pt x="0" y="0"/>
                  </a:cubicBezTo>
                </a:path>
              </a:pathLst>
            </a:custGeom>
            <a:noFill/>
            <a:ln w="12700" cap="rnd">
              <a:solidFill>
                <a:schemeClr val="tx1"/>
              </a:solidFill>
              <a:prstDash val="solid"/>
              <a:bevel/>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47" name="Freeform 149">
              <a:extLst>
                <a:ext uri="{FF2B5EF4-FFF2-40B4-BE49-F238E27FC236}">
                  <a16:creationId xmlns:a16="http://schemas.microsoft.com/office/drawing/2014/main" id="{1935FD01-5374-4CD5-967A-E57A5704D872}"/>
                </a:ext>
              </a:extLst>
            </p:cNvPr>
            <p:cNvSpPr>
              <a:spLocks/>
            </p:cNvSpPr>
            <p:nvPr/>
          </p:nvSpPr>
          <p:spPr bwMode="auto">
            <a:xfrm>
              <a:off x="585788" y="5594350"/>
              <a:ext cx="57150" cy="58737"/>
            </a:xfrm>
            <a:custGeom>
              <a:avLst/>
              <a:gdLst/>
              <a:ahLst/>
              <a:cxnLst>
                <a:cxn ang="0">
                  <a:pos x="16" y="1"/>
                </a:cxn>
                <a:cxn ang="0">
                  <a:pos x="12" y="0"/>
                </a:cxn>
                <a:cxn ang="0">
                  <a:pos x="0" y="11"/>
                </a:cxn>
                <a:cxn ang="0">
                  <a:pos x="12" y="23"/>
                </a:cxn>
                <a:cxn ang="0">
                  <a:pos x="23" y="11"/>
                </a:cxn>
                <a:cxn ang="0">
                  <a:pos x="22" y="7"/>
                </a:cxn>
              </a:cxnLst>
              <a:rect l="0" t="0" r="r" b="b"/>
              <a:pathLst>
                <a:path w="23" h="23">
                  <a:moveTo>
                    <a:pt x="16" y="1"/>
                  </a:moveTo>
                  <a:cubicBezTo>
                    <a:pt x="15" y="0"/>
                    <a:pt x="13" y="0"/>
                    <a:pt x="12" y="0"/>
                  </a:cubicBezTo>
                  <a:cubicBezTo>
                    <a:pt x="5" y="0"/>
                    <a:pt x="0" y="5"/>
                    <a:pt x="0" y="11"/>
                  </a:cubicBezTo>
                  <a:cubicBezTo>
                    <a:pt x="0" y="18"/>
                    <a:pt x="5" y="23"/>
                    <a:pt x="12" y="23"/>
                  </a:cubicBezTo>
                  <a:cubicBezTo>
                    <a:pt x="18" y="23"/>
                    <a:pt x="23" y="18"/>
                    <a:pt x="23" y="11"/>
                  </a:cubicBezTo>
                  <a:cubicBezTo>
                    <a:pt x="23" y="10"/>
                    <a:pt x="23" y="8"/>
                    <a:pt x="22" y="7"/>
                  </a:cubicBezTo>
                </a:path>
              </a:pathLst>
            </a:custGeom>
            <a:noFill/>
            <a:ln w="12700" cap="rnd">
              <a:solidFill>
                <a:schemeClr val="tx1"/>
              </a:solidFill>
              <a:prstDash val="solid"/>
              <a:bevel/>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48" name="Freeform 150">
              <a:extLst>
                <a:ext uri="{FF2B5EF4-FFF2-40B4-BE49-F238E27FC236}">
                  <a16:creationId xmlns:a16="http://schemas.microsoft.com/office/drawing/2014/main" id="{B4995E5D-705F-4D2A-8F84-28B94CBA7D46}"/>
                </a:ext>
              </a:extLst>
            </p:cNvPr>
            <p:cNvSpPr>
              <a:spLocks/>
            </p:cNvSpPr>
            <p:nvPr/>
          </p:nvSpPr>
          <p:spPr bwMode="auto">
            <a:xfrm>
              <a:off x="431801" y="5441950"/>
              <a:ext cx="361950" cy="365125"/>
            </a:xfrm>
            <a:custGeom>
              <a:avLst/>
              <a:gdLst/>
              <a:ahLst/>
              <a:cxnLst>
                <a:cxn ang="0">
                  <a:pos x="89" y="38"/>
                </a:cxn>
                <a:cxn ang="0">
                  <a:pos x="72" y="34"/>
                </a:cxn>
                <a:cxn ang="0">
                  <a:pos x="35" y="71"/>
                </a:cxn>
                <a:cxn ang="0">
                  <a:pos x="72" y="109"/>
                </a:cxn>
                <a:cxn ang="0">
                  <a:pos x="109" y="71"/>
                </a:cxn>
                <a:cxn ang="0">
                  <a:pos x="106" y="56"/>
                </a:cxn>
                <a:cxn ang="0">
                  <a:pos x="131" y="31"/>
                </a:cxn>
                <a:cxn ang="0">
                  <a:pos x="144" y="72"/>
                </a:cxn>
                <a:cxn ang="0">
                  <a:pos x="72" y="144"/>
                </a:cxn>
                <a:cxn ang="0">
                  <a:pos x="0" y="72"/>
                </a:cxn>
                <a:cxn ang="0">
                  <a:pos x="72" y="0"/>
                </a:cxn>
                <a:cxn ang="0">
                  <a:pos x="120" y="18"/>
                </a:cxn>
              </a:cxnLst>
              <a:rect l="0" t="0" r="r" b="b"/>
              <a:pathLst>
                <a:path w="144" h="144">
                  <a:moveTo>
                    <a:pt x="89" y="38"/>
                  </a:moveTo>
                  <a:cubicBezTo>
                    <a:pt x="84" y="36"/>
                    <a:pt x="78" y="34"/>
                    <a:pt x="72" y="34"/>
                  </a:cubicBezTo>
                  <a:cubicBezTo>
                    <a:pt x="51" y="34"/>
                    <a:pt x="35" y="51"/>
                    <a:pt x="35" y="71"/>
                  </a:cubicBezTo>
                  <a:cubicBezTo>
                    <a:pt x="35" y="92"/>
                    <a:pt x="51" y="109"/>
                    <a:pt x="72" y="109"/>
                  </a:cubicBezTo>
                  <a:cubicBezTo>
                    <a:pt x="92" y="109"/>
                    <a:pt x="109" y="92"/>
                    <a:pt x="109" y="71"/>
                  </a:cubicBezTo>
                  <a:cubicBezTo>
                    <a:pt x="109" y="66"/>
                    <a:pt x="108" y="61"/>
                    <a:pt x="106" y="56"/>
                  </a:cubicBezTo>
                  <a:cubicBezTo>
                    <a:pt x="131" y="31"/>
                    <a:pt x="131" y="31"/>
                    <a:pt x="131" y="31"/>
                  </a:cubicBezTo>
                  <a:cubicBezTo>
                    <a:pt x="139" y="43"/>
                    <a:pt x="144" y="57"/>
                    <a:pt x="144" y="72"/>
                  </a:cubicBezTo>
                  <a:cubicBezTo>
                    <a:pt x="144" y="112"/>
                    <a:pt x="112" y="144"/>
                    <a:pt x="72" y="144"/>
                  </a:cubicBezTo>
                  <a:cubicBezTo>
                    <a:pt x="32" y="144"/>
                    <a:pt x="0" y="112"/>
                    <a:pt x="0" y="72"/>
                  </a:cubicBezTo>
                  <a:cubicBezTo>
                    <a:pt x="0" y="32"/>
                    <a:pt x="32" y="0"/>
                    <a:pt x="72" y="0"/>
                  </a:cubicBezTo>
                  <a:cubicBezTo>
                    <a:pt x="91" y="0"/>
                    <a:pt x="107" y="7"/>
                    <a:pt x="120" y="18"/>
                  </a:cubicBezTo>
                </a:path>
              </a:pathLst>
            </a:custGeom>
            <a:noFill/>
            <a:ln w="12700" cap="rnd">
              <a:solidFill>
                <a:schemeClr val="tx1"/>
              </a:solidFill>
              <a:prstDash val="solid"/>
              <a:bevel/>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grpSp>
        <p:nvGrpSpPr>
          <p:cNvPr id="149" name="Groupe 397">
            <a:extLst>
              <a:ext uri="{FF2B5EF4-FFF2-40B4-BE49-F238E27FC236}">
                <a16:creationId xmlns:a16="http://schemas.microsoft.com/office/drawing/2014/main" id="{6EE7A7DC-0B3F-4698-9025-347FD7C1FEDB}"/>
              </a:ext>
            </a:extLst>
          </p:cNvPr>
          <p:cNvGrpSpPr/>
          <p:nvPr/>
        </p:nvGrpSpPr>
        <p:grpSpPr>
          <a:xfrm>
            <a:off x="3986113" y="2911551"/>
            <a:ext cx="224862" cy="187156"/>
            <a:chOff x="2589213" y="5373688"/>
            <a:chExt cx="520701" cy="433387"/>
          </a:xfrm>
        </p:grpSpPr>
        <p:sp>
          <p:nvSpPr>
            <p:cNvPr id="150" name="Freeform 151">
              <a:extLst>
                <a:ext uri="{FF2B5EF4-FFF2-40B4-BE49-F238E27FC236}">
                  <a16:creationId xmlns:a16="http://schemas.microsoft.com/office/drawing/2014/main" id="{9EE7E55F-AA9D-4ECC-A58F-4146CD22AEFE}"/>
                </a:ext>
              </a:extLst>
            </p:cNvPr>
            <p:cNvSpPr>
              <a:spLocks/>
            </p:cNvSpPr>
            <p:nvPr/>
          </p:nvSpPr>
          <p:spPr bwMode="auto">
            <a:xfrm>
              <a:off x="2589213" y="5373688"/>
              <a:ext cx="296863" cy="330200"/>
            </a:xfrm>
            <a:custGeom>
              <a:avLst/>
              <a:gdLst/>
              <a:ahLst/>
              <a:cxnLst>
                <a:cxn ang="0">
                  <a:pos x="0" y="29"/>
                </a:cxn>
                <a:cxn ang="0">
                  <a:pos x="19" y="11"/>
                </a:cxn>
                <a:cxn ang="0">
                  <a:pos x="97" y="94"/>
                </a:cxn>
                <a:cxn ang="0">
                  <a:pos x="89" y="100"/>
                </a:cxn>
                <a:cxn ang="0">
                  <a:pos x="117" y="130"/>
                </a:cxn>
                <a:cxn ang="0">
                  <a:pos x="118" y="85"/>
                </a:cxn>
                <a:cxn ang="0">
                  <a:pos x="112" y="87"/>
                </a:cxn>
                <a:cxn ang="0">
                  <a:pos x="54" y="16"/>
                </a:cxn>
                <a:cxn ang="0">
                  <a:pos x="28" y="1"/>
                </a:cxn>
                <a:cxn ang="0">
                  <a:pos x="20" y="2"/>
                </a:cxn>
              </a:cxnLst>
              <a:rect l="0" t="0" r="r" b="b"/>
              <a:pathLst>
                <a:path w="118" h="130">
                  <a:moveTo>
                    <a:pt x="0" y="29"/>
                  </a:moveTo>
                  <a:cubicBezTo>
                    <a:pt x="0" y="29"/>
                    <a:pt x="4" y="9"/>
                    <a:pt x="19" y="11"/>
                  </a:cubicBezTo>
                  <a:cubicBezTo>
                    <a:pt x="49" y="16"/>
                    <a:pt x="97" y="94"/>
                    <a:pt x="97" y="94"/>
                  </a:cubicBezTo>
                  <a:cubicBezTo>
                    <a:pt x="89" y="100"/>
                    <a:pt x="89" y="100"/>
                    <a:pt x="89" y="100"/>
                  </a:cubicBezTo>
                  <a:cubicBezTo>
                    <a:pt x="117" y="130"/>
                    <a:pt x="117" y="130"/>
                    <a:pt x="117" y="130"/>
                  </a:cubicBezTo>
                  <a:cubicBezTo>
                    <a:pt x="118" y="85"/>
                    <a:pt x="118" y="85"/>
                    <a:pt x="118" y="85"/>
                  </a:cubicBezTo>
                  <a:cubicBezTo>
                    <a:pt x="112" y="87"/>
                    <a:pt x="112" y="87"/>
                    <a:pt x="112" y="87"/>
                  </a:cubicBezTo>
                  <a:cubicBezTo>
                    <a:pt x="112" y="87"/>
                    <a:pt x="75" y="34"/>
                    <a:pt x="54" y="16"/>
                  </a:cubicBezTo>
                  <a:cubicBezTo>
                    <a:pt x="43" y="5"/>
                    <a:pt x="34" y="0"/>
                    <a:pt x="28" y="1"/>
                  </a:cubicBezTo>
                  <a:cubicBezTo>
                    <a:pt x="23" y="1"/>
                    <a:pt x="20" y="2"/>
                    <a:pt x="20" y="2"/>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51" name="Freeform 152">
              <a:extLst>
                <a:ext uri="{FF2B5EF4-FFF2-40B4-BE49-F238E27FC236}">
                  <a16:creationId xmlns:a16="http://schemas.microsoft.com/office/drawing/2014/main" id="{D8593ACA-C18A-44B6-8B83-954E2BBBDC18}"/>
                </a:ext>
              </a:extLst>
            </p:cNvPr>
            <p:cNvSpPr>
              <a:spLocks/>
            </p:cNvSpPr>
            <p:nvPr/>
          </p:nvSpPr>
          <p:spPr bwMode="auto">
            <a:xfrm>
              <a:off x="2752726" y="5653088"/>
              <a:ext cx="254000" cy="85725"/>
            </a:xfrm>
            <a:custGeom>
              <a:avLst/>
              <a:gdLst/>
              <a:ahLst/>
              <a:cxnLst>
                <a:cxn ang="0">
                  <a:pos x="80" y="0"/>
                </a:cxn>
                <a:cxn ang="0">
                  <a:pos x="101" y="15"/>
                </a:cxn>
                <a:cxn ang="0">
                  <a:pos x="50" y="34"/>
                </a:cxn>
                <a:cxn ang="0">
                  <a:pos x="0" y="15"/>
                </a:cxn>
                <a:cxn ang="0">
                  <a:pos x="17" y="1"/>
                </a:cxn>
              </a:cxnLst>
              <a:rect l="0" t="0" r="r" b="b"/>
              <a:pathLst>
                <a:path w="101" h="34">
                  <a:moveTo>
                    <a:pt x="80" y="0"/>
                  </a:moveTo>
                  <a:cubicBezTo>
                    <a:pt x="93" y="3"/>
                    <a:pt x="101" y="9"/>
                    <a:pt x="101" y="15"/>
                  </a:cubicBezTo>
                  <a:cubicBezTo>
                    <a:pt x="101" y="25"/>
                    <a:pt x="78" y="34"/>
                    <a:pt x="50" y="34"/>
                  </a:cubicBezTo>
                  <a:cubicBezTo>
                    <a:pt x="23" y="34"/>
                    <a:pt x="0" y="25"/>
                    <a:pt x="0" y="15"/>
                  </a:cubicBezTo>
                  <a:cubicBezTo>
                    <a:pt x="0" y="10"/>
                    <a:pt x="7" y="4"/>
                    <a:pt x="17" y="1"/>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52" name="Freeform 153">
              <a:extLst>
                <a:ext uri="{FF2B5EF4-FFF2-40B4-BE49-F238E27FC236}">
                  <a16:creationId xmlns:a16="http://schemas.microsoft.com/office/drawing/2014/main" id="{2C60D4A3-7394-4B04-A3D5-C66AE40C7A3C}"/>
                </a:ext>
              </a:extLst>
            </p:cNvPr>
            <p:cNvSpPr>
              <a:spLocks/>
            </p:cNvSpPr>
            <p:nvPr/>
          </p:nvSpPr>
          <p:spPr bwMode="auto">
            <a:xfrm>
              <a:off x="2700338" y="5649913"/>
              <a:ext cx="354013" cy="119062"/>
            </a:xfrm>
            <a:custGeom>
              <a:avLst/>
              <a:gdLst/>
              <a:ahLst/>
              <a:cxnLst>
                <a:cxn ang="0">
                  <a:pos x="113" y="0"/>
                </a:cxn>
                <a:cxn ang="0">
                  <a:pos x="116" y="1"/>
                </a:cxn>
                <a:cxn ang="0">
                  <a:pos x="141" y="21"/>
                </a:cxn>
                <a:cxn ang="0">
                  <a:pos x="71" y="47"/>
                </a:cxn>
                <a:cxn ang="0">
                  <a:pos x="0" y="21"/>
                </a:cxn>
                <a:cxn ang="0">
                  <a:pos x="21" y="2"/>
                </a:cxn>
              </a:cxnLst>
              <a:rect l="0" t="0" r="r" b="b"/>
              <a:pathLst>
                <a:path w="141" h="47">
                  <a:moveTo>
                    <a:pt x="113" y="0"/>
                  </a:moveTo>
                  <a:cubicBezTo>
                    <a:pt x="114" y="0"/>
                    <a:pt x="116" y="0"/>
                    <a:pt x="116" y="1"/>
                  </a:cubicBezTo>
                  <a:cubicBezTo>
                    <a:pt x="132" y="6"/>
                    <a:pt x="141" y="13"/>
                    <a:pt x="141" y="21"/>
                  </a:cubicBezTo>
                  <a:cubicBezTo>
                    <a:pt x="141" y="36"/>
                    <a:pt x="110" y="47"/>
                    <a:pt x="71" y="47"/>
                  </a:cubicBezTo>
                  <a:cubicBezTo>
                    <a:pt x="32" y="47"/>
                    <a:pt x="0" y="36"/>
                    <a:pt x="0" y="21"/>
                  </a:cubicBezTo>
                  <a:cubicBezTo>
                    <a:pt x="0" y="14"/>
                    <a:pt x="8" y="7"/>
                    <a:pt x="21" y="2"/>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53" name="Freeform 154">
              <a:extLst>
                <a:ext uri="{FF2B5EF4-FFF2-40B4-BE49-F238E27FC236}">
                  <a16:creationId xmlns:a16="http://schemas.microsoft.com/office/drawing/2014/main" id="{F7A86FB1-A658-44D1-95DA-5F6B0657199F}"/>
                </a:ext>
              </a:extLst>
            </p:cNvPr>
            <p:cNvSpPr>
              <a:spLocks/>
            </p:cNvSpPr>
            <p:nvPr/>
          </p:nvSpPr>
          <p:spPr bwMode="auto">
            <a:xfrm>
              <a:off x="2647951" y="5645150"/>
              <a:ext cx="461963" cy="161925"/>
            </a:xfrm>
            <a:custGeom>
              <a:avLst/>
              <a:gdLst/>
              <a:ahLst/>
              <a:cxnLst>
                <a:cxn ang="0">
                  <a:pos x="147" y="0"/>
                </a:cxn>
                <a:cxn ang="0">
                  <a:pos x="151" y="2"/>
                </a:cxn>
                <a:cxn ang="0">
                  <a:pos x="184" y="29"/>
                </a:cxn>
                <a:cxn ang="0">
                  <a:pos x="92" y="64"/>
                </a:cxn>
                <a:cxn ang="0">
                  <a:pos x="0" y="29"/>
                </a:cxn>
                <a:cxn ang="0">
                  <a:pos x="27" y="4"/>
                </a:cxn>
              </a:cxnLst>
              <a:rect l="0" t="0" r="r" b="b"/>
              <a:pathLst>
                <a:path w="184" h="64">
                  <a:moveTo>
                    <a:pt x="147" y="0"/>
                  </a:moveTo>
                  <a:cubicBezTo>
                    <a:pt x="148" y="0"/>
                    <a:pt x="150" y="1"/>
                    <a:pt x="151" y="2"/>
                  </a:cubicBezTo>
                  <a:cubicBezTo>
                    <a:pt x="171" y="8"/>
                    <a:pt x="184" y="18"/>
                    <a:pt x="184" y="29"/>
                  </a:cubicBezTo>
                  <a:cubicBezTo>
                    <a:pt x="184" y="48"/>
                    <a:pt x="143" y="64"/>
                    <a:pt x="92" y="64"/>
                  </a:cubicBezTo>
                  <a:cubicBezTo>
                    <a:pt x="41" y="64"/>
                    <a:pt x="0" y="48"/>
                    <a:pt x="0" y="29"/>
                  </a:cubicBezTo>
                  <a:cubicBezTo>
                    <a:pt x="0" y="18"/>
                    <a:pt x="10" y="10"/>
                    <a:pt x="27" y="4"/>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grpSp>
        <p:nvGrpSpPr>
          <p:cNvPr id="64" name="Groupe 372">
            <a:extLst>
              <a:ext uri="{FF2B5EF4-FFF2-40B4-BE49-F238E27FC236}">
                <a16:creationId xmlns:a16="http://schemas.microsoft.com/office/drawing/2014/main" id="{965E0147-F275-4B5F-8EC8-A78530481C4F}"/>
              </a:ext>
            </a:extLst>
          </p:cNvPr>
          <p:cNvGrpSpPr/>
          <p:nvPr/>
        </p:nvGrpSpPr>
        <p:grpSpPr>
          <a:xfrm>
            <a:off x="5665627" y="2648042"/>
            <a:ext cx="315934" cy="195251"/>
            <a:chOff x="3784601" y="2755900"/>
            <a:chExt cx="511175" cy="315913"/>
          </a:xfrm>
        </p:grpSpPr>
        <p:sp>
          <p:nvSpPr>
            <p:cNvPr id="65" name="Freeform 378">
              <a:extLst>
                <a:ext uri="{FF2B5EF4-FFF2-40B4-BE49-F238E27FC236}">
                  <a16:creationId xmlns:a16="http://schemas.microsoft.com/office/drawing/2014/main" id="{25A92C5C-4978-4B5B-98E6-44538DCF2C1C}"/>
                </a:ext>
              </a:extLst>
            </p:cNvPr>
            <p:cNvSpPr>
              <a:spLocks/>
            </p:cNvSpPr>
            <p:nvPr/>
          </p:nvSpPr>
          <p:spPr bwMode="auto">
            <a:xfrm>
              <a:off x="3979863" y="2755900"/>
              <a:ext cx="315913" cy="301625"/>
            </a:xfrm>
            <a:custGeom>
              <a:avLst/>
              <a:gdLst/>
              <a:ahLst/>
              <a:cxnLst>
                <a:cxn ang="0">
                  <a:pos x="0" y="92"/>
                </a:cxn>
                <a:cxn ang="0">
                  <a:pos x="29" y="37"/>
                </a:cxn>
                <a:cxn ang="0">
                  <a:pos x="140" y="2"/>
                </a:cxn>
                <a:cxn ang="0">
                  <a:pos x="105" y="85"/>
                </a:cxn>
                <a:cxn ang="0">
                  <a:pos x="29" y="134"/>
                </a:cxn>
                <a:cxn ang="0">
                  <a:pos x="55" y="65"/>
                </a:cxn>
                <a:cxn ang="0">
                  <a:pos x="111" y="24"/>
                </a:cxn>
              </a:cxnLst>
              <a:rect l="0" t="0" r="r" b="b"/>
              <a:pathLst>
                <a:path w="140" h="134">
                  <a:moveTo>
                    <a:pt x="0" y="92"/>
                  </a:moveTo>
                  <a:cubicBezTo>
                    <a:pt x="2" y="74"/>
                    <a:pt x="10" y="53"/>
                    <a:pt x="29" y="37"/>
                  </a:cubicBezTo>
                  <a:cubicBezTo>
                    <a:pt x="72" y="0"/>
                    <a:pt x="140" y="2"/>
                    <a:pt x="140" y="2"/>
                  </a:cubicBezTo>
                  <a:cubicBezTo>
                    <a:pt x="140" y="2"/>
                    <a:pt x="132" y="56"/>
                    <a:pt x="105" y="85"/>
                  </a:cubicBezTo>
                  <a:cubicBezTo>
                    <a:pt x="66" y="126"/>
                    <a:pt x="29" y="134"/>
                    <a:pt x="29" y="134"/>
                  </a:cubicBezTo>
                  <a:cubicBezTo>
                    <a:pt x="29" y="134"/>
                    <a:pt x="27" y="98"/>
                    <a:pt x="55" y="65"/>
                  </a:cubicBezTo>
                  <a:cubicBezTo>
                    <a:pt x="84" y="32"/>
                    <a:pt x="111" y="24"/>
                    <a:pt x="111" y="24"/>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66" name="Freeform 379">
              <a:extLst>
                <a:ext uri="{FF2B5EF4-FFF2-40B4-BE49-F238E27FC236}">
                  <a16:creationId xmlns:a16="http://schemas.microsoft.com/office/drawing/2014/main" id="{1ABFAB8C-A8B1-43E6-B4D1-BA60005270D6}"/>
                </a:ext>
              </a:extLst>
            </p:cNvPr>
            <p:cNvSpPr>
              <a:spLocks/>
            </p:cNvSpPr>
            <p:nvPr/>
          </p:nvSpPr>
          <p:spPr bwMode="auto">
            <a:xfrm>
              <a:off x="3784601" y="2873375"/>
              <a:ext cx="227013" cy="198438"/>
            </a:xfrm>
            <a:custGeom>
              <a:avLst/>
              <a:gdLst/>
              <a:ahLst/>
              <a:cxnLst>
                <a:cxn ang="0">
                  <a:pos x="90" y="88"/>
                </a:cxn>
                <a:cxn ang="0">
                  <a:pos x="73" y="24"/>
                </a:cxn>
                <a:cxn ang="0">
                  <a:pos x="0" y="1"/>
                </a:cxn>
                <a:cxn ang="0">
                  <a:pos x="23" y="56"/>
                </a:cxn>
                <a:cxn ang="0">
                  <a:pos x="73" y="88"/>
                </a:cxn>
                <a:cxn ang="0">
                  <a:pos x="56" y="43"/>
                </a:cxn>
                <a:cxn ang="0">
                  <a:pos x="20" y="16"/>
                </a:cxn>
              </a:cxnLst>
              <a:rect l="0" t="0" r="r" b="b"/>
              <a:pathLst>
                <a:path w="101" h="88">
                  <a:moveTo>
                    <a:pt x="90" y="88"/>
                  </a:moveTo>
                  <a:cubicBezTo>
                    <a:pt x="90" y="88"/>
                    <a:pt x="101" y="49"/>
                    <a:pt x="73" y="24"/>
                  </a:cubicBezTo>
                  <a:cubicBezTo>
                    <a:pt x="45" y="0"/>
                    <a:pt x="0" y="1"/>
                    <a:pt x="0" y="1"/>
                  </a:cubicBezTo>
                  <a:cubicBezTo>
                    <a:pt x="0" y="1"/>
                    <a:pt x="5" y="37"/>
                    <a:pt x="23" y="56"/>
                  </a:cubicBezTo>
                  <a:cubicBezTo>
                    <a:pt x="48" y="83"/>
                    <a:pt x="73" y="88"/>
                    <a:pt x="73" y="88"/>
                  </a:cubicBezTo>
                  <a:cubicBezTo>
                    <a:pt x="73" y="88"/>
                    <a:pt x="74" y="65"/>
                    <a:pt x="56" y="43"/>
                  </a:cubicBezTo>
                  <a:cubicBezTo>
                    <a:pt x="37" y="21"/>
                    <a:pt x="20" y="16"/>
                    <a:pt x="20" y="16"/>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grpSp>
        <p:nvGrpSpPr>
          <p:cNvPr id="160" name="Groupe 397">
            <a:extLst>
              <a:ext uri="{FF2B5EF4-FFF2-40B4-BE49-F238E27FC236}">
                <a16:creationId xmlns:a16="http://schemas.microsoft.com/office/drawing/2014/main" id="{E5B8A284-A2AF-4BD1-9B09-689AAF148E49}"/>
              </a:ext>
            </a:extLst>
          </p:cNvPr>
          <p:cNvGrpSpPr/>
          <p:nvPr/>
        </p:nvGrpSpPr>
        <p:grpSpPr>
          <a:xfrm>
            <a:off x="5729187" y="2911551"/>
            <a:ext cx="224862" cy="187156"/>
            <a:chOff x="2589213" y="5373688"/>
            <a:chExt cx="520701" cy="433387"/>
          </a:xfrm>
        </p:grpSpPr>
        <p:sp>
          <p:nvSpPr>
            <p:cNvPr id="161" name="Freeform 151">
              <a:extLst>
                <a:ext uri="{FF2B5EF4-FFF2-40B4-BE49-F238E27FC236}">
                  <a16:creationId xmlns:a16="http://schemas.microsoft.com/office/drawing/2014/main" id="{D2868031-84C1-4A67-84E5-1A72BABF081E}"/>
                </a:ext>
              </a:extLst>
            </p:cNvPr>
            <p:cNvSpPr>
              <a:spLocks/>
            </p:cNvSpPr>
            <p:nvPr/>
          </p:nvSpPr>
          <p:spPr bwMode="auto">
            <a:xfrm>
              <a:off x="2589213" y="5373688"/>
              <a:ext cx="296863" cy="330200"/>
            </a:xfrm>
            <a:custGeom>
              <a:avLst/>
              <a:gdLst/>
              <a:ahLst/>
              <a:cxnLst>
                <a:cxn ang="0">
                  <a:pos x="0" y="29"/>
                </a:cxn>
                <a:cxn ang="0">
                  <a:pos x="19" y="11"/>
                </a:cxn>
                <a:cxn ang="0">
                  <a:pos x="97" y="94"/>
                </a:cxn>
                <a:cxn ang="0">
                  <a:pos x="89" y="100"/>
                </a:cxn>
                <a:cxn ang="0">
                  <a:pos x="117" y="130"/>
                </a:cxn>
                <a:cxn ang="0">
                  <a:pos x="118" y="85"/>
                </a:cxn>
                <a:cxn ang="0">
                  <a:pos x="112" y="87"/>
                </a:cxn>
                <a:cxn ang="0">
                  <a:pos x="54" y="16"/>
                </a:cxn>
                <a:cxn ang="0">
                  <a:pos x="28" y="1"/>
                </a:cxn>
                <a:cxn ang="0">
                  <a:pos x="20" y="2"/>
                </a:cxn>
              </a:cxnLst>
              <a:rect l="0" t="0" r="r" b="b"/>
              <a:pathLst>
                <a:path w="118" h="130">
                  <a:moveTo>
                    <a:pt x="0" y="29"/>
                  </a:moveTo>
                  <a:cubicBezTo>
                    <a:pt x="0" y="29"/>
                    <a:pt x="4" y="9"/>
                    <a:pt x="19" y="11"/>
                  </a:cubicBezTo>
                  <a:cubicBezTo>
                    <a:pt x="49" y="16"/>
                    <a:pt x="97" y="94"/>
                    <a:pt x="97" y="94"/>
                  </a:cubicBezTo>
                  <a:cubicBezTo>
                    <a:pt x="89" y="100"/>
                    <a:pt x="89" y="100"/>
                    <a:pt x="89" y="100"/>
                  </a:cubicBezTo>
                  <a:cubicBezTo>
                    <a:pt x="117" y="130"/>
                    <a:pt x="117" y="130"/>
                    <a:pt x="117" y="130"/>
                  </a:cubicBezTo>
                  <a:cubicBezTo>
                    <a:pt x="118" y="85"/>
                    <a:pt x="118" y="85"/>
                    <a:pt x="118" y="85"/>
                  </a:cubicBezTo>
                  <a:cubicBezTo>
                    <a:pt x="112" y="87"/>
                    <a:pt x="112" y="87"/>
                    <a:pt x="112" y="87"/>
                  </a:cubicBezTo>
                  <a:cubicBezTo>
                    <a:pt x="112" y="87"/>
                    <a:pt x="75" y="34"/>
                    <a:pt x="54" y="16"/>
                  </a:cubicBezTo>
                  <a:cubicBezTo>
                    <a:pt x="43" y="5"/>
                    <a:pt x="34" y="0"/>
                    <a:pt x="28" y="1"/>
                  </a:cubicBezTo>
                  <a:cubicBezTo>
                    <a:pt x="23" y="1"/>
                    <a:pt x="20" y="2"/>
                    <a:pt x="20" y="2"/>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62" name="Freeform 152">
              <a:extLst>
                <a:ext uri="{FF2B5EF4-FFF2-40B4-BE49-F238E27FC236}">
                  <a16:creationId xmlns:a16="http://schemas.microsoft.com/office/drawing/2014/main" id="{225BB6F8-90DB-461C-A841-281B6A3AC083}"/>
                </a:ext>
              </a:extLst>
            </p:cNvPr>
            <p:cNvSpPr>
              <a:spLocks/>
            </p:cNvSpPr>
            <p:nvPr/>
          </p:nvSpPr>
          <p:spPr bwMode="auto">
            <a:xfrm>
              <a:off x="2752726" y="5653088"/>
              <a:ext cx="254000" cy="85725"/>
            </a:xfrm>
            <a:custGeom>
              <a:avLst/>
              <a:gdLst/>
              <a:ahLst/>
              <a:cxnLst>
                <a:cxn ang="0">
                  <a:pos x="80" y="0"/>
                </a:cxn>
                <a:cxn ang="0">
                  <a:pos x="101" y="15"/>
                </a:cxn>
                <a:cxn ang="0">
                  <a:pos x="50" y="34"/>
                </a:cxn>
                <a:cxn ang="0">
                  <a:pos x="0" y="15"/>
                </a:cxn>
                <a:cxn ang="0">
                  <a:pos x="17" y="1"/>
                </a:cxn>
              </a:cxnLst>
              <a:rect l="0" t="0" r="r" b="b"/>
              <a:pathLst>
                <a:path w="101" h="34">
                  <a:moveTo>
                    <a:pt x="80" y="0"/>
                  </a:moveTo>
                  <a:cubicBezTo>
                    <a:pt x="93" y="3"/>
                    <a:pt x="101" y="9"/>
                    <a:pt x="101" y="15"/>
                  </a:cubicBezTo>
                  <a:cubicBezTo>
                    <a:pt x="101" y="25"/>
                    <a:pt x="78" y="34"/>
                    <a:pt x="50" y="34"/>
                  </a:cubicBezTo>
                  <a:cubicBezTo>
                    <a:pt x="23" y="34"/>
                    <a:pt x="0" y="25"/>
                    <a:pt x="0" y="15"/>
                  </a:cubicBezTo>
                  <a:cubicBezTo>
                    <a:pt x="0" y="10"/>
                    <a:pt x="7" y="4"/>
                    <a:pt x="17" y="1"/>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63" name="Freeform 153">
              <a:extLst>
                <a:ext uri="{FF2B5EF4-FFF2-40B4-BE49-F238E27FC236}">
                  <a16:creationId xmlns:a16="http://schemas.microsoft.com/office/drawing/2014/main" id="{85836B3E-174C-4F06-B004-0D0AB79BBC15}"/>
                </a:ext>
              </a:extLst>
            </p:cNvPr>
            <p:cNvSpPr>
              <a:spLocks/>
            </p:cNvSpPr>
            <p:nvPr/>
          </p:nvSpPr>
          <p:spPr bwMode="auto">
            <a:xfrm>
              <a:off x="2700338" y="5649913"/>
              <a:ext cx="354013" cy="119062"/>
            </a:xfrm>
            <a:custGeom>
              <a:avLst/>
              <a:gdLst/>
              <a:ahLst/>
              <a:cxnLst>
                <a:cxn ang="0">
                  <a:pos x="113" y="0"/>
                </a:cxn>
                <a:cxn ang="0">
                  <a:pos x="116" y="1"/>
                </a:cxn>
                <a:cxn ang="0">
                  <a:pos x="141" y="21"/>
                </a:cxn>
                <a:cxn ang="0">
                  <a:pos x="71" y="47"/>
                </a:cxn>
                <a:cxn ang="0">
                  <a:pos x="0" y="21"/>
                </a:cxn>
                <a:cxn ang="0">
                  <a:pos x="21" y="2"/>
                </a:cxn>
              </a:cxnLst>
              <a:rect l="0" t="0" r="r" b="b"/>
              <a:pathLst>
                <a:path w="141" h="47">
                  <a:moveTo>
                    <a:pt x="113" y="0"/>
                  </a:moveTo>
                  <a:cubicBezTo>
                    <a:pt x="114" y="0"/>
                    <a:pt x="116" y="0"/>
                    <a:pt x="116" y="1"/>
                  </a:cubicBezTo>
                  <a:cubicBezTo>
                    <a:pt x="132" y="6"/>
                    <a:pt x="141" y="13"/>
                    <a:pt x="141" y="21"/>
                  </a:cubicBezTo>
                  <a:cubicBezTo>
                    <a:pt x="141" y="36"/>
                    <a:pt x="110" y="47"/>
                    <a:pt x="71" y="47"/>
                  </a:cubicBezTo>
                  <a:cubicBezTo>
                    <a:pt x="32" y="47"/>
                    <a:pt x="0" y="36"/>
                    <a:pt x="0" y="21"/>
                  </a:cubicBezTo>
                  <a:cubicBezTo>
                    <a:pt x="0" y="14"/>
                    <a:pt x="8" y="7"/>
                    <a:pt x="21" y="2"/>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64" name="Freeform 154">
              <a:extLst>
                <a:ext uri="{FF2B5EF4-FFF2-40B4-BE49-F238E27FC236}">
                  <a16:creationId xmlns:a16="http://schemas.microsoft.com/office/drawing/2014/main" id="{430CB670-2584-49AF-861F-180E9C09E7BA}"/>
                </a:ext>
              </a:extLst>
            </p:cNvPr>
            <p:cNvSpPr>
              <a:spLocks/>
            </p:cNvSpPr>
            <p:nvPr/>
          </p:nvSpPr>
          <p:spPr bwMode="auto">
            <a:xfrm>
              <a:off x="2647951" y="5645150"/>
              <a:ext cx="461963" cy="161925"/>
            </a:xfrm>
            <a:custGeom>
              <a:avLst/>
              <a:gdLst/>
              <a:ahLst/>
              <a:cxnLst>
                <a:cxn ang="0">
                  <a:pos x="147" y="0"/>
                </a:cxn>
                <a:cxn ang="0">
                  <a:pos x="151" y="2"/>
                </a:cxn>
                <a:cxn ang="0">
                  <a:pos x="184" y="29"/>
                </a:cxn>
                <a:cxn ang="0">
                  <a:pos x="92" y="64"/>
                </a:cxn>
                <a:cxn ang="0">
                  <a:pos x="0" y="29"/>
                </a:cxn>
                <a:cxn ang="0">
                  <a:pos x="27" y="4"/>
                </a:cxn>
              </a:cxnLst>
              <a:rect l="0" t="0" r="r" b="b"/>
              <a:pathLst>
                <a:path w="184" h="64">
                  <a:moveTo>
                    <a:pt x="147" y="0"/>
                  </a:moveTo>
                  <a:cubicBezTo>
                    <a:pt x="148" y="0"/>
                    <a:pt x="150" y="1"/>
                    <a:pt x="151" y="2"/>
                  </a:cubicBezTo>
                  <a:cubicBezTo>
                    <a:pt x="171" y="8"/>
                    <a:pt x="184" y="18"/>
                    <a:pt x="184" y="29"/>
                  </a:cubicBezTo>
                  <a:cubicBezTo>
                    <a:pt x="184" y="48"/>
                    <a:pt x="143" y="64"/>
                    <a:pt x="92" y="64"/>
                  </a:cubicBezTo>
                  <a:cubicBezTo>
                    <a:pt x="41" y="64"/>
                    <a:pt x="0" y="48"/>
                    <a:pt x="0" y="29"/>
                  </a:cubicBezTo>
                  <a:cubicBezTo>
                    <a:pt x="0" y="18"/>
                    <a:pt x="10" y="10"/>
                    <a:pt x="27" y="4"/>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grpSp>
        <p:nvGrpSpPr>
          <p:cNvPr id="165" name="Groupe 372">
            <a:extLst>
              <a:ext uri="{FF2B5EF4-FFF2-40B4-BE49-F238E27FC236}">
                <a16:creationId xmlns:a16="http://schemas.microsoft.com/office/drawing/2014/main" id="{6067989C-4131-4F39-B130-AE62BAF2F750}"/>
              </a:ext>
            </a:extLst>
          </p:cNvPr>
          <p:cNvGrpSpPr/>
          <p:nvPr/>
        </p:nvGrpSpPr>
        <p:grpSpPr>
          <a:xfrm>
            <a:off x="8920056" y="2648042"/>
            <a:ext cx="315934" cy="195251"/>
            <a:chOff x="3784601" y="2755900"/>
            <a:chExt cx="511175" cy="315913"/>
          </a:xfrm>
        </p:grpSpPr>
        <p:sp>
          <p:nvSpPr>
            <p:cNvPr id="166" name="Freeform 378">
              <a:extLst>
                <a:ext uri="{FF2B5EF4-FFF2-40B4-BE49-F238E27FC236}">
                  <a16:creationId xmlns:a16="http://schemas.microsoft.com/office/drawing/2014/main" id="{F5303299-8C5C-44AB-8E73-63088B62CE54}"/>
                </a:ext>
              </a:extLst>
            </p:cNvPr>
            <p:cNvSpPr>
              <a:spLocks/>
            </p:cNvSpPr>
            <p:nvPr/>
          </p:nvSpPr>
          <p:spPr bwMode="auto">
            <a:xfrm>
              <a:off x="3979863" y="2755900"/>
              <a:ext cx="315913" cy="301625"/>
            </a:xfrm>
            <a:custGeom>
              <a:avLst/>
              <a:gdLst/>
              <a:ahLst/>
              <a:cxnLst>
                <a:cxn ang="0">
                  <a:pos x="0" y="92"/>
                </a:cxn>
                <a:cxn ang="0">
                  <a:pos x="29" y="37"/>
                </a:cxn>
                <a:cxn ang="0">
                  <a:pos x="140" y="2"/>
                </a:cxn>
                <a:cxn ang="0">
                  <a:pos x="105" y="85"/>
                </a:cxn>
                <a:cxn ang="0">
                  <a:pos x="29" y="134"/>
                </a:cxn>
                <a:cxn ang="0">
                  <a:pos x="55" y="65"/>
                </a:cxn>
                <a:cxn ang="0">
                  <a:pos x="111" y="24"/>
                </a:cxn>
              </a:cxnLst>
              <a:rect l="0" t="0" r="r" b="b"/>
              <a:pathLst>
                <a:path w="140" h="134">
                  <a:moveTo>
                    <a:pt x="0" y="92"/>
                  </a:moveTo>
                  <a:cubicBezTo>
                    <a:pt x="2" y="74"/>
                    <a:pt x="10" y="53"/>
                    <a:pt x="29" y="37"/>
                  </a:cubicBezTo>
                  <a:cubicBezTo>
                    <a:pt x="72" y="0"/>
                    <a:pt x="140" y="2"/>
                    <a:pt x="140" y="2"/>
                  </a:cubicBezTo>
                  <a:cubicBezTo>
                    <a:pt x="140" y="2"/>
                    <a:pt x="132" y="56"/>
                    <a:pt x="105" y="85"/>
                  </a:cubicBezTo>
                  <a:cubicBezTo>
                    <a:pt x="66" y="126"/>
                    <a:pt x="29" y="134"/>
                    <a:pt x="29" y="134"/>
                  </a:cubicBezTo>
                  <a:cubicBezTo>
                    <a:pt x="29" y="134"/>
                    <a:pt x="27" y="98"/>
                    <a:pt x="55" y="65"/>
                  </a:cubicBezTo>
                  <a:cubicBezTo>
                    <a:pt x="84" y="32"/>
                    <a:pt x="111" y="24"/>
                    <a:pt x="111" y="24"/>
                  </a:cubicBezTo>
                </a:path>
              </a:pathLst>
            </a:custGeom>
            <a:noFill/>
            <a:ln w="12700" cap="rnd">
              <a:solidFill>
                <a:schemeClr val="accent6"/>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67" name="Freeform 379">
              <a:extLst>
                <a:ext uri="{FF2B5EF4-FFF2-40B4-BE49-F238E27FC236}">
                  <a16:creationId xmlns:a16="http://schemas.microsoft.com/office/drawing/2014/main" id="{B8316410-D887-4C47-A3B6-616DE87D4590}"/>
                </a:ext>
              </a:extLst>
            </p:cNvPr>
            <p:cNvSpPr>
              <a:spLocks/>
            </p:cNvSpPr>
            <p:nvPr/>
          </p:nvSpPr>
          <p:spPr bwMode="auto">
            <a:xfrm>
              <a:off x="3784601" y="2873375"/>
              <a:ext cx="227013" cy="198438"/>
            </a:xfrm>
            <a:custGeom>
              <a:avLst/>
              <a:gdLst/>
              <a:ahLst/>
              <a:cxnLst>
                <a:cxn ang="0">
                  <a:pos x="90" y="88"/>
                </a:cxn>
                <a:cxn ang="0">
                  <a:pos x="73" y="24"/>
                </a:cxn>
                <a:cxn ang="0">
                  <a:pos x="0" y="1"/>
                </a:cxn>
                <a:cxn ang="0">
                  <a:pos x="23" y="56"/>
                </a:cxn>
                <a:cxn ang="0">
                  <a:pos x="73" y="88"/>
                </a:cxn>
                <a:cxn ang="0">
                  <a:pos x="56" y="43"/>
                </a:cxn>
                <a:cxn ang="0">
                  <a:pos x="20" y="16"/>
                </a:cxn>
              </a:cxnLst>
              <a:rect l="0" t="0" r="r" b="b"/>
              <a:pathLst>
                <a:path w="101" h="88">
                  <a:moveTo>
                    <a:pt x="90" y="88"/>
                  </a:moveTo>
                  <a:cubicBezTo>
                    <a:pt x="90" y="88"/>
                    <a:pt x="101" y="49"/>
                    <a:pt x="73" y="24"/>
                  </a:cubicBezTo>
                  <a:cubicBezTo>
                    <a:pt x="45" y="0"/>
                    <a:pt x="0" y="1"/>
                    <a:pt x="0" y="1"/>
                  </a:cubicBezTo>
                  <a:cubicBezTo>
                    <a:pt x="0" y="1"/>
                    <a:pt x="5" y="37"/>
                    <a:pt x="23" y="56"/>
                  </a:cubicBezTo>
                  <a:cubicBezTo>
                    <a:pt x="48" y="83"/>
                    <a:pt x="73" y="88"/>
                    <a:pt x="73" y="88"/>
                  </a:cubicBezTo>
                  <a:cubicBezTo>
                    <a:pt x="73" y="88"/>
                    <a:pt x="74" y="65"/>
                    <a:pt x="56" y="43"/>
                  </a:cubicBezTo>
                  <a:cubicBezTo>
                    <a:pt x="37" y="21"/>
                    <a:pt x="20" y="16"/>
                    <a:pt x="20" y="16"/>
                  </a:cubicBezTo>
                </a:path>
              </a:pathLst>
            </a:custGeom>
            <a:noFill/>
            <a:ln w="12700" cap="rnd">
              <a:solidFill>
                <a:schemeClr val="accent6"/>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grpSp>
        <p:nvGrpSpPr>
          <p:cNvPr id="168" name="Groupe 397">
            <a:extLst>
              <a:ext uri="{FF2B5EF4-FFF2-40B4-BE49-F238E27FC236}">
                <a16:creationId xmlns:a16="http://schemas.microsoft.com/office/drawing/2014/main" id="{02611127-3A34-4639-AE80-1467523C329F}"/>
              </a:ext>
            </a:extLst>
          </p:cNvPr>
          <p:cNvGrpSpPr/>
          <p:nvPr/>
        </p:nvGrpSpPr>
        <p:grpSpPr>
          <a:xfrm>
            <a:off x="8983616" y="2911551"/>
            <a:ext cx="224862" cy="187156"/>
            <a:chOff x="2589213" y="5373688"/>
            <a:chExt cx="520701" cy="433387"/>
          </a:xfrm>
        </p:grpSpPr>
        <p:sp>
          <p:nvSpPr>
            <p:cNvPr id="169" name="Freeform 151">
              <a:extLst>
                <a:ext uri="{FF2B5EF4-FFF2-40B4-BE49-F238E27FC236}">
                  <a16:creationId xmlns:a16="http://schemas.microsoft.com/office/drawing/2014/main" id="{87CCAB91-7D46-4E62-A6DE-2627FBAEAC0B}"/>
                </a:ext>
              </a:extLst>
            </p:cNvPr>
            <p:cNvSpPr>
              <a:spLocks/>
            </p:cNvSpPr>
            <p:nvPr/>
          </p:nvSpPr>
          <p:spPr bwMode="auto">
            <a:xfrm>
              <a:off x="2589213" y="5373688"/>
              <a:ext cx="296863" cy="330200"/>
            </a:xfrm>
            <a:custGeom>
              <a:avLst/>
              <a:gdLst/>
              <a:ahLst/>
              <a:cxnLst>
                <a:cxn ang="0">
                  <a:pos x="0" y="29"/>
                </a:cxn>
                <a:cxn ang="0">
                  <a:pos x="19" y="11"/>
                </a:cxn>
                <a:cxn ang="0">
                  <a:pos x="97" y="94"/>
                </a:cxn>
                <a:cxn ang="0">
                  <a:pos x="89" y="100"/>
                </a:cxn>
                <a:cxn ang="0">
                  <a:pos x="117" y="130"/>
                </a:cxn>
                <a:cxn ang="0">
                  <a:pos x="118" y="85"/>
                </a:cxn>
                <a:cxn ang="0">
                  <a:pos x="112" y="87"/>
                </a:cxn>
                <a:cxn ang="0">
                  <a:pos x="54" y="16"/>
                </a:cxn>
                <a:cxn ang="0">
                  <a:pos x="28" y="1"/>
                </a:cxn>
                <a:cxn ang="0">
                  <a:pos x="20" y="2"/>
                </a:cxn>
              </a:cxnLst>
              <a:rect l="0" t="0" r="r" b="b"/>
              <a:pathLst>
                <a:path w="118" h="130">
                  <a:moveTo>
                    <a:pt x="0" y="29"/>
                  </a:moveTo>
                  <a:cubicBezTo>
                    <a:pt x="0" y="29"/>
                    <a:pt x="4" y="9"/>
                    <a:pt x="19" y="11"/>
                  </a:cubicBezTo>
                  <a:cubicBezTo>
                    <a:pt x="49" y="16"/>
                    <a:pt x="97" y="94"/>
                    <a:pt x="97" y="94"/>
                  </a:cubicBezTo>
                  <a:cubicBezTo>
                    <a:pt x="89" y="100"/>
                    <a:pt x="89" y="100"/>
                    <a:pt x="89" y="100"/>
                  </a:cubicBezTo>
                  <a:cubicBezTo>
                    <a:pt x="117" y="130"/>
                    <a:pt x="117" y="130"/>
                    <a:pt x="117" y="130"/>
                  </a:cubicBezTo>
                  <a:cubicBezTo>
                    <a:pt x="118" y="85"/>
                    <a:pt x="118" y="85"/>
                    <a:pt x="118" y="85"/>
                  </a:cubicBezTo>
                  <a:cubicBezTo>
                    <a:pt x="112" y="87"/>
                    <a:pt x="112" y="87"/>
                    <a:pt x="112" y="87"/>
                  </a:cubicBezTo>
                  <a:cubicBezTo>
                    <a:pt x="112" y="87"/>
                    <a:pt x="75" y="34"/>
                    <a:pt x="54" y="16"/>
                  </a:cubicBezTo>
                  <a:cubicBezTo>
                    <a:pt x="43" y="5"/>
                    <a:pt x="34" y="0"/>
                    <a:pt x="28" y="1"/>
                  </a:cubicBezTo>
                  <a:cubicBezTo>
                    <a:pt x="23" y="1"/>
                    <a:pt x="20" y="2"/>
                    <a:pt x="20" y="2"/>
                  </a:cubicBezTo>
                </a:path>
              </a:pathLst>
            </a:custGeom>
            <a:noFill/>
            <a:ln w="12700" cap="rnd">
              <a:solidFill>
                <a:schemeClr val="accent6"/>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70" name="Freeform 152">
              <a:extLst>
                <a:ext uri="{FF2B5EF4-FFF2-40B4-BE49-F238E27FC236}">
                  <a16:creationId xmlns:a16="http://schemas.microsoft.com/office/drawing/2014/main" id="{A5BBB857-5DBB-48F8-A8C2-BFB0D1BB24A7}"/>
                </a:ext>
              </a:extLst>
            </p:cNvPr>
            <p:cNvSpPr>
              <a:spLocks/>
            </p:cNvSpPr>
            <p:nvPr/>
          </p:nvSpPr>
          <p:spPr bwMode="auto">
            <a:xfrm>
              <a:off x="2752726" y="5653088"/>
              <a:ext cx="254000" cy="85725"/>
            </a:xfrm>
            <a:custGeom>
              <a:avLst/>
              <a:gdLst/>
              <a:ahLst/>
              <a:cxnLst>
                <a:cxn ang="0">
                  <a:pos x="80" y="0"/>
                </a:cxn>
                <a:cxn ang="0">
                  <a:pos x="101" y="15"/>
                </a:cxn>
                <a:cxn ang="0">
                  <a:pos x="50" y="34"/>
                </a:cxn>
                <a:cxn ang="0">
                  <a:pos x="0" y="15"/>
                </a:cxn>
                <a:cxn ang="0">
                  <a:pos x="17" y="1"/>
                </a:cxn>
              </a:cxnLst>
              <a:rect l="0" t="0" r="r" b="b"/>
              <a:pathLst>
                <a:path w="101" h="34">
                  <a:moveTo>
                    <a:pt x="80" y="0"/>
                  </a:moveTo>
                  <a:cubicBezTo>
                    <a:pt x="93" y="3"/>
                    <a:pt x="101" y="9"/>
                    <a:pt x="101" y="15"/>
                  </a:cubicBezTo>
                  <a:cubicBezTo>
                    <a:pt x="101" y="25"/>
                    <a:pt x="78" y="34"/>
                    <a:pt x="50" y="34"/>
                  </a:cubicBezTo>
                  <a:cubicBezTo>
                    <a:pt x="23" y="34"/>
                    <a:pt x="0" y="25"/>
                    <a:pt x="0" y="15"/>
                  </a:cubicBezTo>
                  <a:cubicBezTo>
                    <a:pt x="0" y="10"/>
                    <a:pt x="7" y="4"/>
                    <a:pt x="17" y="1"/>
                  </a:cubicBezTo>
                </a:path>
              </a:pathLst>
            </a:custGeom>
            <a:noFill/>
            <a:ln w="12700" cap="rnd">
              <a:solidFill>
                <a:schemeClr val="accent6"/>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71" name="Freeform 153">
              <a:extLst>
                <a:ext uri="{FF2B5EF4-FFF2-40B4-BE49-F238E27FC236}">
                  <a16:creationId xmlns:a16="http://schemas.microsoft.com/office/drawing/2014/main" id="{7ACC2A8E-B0F0-4495-AA02-D4F329C5A775}"/>
                </a:ext>
              </a:extLst>
            </p:cNvPr>
            <p:cNvSpPr>
              <a:spLocks/>
            </p:cNvSpPr>
            <p:nvPr/>
          </p:nvSpPr>
          <p:spPr bwMode="auto">
            <a:xfrm>
              <a:off x="2700338" y="5649913"/>
              <a:ext cx="354013" cy="119062"/>
            </a:xfrm>
            <a:custGeom>
              <a:avLst/>
              <a:gdLst/>
              <a:ahLst/>
              <a:cxnLst>
                <a:cxn ang="0">
                  <a:pos x="113" y="0"/>
                </a:cxn>
                <a:cxn ang="0">
                  <a:pos x="116" y="1"/>
                </a:cxn>
                <a:cxn ang="0">
                  <a:pos x="141" y="21"/>
                </a:cxn>
                <a:cxn ang="0">
                  <a:pos x="71" y="47"/>
                </a:cxn>
                <a:cxn ang="0">
                  <a:pos x="0" y="21"/>
                </a:cxn>
                <a:cxn ang="0">
                  <a:pos x="21" y="2"/>
                </a:cxn>
              </a:cxnLst>
              <a:rect l="0" t="0" r="r" b="b"/>
              <a:pathLst>
                <a:path w="141" h="47">
                  <a:moveTo>
                    <a:pt x="113" y="0"/>
                  </a:moveTo>
                  <a:cubicBezTo>
                    <a:pt x="114" y="0"/>
                    <a:pt x="116" y="0"/>
                    <a:pt x="116" y="1"/>
                  </a:cubicBezTo>
                  <a:cubicBezTo>
                    <a:pt x="132" y="6"/>
                    <a:pt x="141" y="13"/>
                    <a:pt x="141" y="21"/>
                  </a:cubicBezTo>
                  <a:cubicBezTo>
                    <a:pt x="141" y="36"/>
                    <a:pt x="110" y="47"/>
                    <a:pt x="71" y="47"/>
                  </a:cubicBezTo>
                  <a:cubicBezTo>
                    <a:pt x="32" y="47"/>
                    <a:pt x="0" y="36"/>
                    <a:pt x="0" y="21"/>
                  </a:cubicBezTo>
                  <a:cubicBezTo>
                    <a:pt x="0" y="14"/>
                    <a:pt x="8" y="7"/>
                    <a:pt x="21" y="2"/>
                  </a:cubicBezTo>
                </a:path>
              </a:pathLst>
            </a:custGeom>
            <a:noFill/>
            <a:ln w="12700" cap="rnd">
              <a:solidFill>
                <a:schemeClr val="accent6"/>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72" name="Freeform 154">
              <a:extLst>
                <a:ext uri="{FF2B5EF4-FFF2-40B4-BE49-F238E27FC236}">
                  <a16:creationId xmlns:a16="http://schemas.microsoft.com/office/drawing/2014/main" id="{FD8B4F97-61DD-476A-87CD-401156F47287}"/>
                </a:ext>
              </a:extLst>
            </p:cNvPr>
            <p:cNvSpPr>
              <a:spLocks/>
            </p:cNvSpPr>
            <p:nvPr/>
          </p:nvSpPr>
          <p:spPr bwMode="auto">
            <a:xfrm>
              <a:off x="2647951" y="5645150"/>
              <a:ext cx="461963" cy="161925"/>
            </a:xfrm>
            <a:custGeom>
              <a:avLst/>
              <a:gdLst/>
              <a:ahLst/>
              <a:cxnLst>
                <a:cxn ang="0">
                  <a:pos x="147" y="0"/>
                </a:cxn>
                <a:cxn ang="0">
                  <a:pos x="151" y="2"/>
                </a:cxn>
                <a:cxn ang="0">
                  <a:pos x="184" y="29"/>
                </a:cxn>
                <a:cxn ang="0">
                  <a:pos x="92" y="64"/>
                </a:cxn>
                <a:cxn ang="0">
                  <a:pos x="0" y="29"/>
                </a:cxn>
                <a:cxn ang="0">
                  <a:pos x="27" y="4"/>
                </a:cxn>
              </a:cxnLst>
              <a:rect l="0" t="0" r="r" b="b"/>
              <a:pathLst>
                <a:path w="184" h="64">
                  <a:moveTo>
                    <a:pt x="147" y="0"/>
                  </a:moveTo>
                  <a:cubicBezTo>
                    <a:pt x="148" y="0"/>
                    <a:pt x="150" y="1"/>
                    <a:pt x="151" y="2"/>
                  </a:cubicBezTo>
                  <a:cubicBezTo>
                    <a:pt x="171" y="8"/>
                    <a:pt x="184" y="18"/>
                    <a:pt x="184" y="29"/>
                  </a:cubicBezTo>
                  <a:cubicBezTo>
                    <a:pt x="184" y="48"/>
                    <a:pt x="143" y="64"/>
                    <a:pt x="92" y="64"/>
                  </a:cubicBezTo>
                  <a:cubicBezTo>
                    <a:pt x="41" y="64"/>
                    <a:pt x="0" y="48"/>
                    <a:pt x="0" y="29"/>
                  </a:cubicBezTo>
                  <a:cubicBezTo>
                    <a:pt x="0" y="18"/>
                    <a:pt x="10" y="10"/>
                    <a:pt x="27" y="4"/>
                  </a:cubicBezTo>
                </a:path>
              </a:pathLst>
            </a:custGeom>
            <a:noFill/>
            <a:ln w="12700" cap="rnd">
              <a:solidFill>
                <a:schemeClr val="accent6"/>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grpSp>
        <p:nvGrpSpPr>
          <p:cNvPr id="173" name="Groupe 372">
            <a:extLst>
              <a:ext uri="{FF2B5EF4-FFF2-40B4-BE49-F238E27FC236}">
                <a16:creationId xmlns:a16="http://schemas.microsoft.com/office/drawing/2014/main" id="{955FBCFC-D49B-4913-8E3A-F8546EE11BFC}"/>
              </a:ext>
            </a:extLst>
          </p:cNvPr>
          <p:cNvGrpSpPr/>
          <p:nvPr/>
        </p:nvGrpSpPr>
        <p:grpSpPr>
          <a:xfrm>
            <a:off x="10596456" y="2648042"/>
            <a:ext cx="315934" cy="195251"/>
            <a:chOff x="3784601" y="2755900"/>
            <a:chExt cx="511175" cy="315913"/>
          </a:xfrm>
        </p:grpSpPr>
        <p:sp>
          <p:nvSpPr>
            <p:cNvPr id="174" name="Freeform 378">
              <a:extLst>
                <a:ext uri="{FF2B5EF4-FFF2-40B4-BE49-F238E27FC236}">
                  <a16:creationId xmlns:a16="http://schemas.microsoft.com/office/drawing/2014/main" id="{A6A6152C-2DF5-489B-97CD-31F474EBE219}"/>
                </a:ext>
              </a:extLst>
            </p:cNvPr>
            <p:cNvSpPr>
              <a:spLocks/>
            </p:cNvSpPr>
            <p:nvPr/>
          </p:nvSpPr>
          <p:spPr bwMode="auto">
            <a:xfrm>
              <a:off x="3979863" y="2755900"/>
              <a:ext cx="315913" cy="301625"/>
            </a:xfrm>
            <a:custGeom>
              <a:avLst/>
              <a:gdLst/>
              <a:ahLst/>
              <a:cxnLst>
                <a:cxn ang="0">
                  <a:pos x="0" y="92"/>
                </a:cxn>
                <a:cxn ang="0">
                  <a:pos x="29" y="37"/>
                </a:cxn>
                <a:cxn ang="0">
                  <a:pos x="140" y="2"/>
                </a:cxn>
                <a:cxn ang="0">
                  <a:pos x="105" y="85"/>
                </a:cxn>
                <a:cxn ang="0">
                  <a:pos x="29" y="134"/>
                </a:cxn>
                <a:cxn ang="0">
                  <a:pos x="55" y="65"/>
                </a:cxn>
                <a:cxn ang="0">
                  <a:pos x="111" y="24"/>
                </a:cxn>
              </a:cxnLst>
              <a:rect l="0" t="0" r="r" b="b"/>
              <a:pathLst>
                <a:path w="140" h="134">
                  <a:moveTo>
                    <a:pt x="0" y="92"/>
                  </a:moveTo>
                  <a:cubicBezTo>
                    <a:pt x="2" y="74"/>
                    <a:pt x="10" y="53"/>
                    <a:pt x="29" y="37"/>
                  </a:cubicBezTo>
                  <a:cubicBezTo>
                    <a:pt x="72" y="0"/>
                    <a:pt x="140" y="2"/>
                    <a:pt x="140" y="2"/>
                  </a:cubicBezTo>
                  <a:cubicBezTo>
                    <a:pt x="140" y="2"/>
                    <a:pt x="132" y="56"/>
                    <a:pt x="105" y="85"/>
                  </a:cubicBezTo>
                  <a:cubicBezTo>
                    <a:pt x="66" y="126"/>
                    <a:pt x="29" y="134"/>
                    <a:pt x="29" y="134"/>
                  </a:cubicBezTo>
                  <a:cubicBezTo>
                    <a:pt x="29" y="134"/>
                    <a:pt x="27" y="98"/>
                    <a:pt x="55" y="65"/>
                  </a:cubicBezTo>
                  <a:cubicBezTo>
                    <a:pt x="84" y="32"/>
                    <a:pt x="111" y="24"/>
                    <a:pt x="111" y="24"/>
                  </a:cubicBezTo>
                </a:path>
              </a:pathLst>
            </a:custGeom>
            <a:noFill/>
            <a:ln w="12700" cap="rnd">
              <a:solidFill>
                <a:schemeClr val="accent5"/>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75" name="Freeform 379">
              <a:extLst>
                <a:ext uri="{FF2B5EF4-FFF2-40B4-BE49-F238E27FC236}">
                  <a16:creationId xmlns:a16="http://schemas.microsoft.com/office/drawing/2014/main" id="{F0B9260A-7E4C-4E52-BDB1-502ADEF28CF9}"/>
                </a:ext>
              </a:extLst>
            </p:cNvPr>
            <p:cNvSpPr>
              <a:spLocks/>
            </p:cNvSpPr>
            <p:nvPr/>
          </p:nvSpPr>
          <p:spPr bwMode="auto">
            <a:xfrm>
              <a:off x="3784601" y="2873375"/>
              <a:ext cx="227013" cy="198438"/>
            </a:xfrm>
            <a:custGeom>
              <a:avLst/>
              <a:gdLst/>
              <a:ahLst/>
              <a:cxnLst>
                <a:cxn ang="0">
                  <a:pos x="90" y="88"/>
                </a:cxn>
                <a:cxn ang="0">
                  <a:pos x="73" y="24"/>
                </a:cxn>
                <a:cxn ang="0">
                  <a:pos x="0" y="1"/>
                </a:cxn>
                <a:cxn ang="0">
                  <a:pos x="23" y="56"/>
                </a:cxn>
                <a:cxn ang="0">
                  <a:pos x="73" y="88"/>
                </a:cxn>
                <a:cxn ang="0">
                  <a:pos x="56" y="43"/>
                </a:cxn>
                <a:cxn ang="0">
                  <a:pos x="20" y="16"/>
                </a:cxn>
              </a:cxnLst>
              <a:rect l="0" t="0" r="r" b="b"/>
              <a:pathLst>
                <a:path w="101" h="88">
                  <a:moveTo>
                    <a:pt x="90" y="88"/>
                  </a:moveTo>
                  <a:cubicBezTo>
                    <a:pt x="90" y="88"/>
                    <a:pt x="101" y="49"/>
                    <a:pt x="73" y="24"/>
                  </a:cubicBezTo>
                  <a:cubicBezTo>
                    <a:pt x="45" y="0"/>
                    <a:pt x="0" y="1"/>
                    <a:pt x="0" y="1"/>
                  </a:cubicBezTo>
                  <a:cubicBezTo>
                    <a:pt x="0" y="1"/>
                    <a:pt x="5" y="37"/>
                    <a:pt x="23" y="56"/>
                  </a:cubicBezTo>
                  <a:cubicBezTo>
                    <a:pt x="48" y="83"/>
                    <a:pt x="73" y="88"/>
                    <a:pt x="73" y="88"/>
                  </a:cubicBezTo>
                  <a:cubicBezTo>
                    <a:pt x="73" y="88"/>
                    <a:pt x="74" y="65"/>
                    <a:pt x="56" y="43"/>
                  </a:cubicBezTo>
                  <a:cubicBezTo>
                    <a:pt x="37" y="21"/>
                    <a:pt x="20" y="16"/>
                    <a:pt x="20" y="16"/>
                  </a:cubicBezTo>
                </a:path>
              </a:pathLst>
            </a:custGeom>
            <a:noFill/>
            <a:ln w="12700" cap="rnd">
              <a:solidFill>
                <a:schemeClr val="accent5"/>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grpSp>
        <p:nvGrpSpPr>
          <p:cNvPr id="176" name="Groupe 397">
            <a:extLst>
              <a:ext uri="{FF2B5EF4-FFF2-40B4-BE49-F238E27FC236}">
                <a16:creationId xmlns:a16="http://schemas.microsoft.com/office/drawing/2014/main" id="{FA3D19B4-6D18-4A7E-8BFD-1EACDC0B1B4C}"/>
              </a:ext>
            </a:extLst>
          </p:cNvPr>
          <p:cNvGrpSpPr/>
          <p:nvPr/>
        </p:nvGrpSpPr>
        <p:grpSpPr>
          <a:xfrm>
            <a:off x="10660016" y="2911551"/>
            <a:ext cx="224862" cy="187156"/>
            <a:chOff x="2589213" y="5373688"/>
            <a:chExt cx="520701" cy="433387"/>
          </a:xfrm>
        </p:grpSpPr>
        <p:sp>
          <p:nvSpPr>
            <p:cNvPr id="177" name="Freeform 151">
              <a:extLst>
                <a:ext uri="{FF2B5EF4-FFF2-40B4-BE49-F238E27FC236}">
                  <a16:creationId xmlns:a16="http://schemas.microsoft.com/office/drawing/2014/main" id="{2353F367-FC10-4C88-813F-1B152C53C194}"/>
                </a:ext>
              </a:extLst>
            </p:cNvPr>
            <p:cNvSpPr>
              <a:spLocks/>
            </p:cNvSpPr>
            <p:nvPr/>
          </p:nvSpPr>
          <p:spPr bwMode="auto">
            <a:xfrm>
              <a:off x="2589213" y="5373688"/>
              <a:ext cx="296863" cy="330200"/>
            </a:xfrm>
            <a:custGeom>
              <a:avLst/>
              <a:gdLst/>
              <a:ahLst/>
              <a:cxnLst>
                <a:cxn ang="0">
                  <a:pos x="0" y="29"/>
                </a:cxn>
                <a:cxn ang="0">
                  <a:pos x="19" y="11"/>
                </a:cxn>
                <a:cxn ang="0">
                  <a:pos x="97" y="94"/>
                </a:cxn>
                <a:cxn ang="0">
                  <a:pos x="89" y="100"/>
                </a:cxn>
                <a:cxn ang="0">
                  <a:pos x="117" y="130"/>
                </a:cxn>
                <a:cxn ang="0">
                  <a:pos x="118" y="85"/>
                </a:cxn>
                <a:cxn ang="0">
                  <a:pos x="112" y="87"/>
                </a:cxn>
                <a:cxn ang="0">
                  <a:pos x="54" y="16"/>
                </a:cxn>
                <a:cxn ang="0">
                  <a:pos x="28" y="1"/>
                </a:cxn>
                <a:cxn ang="0">
                  <a:pos x="20" y="2"/>
                </a:cxn>
              </a:cxnLst>
              <a:rect l="0" t="0" r="r" b="b"/>
              <a:pathLst>
                <a:path w="118" h="130">
                  <a:moveTo>
                    <a:pt x="0" y="29"/>
                  </a:moveTo>
                  <a:cubicBezTo>
                    <a:pt x="0" y="29"/>
                    <a:pt x="4" y="9"/>
                    <a:pt x="19" y="11"/>
                  </a:cubicBezTo>
                  <a:cubicBezTo>
                    <a:pt x="49" y="16"/>
                    <a:pt x="97" y="94"/>
                    <a:pt x="97" y="94"/>
                  </a:cubicBezTo>
                  <a:cubicBezTo>
                    <a:pt x="89" y="100"/>
                    <a:pt x="89" y="100"/>
                    <a:pt x="89" y="100"/>
                  </a:cubicBezTo>
                  <a:cubicBezTo>
                    <a:pt x="117" y="130"/>
                    <a:pt x="117" y="130"/>
                    <a:pt x="117" y="130"/>
                  </a:cubicBezTo>
                  <a:cubicBezTo>
                    <a:pt x="118" y="85"/>
                    <a:pt x="118" y="85"/>
                    <a:pt x="118" y="85"/>
                  </a:cubicBezTo>
                  <a:cubicBezTo>
                    <a:pt x="112" y="87"/>
                    <a:pt x="112" y="87"/>
                    <a:pt x="112" y="87"/>
                  </a:cubicBezTo>
                  <a:cubicBezTo>
                    <a:pt x="112" y="87"/>
                    <a:pt x="75" y="34"/>
                    <a:pt x="54" y="16"/>
                  </a:cubicBezTo>
                  <a:cubicBezTo>
                    <a:pt x="43" y="5"/>
                    <a:pt x="34" y="0"/>
                    <a:pt x="28" y="1"/>
                  </a:cubicBezTo>
                  <a:cubicBezTo>
                    <a:pt x="23" y="1"/>
                    <a:pt x="20" y="2"/>
                    <a:pt x="20" y="2"/>
                  </a:cubicBezTo>
                </a:path>
              </a:pathLst>
            </a:custGeom>
            <a:noFill/>
            <a:ln w="12700" cap="rnd">
              <a:solidFill>
                <a:schemeClr val="accent5"/>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78" name="Freeform 152">
              <a:extLst>
                <a:ext uri="{FF2B5EF4-FFF2-40B4-BE49-F238E27FC236}">
                  <a16:creationId xmlns:a16="http://schemas.microsoft.com/office/drawing/2014/main" id="{3AEDD74C-CFCE-46A6-875A-64CC70006966}"/>
                </a:ext>
              </a:extLst>
            </p:cNvPr>
            <p:cNvSpPr>
              <a:spLocks/>
            </p:cNvSpPr>
            <p:nvPr/>
          </p:nvSpPr>
          <p:spPr bwMode="auto">
            <a:xfrm>
              <a:off x="2752726" y="5653088"/>
              <a:ext cx="254000" cy="85725"/>
            </a:xfrm>
            <a:custGeom>
              <a:avLst/>
              <a:gdLst/>
              <a:ahLst/>
              <a:cxnLst>
                <a:cxn ang="0">
                  <a:pos x="80" y="0"/>
                </a:cxn>
                <a:cxn ang="0">
                  <a:pos x="101" y="15"/>
                </a:cxn>
                <a:cxn ang="0">
                  <a:pos x="50" y="34"/>
                </a:cxn>
                <a:cxn ang="0">
                  <a:pos x="0" y="15"/>
                </a:cxn>
                <a:cxn ang="0">
                  <a:pos x="17" y="1"/>
                </a:cxn>
              </a:cxnLst>
              <a:rect l="0" t="0" r="r" b="b"/>
              <a:pathLst>
                <a:path w="101" h="34">
                  <a:moveTo>
                    <a:pt x="80" y="0"/>
                  </a:moveTo>
                  <a:cubicBezTo>
                    <a:pt x="93" y="3"/>
                    <a:pt x="101" y="9"/>
                    <a:pt x="101" y="15"/>
                  </a:cubicBezTo>
                  <a:cubicBezTo>
                    <a:pt x="101" y="25"/>
                    <a:pt x="78" y="34"/>
                    <a:pt x="50" y="34"/>
                  </a:cubicBezTo>
                  <a:cubicBezTo>
                    <a:pt x="23" y="34"/>
                    <a:pt x="0" y="25"/>
                    <a:pt x="0" y="15"/>
                  </a:cubicBezTo>
                  <a:cubicBezTo>
                    <a:pt x="0" y="10"/>
                    <a:pt x="7" y="4"/>
                    <a:pt x="17" y="1"/>
                  </a:cubicBezTo>
                </a:path>
              </a:pathLst>
            </a:custGeom>
            <a:noFill/>
            <a:ln w="12700" cap="rnd">
              <a:solidFill>
                <a:schemeClr val="accent5"/>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79" name="Freeform 153">
              <a:extLst>
                <a:ext uri="{FF2B5EF4-FFF2-40B4-BE49-F238E27FC236}">
                  <a16:creationId xmlns:a16="http://schemas.microsoft.com/office/drawing/2014/main" id="{71AAA2D1-7EC0-4FEA-A5F2-29602D13A17B}"/>
                </a:ext>
              </a:extLst>
            </p:cNvPr>
            <p:cNvSpPr>
              <a:spLocks/>
            </p:cNvSpPr>
            <p:nvPr/>
          </p:nvSpPr>
          <p:spPr bwMode="auto">
            <a:xfrm>
              <a:off x="2700338" y="5649913"/>
              <a:ext cx="354013" cy="119062"/>
            </a:xfrm>
            <a:custGeom>
              <a:avLst/>
              <a:gdLst/>
              <a:ahLst/>
              <a:cxnLst>
                <a:cxn ang="0">
                  <a:pos x="113" y="0"/>
                </a:cxn>
                <a:cxn ang="0">
                  <a:pos x="116" y="1"/>
                </a:cxn>
                <a:cxn ang="0">
                  <a:pos x="141" y="21"/>
                </a:cxn>
                <a:cxn ang="0">
                  <a:pos x="71" y="47"/>
                </a:cxn>
                <a:cxn ang="0">
                  <a:pos x="0" y="21"/>
                </a:cxn>
                <a:cxn ang="0">
                  <a:pos x="21" y="2"/>
                </a:cxn>
              </a:cxnLst>
              <a:rect l="0" t="0" r="r" b="b"/>
              <a:pathLst>
                <a:path w="141" h="47">
                  <a:moveTo>
                    <a:pt x="113" y="0"/>
                  </a:moveTo>
                  <a:cubicBezTo>
                    <a:pt x="114" y="0"/>
                    <a:pt x="116" y="0"/>
                    <a:pt x="116" y="1"/>
                  </a:cubicBezTo>
                  <a:cubicBezTo>
                    <a:pt x="132" y="6"/>
                    <a:pt x="141" y="13"/>
                    <a:pt x="141" y="21"/>
                  </a:cubicBezTo>
                  <a:cubicBezTo>
                    <a:pt x="141" y="36"/>
                    <a:pt x="110" y="47"/>
                    <a:pt x="71" y="47"/>
                  </a:cubicBezTo>
                  <a:cubicBezTo>
                    <a:pt x="32" y="47"/>
                    <a:pt x="0" y="36"/>
                    <a:pt x="0" y="21"/>
                  </a:cubicBezTo>
                  <a:cubicBezTo>
                    <a:pt x="0" y="14"/>
                    <a:pt x="8" y="7"/>
                    <a:pt x="21" y="2"/>
                  </a:cubicBezTo>
                </a:path>
              </a:pathLst>
            </a:custGeom>
            <a:noFill/>
            <a:ln w="12700" cap="rnd">
              <a:solidFill>
                <a:schemeClr val="accent5"/>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80" name="Freeform 154">
              <a:extLst>
                <a:ext uri="{FF2B5EF4-FFF2-40B4-BE49-F238E27FC236}">
                  <a16:creationId xmlns:a16="http://schemas.microsoft.com/office/drawing/2014/main" id="{997F31C9-8DF1-47A8-992D-42EB140A8C28}"/>
                </a:ext>
              </a:extLst>
            </p:cNvPr>
            <p:cNvSpPr>
              <a:spLocks/>
            </p:cNvSpPr>
            <p:nvPr/>
          </p:nvSpPr>
          <p:spPr bwMode="auto">
            <a:xfrm>
              <a:off x="2647951" y="5645150"/>
              <a:ext cx="461963" cy="161925"/>
            </a:xfrm>
            <a:custGeom>
              <a:avLst/>
              <a:gdLst/>
              <a:ahLst/>
              <a:cxnLst>
                <a:cxn ang="0">
                  <a:pos x="147" y="0"/>
                </a:cxn>
                <a:cxn ang="0">
                  <a:pos x="151" y="2"/>
                </a:cxn>
                <a:cxn ang="0">
                  <a:pos x="184" y="29"/>
                </a:cxn>
                <a:cxn ang="0">
                  <a:pos x="92" y="64"/>
                </a:cxn>
                <a:cxn ang="0">
                  <a:pos x="0" y="29"/>
                </a:cxn>
                <a:cxn ang="0">
                  <a:pos x="27" y="4"/>
                </a:cxn>
              </a:cxnLst>
              <a:rect l="0" t="0" r="r" b="b"/>
              <a:pathLst>
                <a:path w="184" h="64">
                  <a:moveTo>
                    <a:pt x="147" y="0"/>
                  </a:moveTo>
                  <a:cubicBezTo>
                    <a:pt x="148" y="0"/>
                    <a:pt x="150" y="1"/>
                    <a:pt x="151" y="2"/>
                  </a:cubicBezTo>
                  <a:cubicBezTo>
                    <a:pt x="171" y="8"/>
                    <a:pt x="184" y="18"/>
                    <a:pt x="184" y="29"/>
                  </a:cubicBezTo>
                  <a:cubicBezTo>
                    <a:pt x="184" y="48"/>
                    <a:pt x="143" y="64"/>
                    <a:pt x="92" y="64"/>
                  </a:cubicBezTo>
                  <a:cubicBezTo>
                    <a:pt x="41" y="64"/>
                    <a:pt x="0" y="48"/>
                    <a:pt x="0" y="29"/>
                  </a:cubicBezTo>
                  <a:cubicBezTo>
                    <a:pt x="0" y="18"/>
                    <a:pt x="10" y="10"/>
                    <a:pt x="27" y="4"/>
                  </a:cubicBezTo>
                </a:path>
              </a:pathLst>
            </a:custGeom>
            <a:noFill/>
            <a:ln w="12700" cap="rnd">
              <a:solidFill>
                <a:schemeClr val="accent5"/>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grpSp>
        <p:nvGrpSpPr>
          <p:cNvPr id="181" name="Groupe 394">
            <a:extLst>
              <a:ext uri="{FF2B5EF4-FFF2-40B4-BE49-F238E27FC236}">
                <a16:creationId xmlns:a16="http://schemas.microsoft.com/office/drawing/2014/main" id="{48ADEB74-3BF4-4125-BADC-C878B94BC354}"/>
              </a:ext>
            </a:extLst>
          </p:cNvPr>
          <p:cNvGrpSpPr/>
          <p:nvPr/>
        </p:nvGrpSpPr>
        <p:grpSpPr>
          <a:xfrm>
            <a:off x="7378692" y="2642702"/>
            <a:ext cx="206800" cy="208337"/>
            <a:chOff x="431801" y="5376863"/>
            <a:chExt cx="427037" cy="430212"/>
          </a:xfrm>
        </p:grpSpPr>
        <p:sp>
          <p:nvSpPr>
            <p:cNvPr id="182" name="Freeform 147">
              <a:extLst>
                <a:ext uri="{FF2B5EF4-FFF2-40B4-BE49-F238E27FC236}">
                  <a16:creationId xmlns:a16="http://schemas.microsoft.com/office/drawing/2014/main" id="{9564A3A8-CED0-449F-9BF2-538557B0E13A}"/>
                </a:ext>
              </a:extLst>
            </p:cNvPr>
            <p:cNvSpPr>
              <a:spLocks/>
            </p:cNvSpPr>
            <p:nvPr/>
          </p:nvSpPr>
          <p:spPr bwMode="auto">
            <a:xfrm>
              <a:off x="630238" y="5376863"/>
              <a:ext cx="228600" cy="217487"/>
            </a:xfrm>
            <a:custGeom>
              <a:avLst/>
              <a:gdLst/>
              <a:ahLst/>
              <a:cxnLst>
                <a:cxn ang="0">
                  <a:pos x="89" y="72"/>
                </a:cxn>
                <a:cxn ang="0">
                  <a:pos x="103" y="72"/>
                </a:cxn>
                <a:cxn ang="0">
                  <a:pos x="144" y="30"/>
                </a:cxn>
                <a:cxn ang="0">
                  <a:pos x="116" y="30"/>
                </a:cxn>
                <a:cxn ang="0">
                  <a:pos x="116" y="0"/>
                </a:cxn>
                <a:cxn ang="0">
                  <a:pos x="73" y="43"/>
                </a:cxn>
                <a:cxn ang="0">
                  <a:pos x="73" y="64"/>
                </a:cxn>
                <a:cxn ang="0">
                  <a:pos x="0" y="137"/>
                </a:cxn>
              </a:cxnLst>
              <a:rect l="0" t="0" r="r" b="b"/>
              <a:pathLst>
                <a:path w="144" h="137">
                  <a:moveTo>
                    <a:pt x="89" y="72"/>
                  </a:moveTo>
                  <a:lnTo>
                    <a:pt x="103" y="72"/>
                  </a:lnTo>
                  <a:lnTo>
                    <a:pt x="144" y="30"/>
                  </a:lnTo>
                  <a:lnTo>
                    <a:pt x="116" y="30"/>
                  </a:lnTo>
                  <a:lnTo>
                    <a:pt x="116" y="0"/>
                  </a:lnTo>
                  <a:lnTo>
                    <a:pt x="73" y="43"/>
                  </a:lnTo>
                  <a:lnTo>
                    <a:pt x="73" y="64"/>
                  </a:lnTo>
                  <a:lnTo>
                    <a:pt x="0" y="137"/>
                  </a:ln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83" name="Freeform 148">
              <a:extLst>
                <a:ext uri="{FF2B5EF4-FFF2-40B4-BE49-F238E27FC236}">
                  <a16:creationId xmlns:a16="http://schemas.microsoft.com/office/drawing/2014/main" id="{6361FD0E-DFF0-493A-83A2-D6A31D7DB623}"/>
                </a:ext>
              </a:extLst>
            </p:cNvPr>
            <p:cNvSpPr>
              <a:spLocks/>
            </p:cNvSpPr>
            <p:nvPr/>
          </p:nvSpPr>
          <p:spPr bwMode="auto">
            <a:xfrm>
              <a:off x="762001" y="5521325"/>
              <a:ext cx="1588" cy="1587"/>
            </a:xfrm>
            <a:custGeom>
              <a:avLst/>
              <a:gdLst/>
              <a:ahLst/>
              <a:cxnLst>
                <a:cxn ang="0">
                  <a:pos x="0" y="0"/>
                </a:cxn>
                <a:cxn ang="0">
                  <a:pos x="0" y="0"/>
                </a:cxn>
              </a:cxnLst>
              <a:rect l="0" t="0" r="r" b="b"/>
              <a:pathLst>
                <a:path>
                  <a:moveTo>
                    <a:pt x="0" y="0"/>
                  </a:moveTo>
                  <a:cubicBezTo>
                    <a:pt x="0" y="0"/>
                    <a:pt x="0" y="0"/>
                    <a:pt x="0" y="0"/>
                  </a:cubicBezTo>
                </a:path>
              </a:pathLst>
            </a:custGeom>
            <a:noFill/>
            <a:ln w="12700" cap="rnd">
              <a:solidFill>
                <a:schemeClr val="tx1"/>
              </a:solidFill>
              <a:prstDash val="solid"/>
              <a:bevel/>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84" name="Freeform 149">
              <a:extLst>
                <a:ext uri="{FF2B5EF4-FFF2-40B4-BE49-F238E27FC236}">
                  <a16:creationId xmlns:a16="http://schemas.microsoft.com/office/drawing/2014/main" id="{35427FA1-7636-416E-AF31-9B6A5DEFE139}"/>
                </a:ext>
              </a:extLst>
            </p:cNvPr>
            <p:cNvSpPr>
              <a:spLocks/>
            </p:cNvSpPr>
            <p:nvPr/>
          </p:nvSpPr>
          <p:spPr bwMode="auto">
            <a:xfrm>
              <a:off x="585788" y="5594350"/>
              <a:ext cx="57150" cy="58737"/>
            </a:xfrm>
            <a:custGeom>
              <a:avLst/>
              <a:gdLst/>
              <a:ahLst/>
              <a:cxnLst>
                <a:cxn ang="0">
                  <a:pos x="16" y="1"/>
                </a:cxn>
                <a:cxn ang="0">
                  <a:pos x="12" y="0"/>
                </a:cxn>
                <a:cxn ang="0">
                  <a:pos x="0" y="11"/>
                </a:cxn>
                <a:cxn ang="0">
                  <a:pos x="12" y="23"/>
                </a:cxn>
                <a:cxn ang="0">
                  <a:pos x="23" y="11"/>
                </a:cxn>
                <a:cxn ang="0">
                  <a:pos x="22" y="7"/>
                </a:cxn>
              </a:cxnLst>
              <a:rect l="0" t="0" r="r" b="b"/>
              <a:pathLst>
                <a:path w="23" h="23">
                  <a:moveTo>
                    <a:pt x="16" y="1"/>
                  </a:moveTo>
                  <a:cubicBezTo>
                    <a:pt x="15" y="0"/>
                    <a:pt x="13" y="0"/>
                    <a:pt x="12" y="0"/>
                  </a:cubicBezTo>
                  <a:cubicBezTo>
                    <a:pt x="5" y="0"/>
                    <a:pt x="0" y="5"/>
                    <a:pt x="0" y="11"/>
                  </a:cubicBezTo>
                  <a:cubicBezTo>
                    <a:pt x="0" y="18"/>
                    <a:pt x="5" y="23"/>
                    <a:pt x="12" y="23"/>
                  </a:cubicBezTo>
                  <a:cubicBezTo>
                    <a:pt x="18" y="23"/>
                    <a:pt x="23" y="18"/>
                    <a:pt x="23" y="11"/>
                  </a:cubicBezTo>
                  <a:cubicBezTo>
                    <a:pt x="23" y="10"/>
                    <a:pt x="23" y="8"/>
                    <a:pt x="22" y="7"/>
                  </a:cubicBezTo>
                </a:path>
              </a:pathLst>
            </a:custGeom>
            <a:noFill/>
            <a:ln w="12700" cap="rnd">
              <a:solidFill>
                <a:schemeClr val="tx1"/>
              </a:solidFill>
              <a:prstDash val="solid"/>
              <a:bevel/>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85" name="Freeform 150">
              <a:extLst>
                <a:ext uri="{FF2B5EF4-FFF2-40B4-BE49-F238E27FC236}">
                  <a16:creationId xmlns:a16="http://schemas.microsoft.com/office/drawing/2014/main" id="{72D3247B-03F4-4CCF-85B9-817085BB7453}"/>
                </a:ext>
              </a:extLst>
            </p:cNvPr>
            <p:cNvSpPr>
              <a:spLocks/>
            </p:cNvSpPr>
            <p:nvPr/>
          </p:nvSpPr>
          <p:spPr bwMode="auto">
            <a:xfrm>
              <a:off x="431801" y="5441950"/>
              <a:ext cx="361950" cy="365125"/>
            </a:xfrm>
            <a:custGeom>
              <a:avLst/>
              <a:gdLst/>
              <a:ahLst/>
              <a:cxnLst>
                <a:cxn ang="0">
                  <a:pos x="89" y="38"/>
                </a:cxn>
                <a:cxn ang="0">
                  <a:pos x="72" y="34"/>
                </a:cxn>
                <a:cxn ang="0">
                  <a:pos x="35" y="71"/>
                </a:cxn>
                <a:cxn ang="0">
                  <a:pos x="72" y="109"/>
                </a:cxn>
                <a:cxn ang="0">
                  <a:pos x="109" y="71"/>
                </a:cxn>
                <a:cxn ang="0">
                  <a:pos x="106" y="56"/>
                </a:cxn>
                <a:cxn ang="0">
                  <a:pos x="131" y="31"/>
                </a:cxn>
                <a:cxn ang="0">
                  <a:pos x="144" y="72"/>
                </a:cxn>
                <a:cxn ang="0">
                  <a:pos x="72" y="144"/>
                </a:cxn>
                <a:cxn ang="0">
                  <a:pos x="0" y="72"/>
                </a:cxn>
                <a:cxn ang="0">
                  <a:pos x="72" y="0"/>
                </a:cxn>
                <a:cxn ang="0">
                  <a:pos x="120" y="18"/>
                </a:cxn>
              </a:cxnLst>
              <a:rect l="0" t="0" r="r" b="b"/>
              <a:pathLst>
                <a:path w="144" h="144">
                  <a:moveTo>
                    <a:pt x="89" y="38"/>
                  </a:moveTo>
                  <a:cubicBezTo>
                    <a:pt x="84" y="36"/>
                    <a:pt x="78" y="34"/>
                    <a:pt x="72" y="34"/>
                  </a:cubicBezTo>
                  <a:cubicBezTo>
                    <a:pt x="51" y="34"/>
                    <a:pt x="35" y="51"/>
                    <a:pt x="35" y="71"/>
                  </a:cubicBezTo>
                  <a:cubicBezTo>
                    <a:pt x="35" y="92"/>
                    <a:pt x="51" y="109"/>
                    <a:pt x="72" y="109"/>
                  </a:cubicBezTo>
                  <a:cubicBezTo>
                    <a:pt x="92" y="109"/>
                    <a:pt x="109" y="92"/>
                    <a:pt x="109" y="71"/>
                  </a:cubicBezTo>
                  <a:cubicBezTo>
                    <a:pt x="109" y="66"/>
                    <a:pt x="108" y="61"/>
                    <a:pt x="106" y="56"/>
                  </a:cubicBezTo>
                  <a:cubicBezTo>
                    <a:pt x="131" y="31"/>
                    <a:pt x="131" y="31"/>
                    <a:pt x="131" y="31"/>
                  </a:cubicBezTo>
                  <a:cubicBezTo>
                    <a:pt x="139" y="43"/>
                    <a:pt x="144" y="57"/>
                    <a:pt x="144" y="72"/>
                  </a:cubicBezTo>
                  <a:cubicBezTo>
                    <a:pt x="144" y="112"/>
                    <a:pt x="112" y="144"/>
                    <a:pt x="72" y="144"/>
                  </a:cubicBezTo>
                  <a:cubicBezTo>
                    <a:pt x="32" y="144"/>
                    <a:pt x="0" y="112"/>
                    <a:pt x="0" y="72"/>
                  </a:cubicBezTo>
                  <a:cubicBezTo>
                    <a:pt x="0" y="32"/>
                    <a:pt x="32" y="0"/>
                    <a:pt x="72" y="0"/>
                  </a:cubicBezTo>
                  <a:cubicBezTo>
                    <a:pt x="91" y="0"/>
                    <a:pt x="107" y="7"/>
                    <a:pt x="120" y="18"/>
                  </a:cubicBezTo>
                </a:path>
              </a:pathLst>
            </a:custGeom>
            <a:noFill/>
            <a:ln w="12700" cap="rnd">
              <a:solidFill>
                <a:schemeClr val="tx1"/>
              </a:solidFill>
              <a:prstDash val="solid"/>
              <a:bevel/>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grpSp>
        <p:nvGrpSpPr>
          <p:cNvPr id="186" name="Groupe 372">
            <a:extLst>
              <a:ext uri="{FF2B5EF4-FFF2-40B4-BE49-F238E27FC236}">
                <a16:creationId xmlns:a16="http://schemas.microsoft.com/office/drawing/2014/main" id="{F20D5683-4C65-4B33-A472-2F3EAE843054}"/>
              </a:ext>
            </a:extLst>
          </p:cNvPr>
          <p:cNvGrpSpPr/>
          <p:nvPr/>
        </p:nvGrpSpPr>
        <p:grpSpPr>
          <a:xfrm>
            <a:off x="7284702" y="2914967"/>
            <a:ext cx="315934" cy="195251"/>
            <a:chOff x="3784601" y="2755900"/>
            <a:chExt cx="511175" cy="315913"/>
          </a:xfrm>
        </p:grpSpPr>
        <p:sp>
          <p:nvSpPr>
            <p:cNvPr id="187" name="Freeform 378">
              <a:extLst>
                <a:ext uri="{FF2B5EF4-FFF2-40B4-BE49-F238E27FC236}">
                  <a16:creationId xmlns:a16="http://schemas.microsoft.com/office/drawing/2014/main" id="{C9E807BC-7DED-4FD6-A60D-A7C066A2F4BA}"/>
                </a:ext>
              </a:extLst>
            </p:cNvPr>
            <p:cNvSpPr>
              <a:spLocks/>
            </p:cNvSpPr>
            <p:nvPr/>
          </p:nvSpPr>
          <p:spPr bwMode="auto">
            <a:xfrm>
              <a:off x="3979863" y="2755900"/>
              <a:ext cx="315913" cy="301625"/>
            </a:xfrm>
            <a:custGeom>
              <a:avLst/>
              <a:gdLst/>
              <a:ahLst/>
              <a:cxnLst>
                <a:cxn ang="0">
                  <a:pos x="0" y="92"/>
                </a:cxn>
                <a:cxn ang="0">
                  <a:pos x="29" y="37"/>
                </a:cxn>
                <a:cxn ang="0">
                  <a:pos x="140" y="2"/>
                </a:cxn>
                <a:cxn ang="0">
                  <a:pos x="105" y="85"/>
                </a:cxn>
                <a:cxn ang="0">
                  <a:pos x="29" y="134"/>
                </a:cxn>
                <a:cxn ang="0">
                  <a:pos x="55" y="65"/>
                </a:cxn>
                <a:cxn ang="0">
                  <a:pos x="111" y="24"/>
                </a:cxn>
              </a:cxnLst>
              <a:rect l="0" t="0" r="r" b="b"/>
              <a:pathLst>
                <a:path w="140" h="134">
                  <a:moveTo>
                    <a:pt x="0" y="92"/>
                  </a:moveTo>
                  <a:cubicBezTo>
                    <a:pt x="2" y="74"/>
                    <a:pt x="10" y="53"/>
                    <a:pt x="29" y="37"/>
                  </a:cubicBezTo>
                  <a:cubicBezTo>
                    <a:pt x="72" y="0"/>
                    <a:pt x="140" y="2"/>
                    <a:pt x="140" y="2"/>
                  </a:cubicBezTo>
                  <a:cubicBezTo>
                    <a:pt x="140" y="2"/>
                    <a:pt x="132" y="56"/>
                    <a:pt x="105" y="85"/>
                  </a:cubicBezTo>
                  <a:cubicBezTo>
                    <a:pt x="66" y="126"/>
                    <a:pt x="29" y="134"/>
                    <a:pt x="29" y="134"/>
                  </a:cubicBezTo>
                  <a:cubicBezTo>
                    <a:pt x="29" y="134"/>
                    <a:pt x="27" y="98"/>
                    <a:pt x="55" y="65"/>
                  </a:cubicBezTo>
                  <a:cubicBezTo>
                    <a:pt x="84" y="32"/>
                    <a:pt x="111" y="24"/>
                    <a:pt x="111" y="24"/>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188" name="Freeform 379">
              <a:extLst>
                <a:ext uri="{FF2B5EF4-FFF2-40B4-BE49-F238E27FC236}">
                  <a16:creationId xmlns:a16="http://schemas.microsoft.com/office/drawing/2014/main" id="{B80734E4-A61C-4592-9084-6A72686E7FDD}"/>
                </a:ext>
              </a:extLst>
            </p:cNvPr>
            <p:cNvSpPr>
              <a:spLocks/>
            </p:cNvSpPr>
            <p:nvPr/>
          </p:nvSpPr>
          <p:spPr bwMode="auto">
            <a:xfrm>
              <a:off x="3784601" y="2873375"/>
              <a:ext cx="227013" cy="198438"/>
            </a:xfrm>
            <a:custGeom>
              <a:avLst/>
              <a:gdLst/>
              <a:ahLst/>
              <a:cxnLst>
                <a:cxn ang="0">
                  <a:pos x="90" y="88"/>
                </a:cxn>
                <a:cxn ang="0">
                  <a:pos x="73" y="24"/>
                </a:cxn>
                <a:cxn ang="0">
                  <a:pos x="0" y="1"/>
                </a:cxn>
                <a:cxn ang="0">
                  <a:pos x="23" y="56"/>
                </a:cxn>
                <a:cxn ang="0">
                  <a:pos x="73" y="88"/>
                </a:cxn>
                <a:cxn ang="0">
                  <a:pos x="56" y="43"/>
                </a:cxn>
                <a:cxn ang="0">
                  <a:pos x="20" y="16"/>
                </a:cxn>
              </a:cxnLst>
              <a:rect l="0" t="0" r="r" b="b"/>
              <a:pathLst>
                <a:path w="101" h="88">
                  <a:moveTo>
                    <a:pt x="90" y="88"/>
                  </a:moveTo>
                  <a:cubicBezTo>
                    <a:pt x="90" y="88"/>
                    <a:pt x="101" y="49"/>
                    <a:pt x="73" y="24"/>
                  </a:cubicBezTo>
                  <a:cubicBezTo>
                    <a:pt x="45" y="0"/>
                    <a:pt x="0" y="1"/>
                    <a:pt x="0" y="1"/>
                  </a:cubicBezTo>
                  <a:cubicBezTo>
                    <a:pt x="0" y="1"/>
                    <a:pt x="5" y="37"/>
                    <a:pt x="23" y="56"/>
                  </a:cubicBezTo>
                  <a:cubicBezTo>
                    <a:pt x="48" y="83"/>
                    <a:pt x="73" y="88"/>
                    <a:pt x="73" y="88"/>
                  </a:cubicBezTo>
                  <a:cubicBezTo>
                    <a:pt x="73" y="88"/>
                    <a:pt x="74" y="65"/>
                    <a:pt x="56" y="43"/>
                  </a:cubicBezTo>
                  <a:cubicBezTo>
                    <a:pt x="37" y="21"/>
                    <a:pt x="20" y="16"/>
                    <a:pt x="20" y="16"/>
                  </a:cubicBezTo>
                </a:path>
              </a:pathLst>
            </a:custGeom>
            <a:noFill/>
            <a:ln w="12700"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spTree>
    <p:extLst>
      <p:ext uri="{BB962C8B-B14F-4D97-AF65-F5344CB8AC3E}">
        <p14:creationId xmlns:p14="http://schemas.microsoft.com/office/powerpoint/2010/main" val="3092044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811749-1C24-48D7-8580-C5459C1F7465}"/>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B1811749-1C24-48D7-8580-C5459C1F7465}"/>
                          </a:ext>
                        </a:extLst>
                      </p:cNvPr>
                      <p:cNvPicPr/>
                      <p:nvPr/>
                    </p:nvPicPr>
                    <p:blipFill>
                      <a:blip r:embed="rId5"/>
                      <a:stretch>
                        <a:fillRect/>
                      </a:stretch>
                    </p:blipFill>
                    <p:spPr>
                      <a:xfrm>
                        <a:off x="611505" y="1905"/>
                        <a:ext cx="1906" cy="1906"/>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E8FEB7B1-D044-E3EE-1688-D2C2D5C5AD45}"/>
              </a:ext>
            </a:extLst>
          </p:cNvPr>
          <p:cNvSpPr>
            <a:spLocks noGrp="1"/>
          </p:cNvSpPr>
          <p:nvPr>
            <p:ph type="body" sz="half" idx="10"/>
          </p:nvPr>
        </p:nvSpPr>
        <p:spPr/>
        <p:txBody>
          <a:bodyPr/>
          <a:lstStyle/>
          <a:p>
            <a:endParaRPr lang="en-US"/>
          </a:p>
        </p:txBody>
      </p:sp>
      <p:sp>
        <p:nvSpPr>
          <p:cNvPr id="6" name="Title 5">
            <a:extLst>
              <a:ext uri="{FF2B5EF4-FFF2-40B4-BE49-F238E27FC236}">
                <a16:creationId xmlns:a16="http://schemas.microsoft.com/office/drawing/2014/main" id="{F08E905E-9D2F-4AB2-B453-C717EEEE5234}"/>
              </a:ext>
            </a:extLst>
          </p:cNvPr>
          <p:cNvSpPr>
            <a:spLocks noGrp="1"/>
          </p:cNvSpPr>
          <p:nvPr>
            <p:ph type="title"/>
          </p:nvPr>
        </p:nvSpPr>
        <p:spPr/>
        <p:txBody>
          <a:bodyPr vert="horz"/>
          <a:lstStyle/>
          <a:p>
            <a:r>
              <a:rPr lang="en-US" sz="2400" dirty="0"/>
              <a:t>Databases &amp; Contacts</a:t>
            </a:r>
          </a:p>
        </p:txBody>
      </p:sp>
      <p:sp>
        <p:nvSpPr>
          <p:cNvPr id="4" name="Text Placeholder 3">
            <a:extLst>
              <a:ext uri="{FF2B5EF4-FFF2-40B4-BE49-F238E27FC236}">
                <a16:creationId xmlns:a16="http://schemas.microsoft.com/office/drawing/2014/main" id="{E4521527-E68F-C9D2-D20F-8C92C19794E5}"/>
              </a:ext>
            </a:extLst>
          </p:cNvPr>
          <p:cNvSpPr>
            <a:spLocks noGrp="1"/>
          </p:cNvSpPr>
          <p:nvPr>
            <p:ph type="body" sz="half" idx="2"/>
          </p:nvPr>
        </p:nvSpPr>
        <p:spPr/>
        <p:txBody>
          <a:bodyPr/>
          <a:lstStyle/>
          <a:p>
            <a:endParaRPr lang="en-US"/>
          </a:p>
        </p:txBody>
      </p:sp>
      <p:grpSp>
        <p:nvGrpSpPr>
          <p:cNvPr id="10" name="Groupe 575">
            <a:extLst>
              <a:ext uri="{FF2B5EF4-FFF2-40B4-BE49-F238E27FC236}">
                <a16:creationId xmlns:a16="http://schemas.microsoft.com/office/drawing/2014/main" id="{1E882AC0-CEB3-464E-AB8F-5FB7DF4ED2B9}"/>
              </a:ext>
            </a:extLst>
          </p:cNvPr>
          <p:cNvGrpSpPr/>
          <p:nvPr/>
        </p:nvGrpSpPr>
        <p:grpSpPr>
          <a:xfrm>
            <a:off x="4723754" y="1754865"/>
            <a:ext cx="412134" cy="530845"/>
            <a:chOff x="3319463" y="3638550"/>
            <a:chExt cx="292101" cy="376238"/>
          </a:xfrm>
        </p:grpSpPr>
        <p:sp>
          <p:nvSpPr>
            <p:cNvPr id="11" name="Freeform 258">
              <a:extLst>
                <a:ext uri="{FF2B5EF4-FFF2-40B4-BE49-F238E27FC236}">
                  <a16:creationId xmlns:a16="http://schemas.microsoft.com/office/drawing/2014/main" id="{A19400FC-EB54-4F9F-A306-3CA770F78FAF}"/>
                </a:ext>
              </a:extLst>
            </p:cNvPr>
            <p:cNvSpPr>
              <a:spLocks/>
            </p:cNvSpPr>
            <p:nvPr/>
          </p:nvSpPr>
          <p:spPr bwMode="auto">
            <a:xfrm>
              <a:off x="3336926" y="3663950"/>
              <a:ext cx="274638" cy="350838"/>
            </a:xfrm>
            <a:custGeom>
              <a:avLst/>
              <a:gdLst/>
              <a:ahLst/>
              <a:cxnLst>
                <a:cxn ang="0">
                  <a:pos x="51" y="0"/>
                </a:cxn>
                <a:cxn ang="0">
                  <a:pos x="137" y="0"/>
                </a:cxn>
                <a:cxn ang="0">
                  <a:pos x="142" y="5"/>
                </a:cxn>
                <a:cxn ang="0">
                  <a:pos x="142" y="144"/>
                </a:cxn>
                <a:cxn ang="0">
                  <a:pos x="107" y="181"/>
                </a:cxn>
                <a:cxn ang="0">
                  <a:pos x="5" y="181"/>
                </a:cxn>
                <a:cxn ang="0">
                  <a:pos x="0" y="176"/>
                </a:cxn>
                <a:cxn ang="0">
                  <a:pos x="0" y="49"/>
                </a:cxn>
              </a:cxnLst>
              <a:rect l="0" t="0" r="r" b="b"/>
              <a:pathLst>
                <a:path w="142" h="181">
                  <a:moveTo>
                    <a:pt x="51" y="0"/>
                  </a:moveTo>
                  <a:cubicBezTo>
                    <a:pt x="137" y="0"/>
                    <a:pt x="137" y="0"/>
                    <a:pt x="137" y="0"/>
                  </a:cubicBezTo>
                  <a:cubicBezTo>
                    <a:pt x="139" y="0"/>
                    <a:pt x="142" y="2"/>
                    <a:pt x="142" y="5"/>
                  </a:cubicBezTo>
                  <a:cubicBezTo>
                    <a:pt x="142" y="144"/>
                    <a:pt x="142" y="144"/>
                    <a:pt x="142" y="144"/>
                  </a:cubicBezTo>
                  <a:cubicBezTo>
                    <a:pt x="107" y="181"/>
                    <a:pt x="107" y="181"/>
                    <a:pt x="107" y="181"/>
                  </a:cubicBezTo>
                  <a:cubicBezTo>
                    <a:pt x="5" y="181"/>
                    <a:pt x="5" y="181"/>
                    <a:pt x="5" y="181"/>
                  </a:cubicBezTo>
                  <a:cubicBezTo>
                    <a:pt x="3" y="181"/>
                    <a:pt x="0" y="178"/>
                    <a:pt x="0" y="176"/>
                  </a:cubicBezTo>
                  <a:cubicBezTo>
                    <a:pt x="0" y="49"/>
                    <a:pt x="0" y="49"/>
                    <a:pt x="0" y="49"/>
                  </a:cubicBezTo>
                </a:path>
              </a:pathLst>
            </a:cu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12" name="Freeform 259">
              <a:extLst>
                <a:ext uri="{FF2B5EF4-FFF2-40B4-BE49-F238E27FC236}">
                  <a16:creationId xmlns:a16="http://schemas.microsoft.com/office/drawing/2014/main" id="{801FF10C-4209-450F-B87D-345870BD8764}"/>
                </a:ext>
              </a:extLst>
            </p:cNvPr>
            <p:cNvSpPr>
              <a:spLocks/>
            </p:cNvSpPr>
            <p:nvPr/>
          </p:nvSpPr>
          <p:spPr bwMode="auto">
            <a:xfrm>
              <a:off x="3541713" y="3933825"/>
              <a:ext cx="65088" cy="76200"/>
            </a:xfrm>
            <a:custGeom>
              <a:avLst/>
              <a:gdLst/>
              <a:ahLst/>
              <a:cxnLst>
                <a:cxn ang="0">
                  <a:pos x="0" y="48"/>
                </a:cxn>
                <a:cxn ang="0">
                  <a:pos x="0" y="0"/>
                </a:cxn>
                <a:cxn ang="0">
                  <a:pos x="41" y="0"/>
                </a:cxn>
              </a:cxnLst>
              <a:rect l="0" t="0" r="r" b="b"/>
              <a:pathLst>
                <a:path w="41" h="48">
                  <a:moveTo>
                    <a:pt x="0" y="48"/>
                  </a:moveTo>
                  <a:lnTo>
                    <a:pt x="0" y="0"/>
                  </a:lnTo>
                  <a:lnTo>
                    <a:pt x="41" y="0"/>
                  </a:lnTo>
                </a:path>
              </a:pathLst>
            </a:cu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13" name="Freeform 260">
              <a:extLst>
                <a:ext uri="{FF2B5EF4-FFF2-40B4-BE49-F238E27FC236}">
                  <a16:creationId xmlns:a16="http://schemas.microsoft.com/office/drawing/2014/main" id="{51D1A797-ED6F-4AAF-BBC6-00C437A27EE2}"/>
                </a:ext>
              </a:extLst>
            </p:cNvPr>
            <p:cNvSpPr>
              <a:spLocks/>
            </p:cNvSpPr>
            <p:nvPr/>
          </p:nvSpPr>
          <p:spPr bwMode="auto">
            <a:xfrm>
              <a:off x="3395663" y="3711575"/>
              <a:ext cx="185738" cy="201613"/>
            </a:xfrm>
            <a:custGeom>
              <a:avLst/>
              <a:gdLst/>
              <a:ahLst/>
              <a:cxnLst>
                <a:cxn ang="0">
                  <a:pos x="21" y="0"/>
                </a:cxn>
                <a:cxn ang="0">
                  <a:pos x="91" y="0"/>
                </a:cxn>
                <a:cxn ang="0">
                  <a:pos x="96" y="5"/>
                </a:cxn>
                <a:cxn ang="0">
                  <a:pos x="96" y="99"/>
                </a:cxn>
                <a:cxn ang="0">
                  <a:pos x="91" y="104"/>
                </a:cxn>
                <a:cxn ang="0">
                  <a:pos x="6" y="104"/>
                </a:cxn>
                <a:cxn ang="0">
                  <a:pos x="0" y="99"/>
                </a:cxn>
                <a:cxn ang="0">
                  <a:pos x="0" y="26"/>
                </a:cxn>
              </a:cxnLst>
              <a:rect l="0" t="0" r="r" b="b"/>
              <a:pathLst>
                <a:path w="96" h="104">
                  <a:moveTo>
                    <a:pt x="21" y="0"/>
                  </a:moveTo>
                  <a:cubicBezTo>
                    <a:pt x="91" y="0"/>
                    <a:pt x="91" y="0"/>
                    <a:pt x="91" y="0"/>
                  </a:cubicBezTo>
                  <a:cubicBezTo>
                    <a:pt x="94" y="0"/>
                    <a:pt x="96" y="2"/>
                    <a:pt x="96" y="5"/>
                  </a:cubicBezTo>
                  <a:cubicBezTo>
                    <a:pt x="96" y="99"/>
                    <a:pt x="96" y="99"/>
                    <a:pt x="96" y="99"/>
                  </a:cubicBezTo>
                  <a:cubicBezTo>
                    <a:pt x="96" y="101"/>
                    <a:pt x="94" y="104"/>
                    <a:pt x="91" y="104"/>
                  </a:cubicBezTo>
                  <a:cubicBezTo>
                    <a:pt x="6" y="104"/>
                    <a:pt x="6" y="104"/>
                    <a:pt x="6" y="104"/>
                  </a:cubicBezTo>
                  <a:cubicBezTo>
                    <a:pt x="3" y="104"/>
                    <a:pt x="0" y="101"/>
                    <a:pt x="0" y="99"/>
                  </a:cubicBezTo>
                  <a:cubicBezTo>
                    <a:pt x="0" y="26"/>
                    <a:pt x="0" y="26"/>
                    <a:pt x="0" y="26"/>
                  </a:cubicBezTo>
                </a:path>
              </a:pathLst>
            </a:cu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14" name="Line 261">
              <a:extLst>
                <a:ext uri="{FF2B5EF4-FFF2-40B4-BE49-F238E27FC236}">
                  <a16:creationId xmlns:a16="http://schemas.microsoft.com/office/drawing/2014/main" id="{46274049-5D0D-4390-B157-A1762D648BB4}"/>
                </a:ext>
              </a:extLst>
            </p:cNvPr>
            <p:cNvSpPr>
              <a:spLocks noChangeShapeType="1"/>
            </p:cNvSpPr>
            <p:nvPr/>
          </p:nvSpPr>
          <p:spPr bwMode="auto">
            <a:xfrm>
              <a:off x="3395663" y="3778250"/>
              <a:ext cx="185738" cy="1588"/>
            </a:xfrm>
            <a:prstGeom prst="line">
              <a:avLst/>
            </a:pr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15" name="Line 262">
              <a:extLst>
                <a:ext uri="{FF2B5EF4-FFF2-40B4-BE49-F238E27FC236}">
                  <a16:creationId xmlns:a16="http://schemas.microsoft.com/office/drawing/2014/main" id="{1CD3D666-2B15-4985-9687-AD96FF20946C}"/>
                </a:ext>
              </a:extLst>
            </p:cNvPr>
            <p:cNvSpPr>
              <a:spLocks noChangeShapeType="1"/>
            </p:cNvSpPr>
            <p:nvPr/>
          </p:nvSpPr>
          <p:spPr bwMode="auto">
            <a:xfrm>
              <a:off x="3395663" y="3846513"/>
              <a:ext cx="185738" cy="1588"/>
            </a:xfrm>
            <a:prstGeom prst="line">
              <a:avLst/>
            </a:pr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16" name="Line 263">
              <a:extLst>
                <a:ext uri="{FF2B5EF4-FFF2-40B4-BE49-F238E27FC236}">
                  <a16:creationId xmlns:a16="http://schemas.microsoft.com/office/drawing/2014/main" id="{E37C9B94-A213-442C-B567-A6BA035152ED}"/>
                </a:ext>
              </a:extLst>
            </p:cNvPr>
            <p:cNvSpPr>
              <a:spLocks noChangeShapeType="1"/>
            </p:cNvSpPr>
            <p:nvPr/>
          </p:nvSpPr>
          <p:spPr bwMode="auto">
            <a:xfrm flipV="1">
              <a:off x="3457576" y="3714750"/>
              <a:ext cx="1588" cy="193675"/>
            </a:xfrm>
            <a:prstGeom prst="line">
              <a:avLst/>
            </a:pr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17" name="Line 264">
              <a:extLst>
                <a:ext uri="{FF2B5EF4-FFF2-40B4-BE49-F238E27FC236}">
                  <a16:creationId xmlns:a16="http://schemas.microsoft.com/office/drawing/2014/main" id="{ECA535C4-B6D8-4CF0-A602-DBAB75716865}"/>
                </a:ext>
              </a:extLst>
            </p:cNvPr>
            <p:cNvSpPr>
              <a:spLocks noChangeShapeType="1"/>
            </p:cNvSpPr>
            <p:nvPr/>
          </p:nvSpPr>
          <p:spPr bwMode="auto">
            <a:xfrm flipV="1">
              <a:off x="3524251" y="3714750"/>
              <a:ext cx="1588" cy="193675"/>
            </a:xfrm>
            <a:prstGeom prst="line">
              <a:avLst/>
            </a:pr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18" name="Freeform 265">
              <a:extLst>
                <a:ext uri="{FF2B5EF4-FFF2-40B4-BE49-F238E27FC236}">
                  <a16:creationId xmlns:a16="http://schemas.microsoft.com/office/drawing/2014/main" id="{581090D7-86B9-4F62-B234-1ECA7B8CA5CF}"/>
                </a:ext>
              </a:extLst>
            </p:cNvPr>
            <p:cNvSpPr>
              <a:spLocks noEditPoints="1"/>
            </p:cNvSpPr>
            <p:nvPr/>
          </p:nvSpPr>
          <p:spPr bwMode="auto">
            <a:xfrm>
              <a:off x="3319463" y="3638550"/>
              <a:ext cx="115888" cy="103188"/>
            </a:xfrm>
            <a:custGeom>
              <a:avLst/>
              <a:gdLst/>
              <a:ahLst/>
              <a:cxnLst>
                <a:cxn ang="0">
                  <a:pos x="27" y="35"/>
                </a:cxn>
                <a:cxn ang="0">
                  <a:pos x="0" y="0"/>
                </a:cxn>
                <a:cxn ang="0">
                  <a:pos x="22" y="0"/>
                </a:cxn>
                <a:cxn ang="0">
                  <a:pos x="35" y="20"/>
                </a:cxn>
                <a:cxn ang="0">
                  <a:pos x="48" y="32"/>
                </a:cxn>
                <a:cxn ang="0">
                  <a:pos x="73" y="65"/>
                </a:cxn>
                <a:cxn ang="0">
                  <a:pos x="53" y="65"/>
                </a:cxn>
                <a:cxn ang="0">
                  <a:pos x="38" y="47"/>
                </a:cxn>
                <a:cxn ang="0">
                  <a:pos x="27" y="35"/>
                </a:cxn>
                <a:cxn ang="0">
                  <a:pos x="49" y="0"/>
                </a:cxn>
                <a:cxn ang="0">
                  <a:pos x="70" y="0"/>
                </a:cxn>
                <a:cxn ang="0">
                  <a:pos x="26" y="64"/>
                </a:cxn>
                <a:cxn ang="0">
                  <a:pos x="5" y="64"/>
                </a:cxn>
                <a:cxn ang="0">
                  <a:pos x="27" y="35"/>
                </a:cxn>
              </a:cxnLst>
              <a:rect l="0" t="0" r="r" b="b"/>
              <a:pathLst>
                <a:path w="73" h="65">
                  <a:moveTo>
                    <a:pt x="27" y="35"/>
                  </a:moveTo>
                  <a:lnTo>
                    <a:pt x="0" y="0"/>
                  </a:lnTo>
                  <a:lnTo>
                    <a:pt x="22" y="0"/>
                  </a:lnTo>
                  <a:lnTo>
                    <a:pt x="35" y="20"/>
                  </a:lnTo>
                  <a:moveTo>
                    <a:pt x="48" y="32"/>
                  </a:moveTo>
                  <a:lnTo>
                    <a:pt x="73" y="65"/>
                  </a:lnTo>
                  <a:lnTo>
                    <a:pt x="53" y="65"/>
                  </a:lnTo>
                  <a:lnTo>
                    <a:pt x="38" y="47"/>
                  </a:lnTo>
                  <a:moveTo>
                    <a:pt x="27" y="35"/>
                  </a:moveTo>
                  <a:lnTo>
                    <a:pt x="49" y="0"/>
                  </a:lnTo>
                  <a:lnTo>
                    <a:pt x="70" y="0"/>
                  </a:lnTo>
                  <a:lnTo>
                    <a:pt x="26" y="64"/>
                  </a:lnTo>
                  <a:lnTo>
                    <a:pt x="5" y="64"/>
                  </a:lnTo>
                  <a:lnTo>
                    <a:pt x="27" y="35"/>
                  </a:lnTo>
                </a:path>
              </a:pathLst>
            </a:cu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grpSp>
      <p:sp>
        <p:nvSpPr>
          <p:cNvPr id="19" name="Rectangle 18">
            <a:extLst>
              <a:ext uri="{FF2B5EF4-FFF2-40B4-BE49-F238E27FC236}">
                <a16:creationId xmlns:a16="http://schemas.microsoft.com/office/drawing/2014/main" id="{4846D144-CCB3-4576-9624-3078CDAC8FBD}"/>
              </a:ext>
            </a:extLst>
          </p:cNvPr>
          <p:cNvSpPr/>
          <p:nvPr/>
        </p:nvSpPr>
        <p:spPr>
          <a:xfrm>
            <a:off x="1127761" y="1408025"/>
            <a:ext cx="9936479" cy="1426942"/>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endParaRPr lang="en-GB" sz="1080">
              <a:solidFill>
                <a:srgbClr val="FFFFFF"/>
              </a:solidFill>
              <a:latin typeface="Calibri" panose="020F0502020204030204"/>
            </a:endParaRPr>
          </a:p>
        </p:txBody>
      </p:sp>
      <p:sp>
        <p:nvSpPr>
          <p:cNvPr id="20" name="TextBox 19">
            <a:extLst>
              <a:ext uri="{FF2B5EF4-FFF2-40B4-BE49-F238E27FC236}">
                <a16:creationId xmlns:a16="http://schemas.microsoft.com/office/drawing/2014/main" id="{86A4639F-95F3-4C8F-8EAC-B3691ECE7EF8}"/>
              </a:ext>
            </a:extLst>
          </p:cNvPr>
          <p:cNvSpPr txBox="1"/>
          <p:nvPr/>
        </p:nvSpPr>
        <p:spPr>
          <a:xfrm>
            <a:off x="4875761" y="1243498"/>
            <a:ext cx="2440474" cy="276999"/>
          </a:xfrm>
          <a:prstGeom prst="rect">
            <a:avLst/>
          </a:prstGeom>
          <a:solidFill>
            <a:schemeClr val="bg1"/>
          </a:solidFill>
        </p:spPr>
        <p:txBody>
          <a:bodyPr wrap="square" rtlCol="0">
            <a:spAutoFit/>
          </a:bodyPr>
          <a:lstStyle/>
          <a:p>
            <a:pPr algn="ctr" eaLnBrk="1" fontAlgn="auto" hangingPunct="1">
              <a:spcBef>
                <a:spcPts val="0"/>
              </a:spcBef>
              <a:spcAft>
                <a:spcPts val="0"/>
              </a:spcAft>
            </a:pPr>
            <a:r>
              <a:rPr lang="en-US" sz="1200" b="1">
                <a:latin typeface="+mn-lt"/>
              </a:rPr>
              <a:t>COMPANIES DATABASES</a:t>
            </a:r>
          </a:p>
        </p:txBody>
      </p:sp>
      <p:sp>
        <p:nvSpPr>
          <p:cNvPr id="24" name="TextBox 23">
            <a:extLst>
              <a:ext uri="{FF2B5EF4-FFF2-40B4-BE49-F238E27FC236}">
                <a16:creationId xmlns:a16="http://schemas.microsoft.com/office/drawing/2014/main" id="{001FCC36-1E81-4687-BD85-580E7A06998C}"/>
              </a:ext>
            </a:extLst>
          </p:cNvPr>
          <p:cNvSpPr txBox="1"/>
          <p:nvPr/>
        </p:nvSpPr>
        <p:spPr>
          <a:xfrm>
            <a:off x="3889236" y="2279529"/>
            <a:ext cx="2105809" cy="461665"/>
          </a:xfrm>
          <a:prstGeom prst="rect">
            <a:avLst/>
          </a:prstGeom>
          <a:noFill/>
        </p:spPr>
        <p:txBody>
          <a:bodyPr wrap="square" rtlCol="0">
            <a:spAutoFit/>
          </a:bodyPr>
          <a:lstStyle/>
          <a:p>
            <a:pPr algn="ctr" eaLnBrk="1" fontAlgn="auto" hangingPunct="1">
              <a:spcBef>
                <a:spcPts val="0"/>
              </a:spcBef>
              <a:spcAft>
                <a:spcPts val="0"/>
              </a:spcAft>
            </a:pPr>
            <a:r>
              <a:rPr lang="en-US" sz="1200" dirty="0">
                <a:solidFill>
                  <a:schemeClr val="bg2">
                    <a:lumMod val="10000"/>
                  </a:schemeClr>
                </a:solidFill>
                <a:latin typeface="+mn-lt"/>
              </a:rPr>
              <a:t>Research what factories are in territory</a:t>
            </a:r>
          </a:p>
        </p:txBody>
      </p:sp>
      <p:sp>
        <p:nvSpPr>
          <p:cNvPr id="51" name="Isosceles Triangle 50">
            <a:extLst>
              <a:ext uri="{FF2B5EF4-FFF2-40B4-BE49-F238E27FC236}">
                <a16:creationId xmlns:a16="http://schemas.microsoft.com/office/drawing/2014/main" id="{25BA2667-CF3C-4499-B9E7-4649387E992D}"/>
              </a:ext>
            </a:extLst>
          </p:cNvPr>
          <p:cNvSpPr/>
          <p:nvPr/>
        </p:nvSpPr>
        <p:spPr>
          <a:xfrm rot="10800000">
            <a:off x="2282090" y="2907725"/>
            <a:ext cx="7627820" cy="16323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endParaRPr lang="en-GB" sz="1080">
              <a:solidFill>
                <a:srgbClr val="FFFFFF"/>
              </a:solidFill>
              <a:latin typeface="Calibri" panose="020F0502020204030204"/>
            </a:endParaRPr>
          </a:p>
        </p:txBody>
      </p:sp>
      <p:sp>
        <p:nvSpPr>
          <p:cNvPr id="52" name="TextBox 51">
            <a:extLst>
              <a:ext uri="{FF2B5EF4-FFF2-40B4-BE49-F238E27FC236}">
                <a16:creationId xmlns:a16="http://schemas.microsoft.com/office/drawing/2014/main" id="{B5E549AB-D447-4432-B20C-0584091A5D97}"/>
              </a:ext>
            </a:extLst>
          </p:cNvPr>
          <p:cNvSpPr txBox="1"/>
          <p:nvPr/>
        </p:nvSpPr>
        <p:spPr>
          <a:xfrm rot="16200000">
            <a:off x="164699" y="1925127"/>
            <a:ext cx="1579963" cy="535531"/>
          </a:xfrm>
          <a:prstGeom prst="rect">
            <a:avLst/>
          </a:prstGeom>
          <a:noFill/>
        </p:spPr>
        <p:txBody>
          <a:bodyPr wrap="square" rtlCol="0">
            <a:spAutoFit/>
          </a:bodyPr>
          <a:lstStyle/>
          <a:p>
            <a:pPr algn="ctr" eaLnBrk="1" fontAlgn="auto" hangingPunct="1">
              <a:spcBef>
                <a:spcPts val="0"/>
              </a:spcBef>
              <a:spcAft>
                <a:spcPts val="0"/>
              </a:spcAft>
            </a:pPr>
            <a:r>
              <a:rPr lang="en-US" sz="1440" b="1" dirty="0">
                <a:solidFill>
                  <a:schemeClr val="accent2"/>
                </a:solidFill>
                <a:latin typeface="+mn-lt"/>
              </a:rPr>
              <a:t>Companies / Targets</a:t>
            </a:r>
          </a:p>
        </p:txBody>
      </p:sp>
      <p:sp>
        <p:nvSpPr>
          <p:cNvPr id="55" name="TextBox 54">
            <a:extLst>
              <a:ext uri="{FF2B5EF4-FFF2-40B4-BE49-F238E27FC236}">
                <a16:creationId xmlns:a16="http://schemas.microsoft.com/office/drawing/2014/main" id="{BE119968-3E83-4163-A26E-56EA307B79E5}"/>
              </a:ext>
            </a:extLst>
          </p:cNvPr>
          <p:cNvSpPr txBox="1"/>
          <p:nvPr/>
        </p:nvSpPr>
        <p:spPr>
          <a:xfrm rot="16200000">
            <a:off x="-66995" y="4523549"/>
            <a:ext cx="2043350" cy="313932"/>
          </a:xfrm>
          <a:prstGeom prst="rect">
            <a:avLst/>
          </a:prstGeom>
          <a:noFill/>
        </p:spPr>
        <p:txBody>
          <a:bodyPr wrap="square" rtlCol="0">
            <a:spAutoFit/>
          </a:bodyPr>
          <a:lstStyle/>
          <a:p>
            <a:pPr algn="ctr" eaLnBrk="1" fontAlgn="auto" hangingPunct="1">
              <a:spcBef>
                <a:spcPts val="0"/>
              </a:spcBef>
              <a:spcAft>
                <a:spcPts val="0"/>
              </a:spcAft>
            </a:pPr>
            <a:r>
              <a:rPr lang="en-US" sz="1440" b="1" dirty="0">
                <a:solidFill>
                  <a:schemeClr val="accent2"/>
                </a:solidFill>
                <a:latin typeface="+mn-lt"/>
              </a:rPr>
              <a:t>Contacts</a:t>
            </a:r>
            <a:r>
              <a:rPr lang="en-US" sz="960" dirty="0">
                <a:solidFill>
                  <a:schemeClr val="accent2"/>
                </a:solidFill>
                <a:latin typeface="+mn-lt"/>
              </a:rPr>
              <a:t> </a:t>
            </a:r>
          </a:p>
        </p:txBody>
      </p:sp>
      <p:pic>
        <p:nvPicPr>
          <p:cNvPr id="1026" name="Picture 2" descr="Om oss - Tom Wilhelmsen As">
            <a:extLst>
              <a:ext uri="{FF2B5EF4-FFF2-40B4-BE49-F238E27FC236}">
                <a16:creationId xmlns:a16="http://schemas.microsoft.com/office/drawing/2014/main" id="{E907F471-2B95-494F-8A1A-19518DD517B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141774" y="3408158"/>
            <a:ext cx="1800365" cy="112522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290E0CBD-0198-4E34-8A27-1D0A77813B6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208308" y="3797123"/>
            <a:ext cx="1936376" cy="354330"/>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a:extLst>
              <a:ext uri="{FF2B5EF4-FFF2-40B4-BE49-F238E27FC236}">
                <a16:creationId xmlns:a16="http://schemas.microsoft.com/office/drawing/2014/main" id="{E81DDFF1-E238-40FA-9B10-E0A6897D1557}"/>
              </a:ext>
            </a:extLst>
          </p:cNvPr>
          <p:cNvSpPr/>
          <p:nvPr/>
        </p:nvSpPr>
        <p:spPr>
          <a:xfrm>
            <a:off x="1127758" y="3294479"/>
            <a:ext cx="9936479" cy="2772070"/>
          </a:xfrm>
          <a:prstGeom prst="rect">
            <a:avLst/>
          </a:prstGeom>
          <a:noFill/>
          <a:ln w="19050">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endParaRPr lang="en-GB" sz="1080">
              <a:solidFill>
                <a:srgbClr val="FFFFFF"/>
              </a:solidFill>
              <a:latin typeface="Calibri" panose="020F0502020204030204"/>
            </a:endParaRPr>
          </a:p>
        </p:txBody>
      </p:sp>
      <p:sp>
        <p:nvSpPr>
          <p:cNvPr id="54" name="TextBox 53">
            <a:extLst>
              <a:ext uri="{FF2B5EF4-FFF2-40B4-BE49-F238E27FC236}">
                <a16:creationId xmlns:a16="http://schemas.microsoft.com/office/drawing/2014/main" id="{8F53A845-2B17-4ABA-93AA-08F13635E86C}"/>
              </a:ext>
            </a:extLst>
          </p:cNvPr>
          <p:cNvSpPr txBox="1"/>
          <p:nvPr/>
        </p:nvSpPr>
        <p:spPr>
          <a:xfrm>
            <a:off x="4875761" y="3159267"/>
            <a:ext cx="2440474" cy="276999"/>
          </a:xfrm>
          <a:prstGeom prst="rect">
            <a:avLst/>
          </a:prstGeom>
          <a:solidFill>
            <a:schemeClr val="bg1"/>
          </a:solidFill>
        </p:spPr>
        <p:txBody>
          <a:bodyPr wrap="square" rtlCol="0">
            <a:spAutoFit/>
          </a:bodyPr>
          <a:lstStyle/>
          <a:p>
            <a:pPr algn="ctr" eaLnBrk="1" fontAlgn="auto" hangingPunct="1">
              <a:spcBef>
                <a:spcPts val="0"/>
              </a:spcBef>
              <a:spcAft>
                <a:spcPts val="0"/>
              </a:spcAft>
            </a:pPr>
            <a:r>
              <a:rPr lang="en-US" sz="1200" b="1">
                <a:latin typeface="+mn-lt"/>
              </a:rPr>
              <a:t>CONTACT DATABASES</a:t>
            </a:r>
          </a:p>
        </p:txBody>
      </p:sp>
      <p:sp>
        <p:nvSpPr>
          <p:cNvPr id="106" name="Isosceles Triangle 105">
            <a:extLst>
              <a:ext uri="{FF2B5EF4-FFF2-40B4-BE49-F238E27FC236}">
                <a16:creationId xmlns:a16="http://schemas.microsoft.com/office/drawing/2014/main" id="{1C565840-B052-4F14-8F03-8B2B98B5F5A5}"/>
              </a:ext>
            </a:extLst>
          </p:cNvPr>
          <p:cNvSpPr/>
          <p:nvPr/>
        </p:nvSpPr>
        <p:spPr>
          <a:xfrm rot="10800000">
            <a:off x="2282090" y="4405046"/>
            <a:ext cx="7627820" cy="16323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endParaRPr lang="en-GB" sz="1080">
              <a:solidFill>
                <a:srgbClr val="FFFFFF"/>
              </a:solidFill>
              <a:latin typeface="Calibri" panose="020F0502020204030204"/>
            </a:endParaRPr>
          </a:p>
        </p:txBody>
      </p:sp>
      <p:grpSp>
        <p:nvGrpSpPr>
          <p:cNvPr id="2" name="Group 1">
            <a:extLst>
              <a:ext uri="{FF2B5EF4-FFF2-40B4-BE49-F238E27FC236}">
                <a16:creationId xmlns:a16="http://schemas.microsoft.com/office/drawing/2014/main" id="{1FCD8DE1-D5AB-471D-B06D-FB86F16872C1}"/>
              </a:ext>
            </a:extLst>
          </p:cNvPr>
          <p:cNvGrpSpPr/>
          <p:nvPr/>
        </p:nvGrpSpPr>
        <p:grpSpPr>
          <a:xfrm>
            <a:off x="1885467" y="4925248"/>
            <a:ext cx="8421067" cy="936798"/>
            <a:chOff x="1262806" y="4104374"/>
            <a:chExt cx="7017556" cy="780665"/>
          </a:xfrm>
        </p:grpSpPr>
        <p:grpSp>
          <p:nvGrpSpPr>
            <p:cNvPr id="56" name="Group 55">
              <a:extLst>
                <a:ext uri="{FF2B5EF4-FFF2-40B4-BE49-F238E27FC236}">
                  <a16:creationId xmlns:a16="http://schemas.microsoft.com/office/drawing/2014/main" id="{66D0C957-37C3-4756-83C4-050B32B28181}"/>
                </a:ext>
              </a:extLst>
            </p:cNvPr>
            <p:cNvGrpSpPr/>
            <p:nvPr/>
          </p:nvGrpSpPr>
          <p:grpSpPr>
            <a:xfrm>
              <a:off x="4642841" y="4115303"/>
              <a:ext cx="1395086" cy="769736"/>
              <a:chOff x="3857429" y="2483695"/>
              <a:chExt cx="1395086" cy="769736"/>
            </a:xfrm>
          </p:grpSpPr>
          <p:sp>
            <p:nvSpPr>
              <p:cNvPr id="57" name="TextBox 56">
                <a:extLst>
                  <a:ext uri="{FF2B5EF4-FFF2-40B4-BE49-F238E27FC236}">
                    <a16:creationId xmlns:a16="http://schemas.microsoft.com/office/drawing/2014/main" id="{2C8CF8C4-53D2-41C1-8957-497F90ABF826}"/>
                  </a:ext>
                </a:extLst>
              </p:cNvPr>
              <p:cNvSpPr txBox="1"/>
              <p:nvPr/>
            </p:nvSpPr>
            <p:spPr>
              <a:xfrm>
                <a:off x="3857429" y="2868710"/>
                <a:ext cx="1395086" cy="384721"/>
              </a:xfrm>
              <a:prstGeom prst="rect">
                <a:avLst/>
              </a:prstGeom>
              <a:noFill/>
            </p:spPr>
            <p:txBody>
              <a:bodyPr wrap="square" rtlCol="0">
                <a:spAutoFit/>
              </a:bodyPr>
              <a:lstStyle/>
              <a:p>
                <a:pPr algn="ctr" eaLnBrk="1" fontAlgn="auto" hangingPunct="1">
                  <a:spcBef>
                    <a:spcPts val="0"/>
                  </a:spcBef>
                  <a:spcAft>
                    <a:spcPts val="0"/>
                  </a:spcAft>
                </a:pPr>
                <a:r>
                  <a:rPr lang="en-US" sz="1200">
                    <a:solidFill>
                      <a:schemeClr val="bg2">
                        <a:lumMod val="25000"/>
                      </a:schemeClr>
                    </a:solidFill>
                    <a:latin typeface="+mn-lt"/>
                  </a:rPr>
                  <a:t>Facility </a:t>
                </a:r>
              </a:p>
              <a:p>
                <a:pPr algn="ctr" eaLnBrk="1" fontAlgn="auto" hangingPunct="1">
                  <a:spcBef>
                    <a:spcPts val="0"/>
                  </a:spcBef>
                  <a:spcAft>
                    <a:spcPts val="0"/>
                  </a:spcAft>
                </a:pPr>
                <a:r>
                  <a:rPr lang="en-US" sz="1200">
                    <a:solidFill>
                      <a:schemeClr val="bg2">
                        <a:lumMod val="25000"/>
                      </a:schemeClr>
                    </a:solidFill>
                    <a:latin typeface="+mn-lt"/>
                  </a:rPr>
                  <a:t>Management</a:t>
                </a:r>
              </a:p>
            </p:txBody>
          </p:sp>
          <p:grpSp>
            <p:nvGrpSpPr>
              <p:cNvPr id="58" name="Groupe 660">
                <a:extLst>
                  <a:ext uri="{FF2B5EF4-FFF2-40B4-BE49-F238E27FC236}">
                    <a16:creationId xmlns:a16="http://schemas.microsoft.com/office/drawing/2014/main" id="{E86F1B00-BDED-4045-A17A-374F8660FC18}"/>
                  </a:ext>
                </a:extLst>
              </p:cNvPr>
              <p:cNvGrpSpPr/>
              <p:nvPr/>
            </p:nvGrpSpPr>
            <p:grpSpPr>
              <a:xfrm>
                <a:off x="4265746" y="2483695"/>
                <a:ext cx="578451" cy="385015"/>
                <a:chOff x="5292726" y="1836738"/>
                <a:chExt cx="493713" cy="328613"/>
              </a:xfrm>
            </p:grpSpPr>
            <p:sp>
              <p:nvSpPr>
                <p:cNvPr id="59" name="Freeform 172">
                  <a:extLst>
                    <a:ext uri="{FF2B5EF4-FFF2-40B4-BE49-F238E27FC236}">
                      <a16:creationId xmlns:a16="http://schemas.microsoft.com/office/drawing/2014/main" id="{93EFE903-02A8-418C-B8D5-499E14F77D89}"/>
                    </a:ext>
                  </a:extLst>
                </p:cNvPr>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60" name="Freeform 173">
                  <a:extLst>
                    <a:ext uri="{FF2B5EF4-FFF2-40B4-BE49-F238E27FC236}">
                      <a16:creationId xmlns:a16="http://schemas.microsoft.com/office/drawing/2014/main" id="{C5156071-E20F-4826-89DF-4467FD29753E}"/>
                    </a:ext>
                  </a:extLst>
                </p:cNvPr>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61" name="Freeform 174">
                  <a:extLst>
                    <a:ext uri="{FF2B5EF4-FFF2-40B4-BE49-F238E27FC236}">
                      <a16:creationId xmlns:a16="http://schemas.microsoft.com/office/drawing/2014/main" id="{8830D3DE-CB73-436F-A351-637BD3D372B2}"/>
                    </a:ext>
                  </a:extLst>
                </p:cNvPr>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62" name="Freeform 175">
                  <a:extLst>
                    <a:ext uri="{FF2B5EF4-FFF2-40B4-BE49-F238E27FC236}">
                      <a16:creationId xmlns:a16="http://schemas.microsoft.com/office/drawing/2014/main" id="{759A6DCA-AD77-4515-9FC1-D4A9E9A43F84}"/>
                    </a:ext>
                  </a:extLst>
                </p:cNvPr>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63" name="Freeform 176">
                  <a:extLst>
                    <a:ext uri="{FF2B5EF4-FFF2-40B4-BE49-F238E27FC236}">
                      <a16:creationId xmlns:a16="http://schemas.microsoft.com/office/drawing/2014/main" id="{8F0E65D3-6D38-4A21-9EA8-B225F984E0E3}"/>
                    </a:ext>
                  </a:extLst>
                </p:cNvPr>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grpSp>
        </p:grpSp>
        <p:grpSp>
          <p:nvGrpSpPr>
            <p:cNvPr id="64" name="Group 63">
              <a:extLst>
                <a:ext uri="{FF2B5EF4-FFF2-40B4-BE49-F238E27FC236}">
                  <a16:creationId xmlns:a16="http://schemas.microsoft.com/office/drawing/2014/main" id="{8D9017B1-FAC6-46CF-99E6-4BF7F53D5B48}"/>
                </a:ext>
              </a:extLst>
            </p:cNvPr>
            <p:cNvGrpSpPr/>
            <p:nvPr/>
          </p:nvGrpSpPr>
          <p:grpSpPr>
            <a:xfrm>
              <a:off x="3400014" y="4115303"/>
              <a:ext cx="1395086" cy="769736"/>
              <a:chOff x="1781849" y="2483695"/>
              <a:chExt cx="1395086" cy="769736"/>
            </a:xfrm>
          </p:grpSpPr>
          <p:sp>
            <p:nvSpPr>
              <p:cNvPr id="65" name="TextBox 64">
                <a:extLst>
                  <a:ext uri="{FF2B5EF4-FFF2-40B4-BE49-F238E27FC236}">
                    <a16:creationId xmlns:a16="http://schemas.microsoft.com/office/drawing/2014/main" id="{391C9DB1-66FB-4049-9A60-0970F64E589A}"/>
                  </a:ext>
                </a:extLst>
              </p:cNvPr>
              <p:cNvSpPr txBox="1"/>
              <p:nvPr/>
            </p:nvSpPr>
            <p:spPr>
              <a:xfrm>
                <a:off x="1781849" y="2868710"/>
                <a:ext cx="1395086" cy="384721"/>
              </a:xfrm>
              <a:prstGeom prst="rect">
                <a:avLst/>
              </a:prstGeom>
              <a:noFill/>
            </p:spPr>
            <p:txBody>
              <a:bodyPr wrap="square" rtlCol="0">
                <a:spAutoFit/>
              </a:bodyPr>
              <a:lstStyle/>
              <a:p>
                <a:pPr algn="ctr" eaLnBrk="1" fontAlgn="auto" hangingPunct="1">
                  <a:spcBef>
                    <a:spcPts val="0"/>
                  </a:spcBef>
                  <a:spcAft>
                    <a:spcPts val="0"/>
                  </a:spcAft>
                </a:pPr>
                <a:r>
                  <a:rPr lang="en-US" sz="1200">
                    <a:solidFill>
                      <a:schemeClr val="bg2">
                        <a:lumMod val="25000"/>
                      </a:schemeClr>
                    </a:solidFill>
                    <a:latin typeface="+mn-lt"/>
                  </a:rPr>
                  <a:t>Quality </a:t>
                </a:r>
              </a:p>
              <a:p>
                <a:pPr algn="ctr" eaLnBrk="1" fontAlgn="auto" hangingPunct="1">
                  <a:spcBef>
                    <a:spcPts val="0"/>
                  </a:spcBef>
                  <a:spcAft>
                    <a:spcPts val="0"/>
                  </a:spcAft>
                </a:pPr>
                <a:r>
                  <a:rPr lang="en-US" sz="1200">
                    <a:solidFill>
                      <a:schemeClr val="bg2">
                        <a:lumMod val="25000"/>
                      </a:schemeClr>
                    </a:solidFill>
                    <a:latin typeface="+mn-lt"/>
                  </a:rPr>
                  <a:t>Department</a:t>
                </a:r>
              </a:p>
            </p:txBody>
          </p:sp>
          <p:grpSp>
            <p:nvGrpSpPr>
              <p:cNvPr id="66" name="Groupe 660">
                <a:extLst>
                  <a:ext uri="{FF2B5EF4-FFF2-40B4-BE49-F238E27FC236}">
                    <a16:creationId xmlns:a16="http://schemas.microsoft.com/office/drawing/2014/main" id="{FD217A60-DE77-4CE7-979F-F12D60DDAB86}"/>
                  </a:ext>
                </a:extLst>
              </p:cNvPr>
              <p:cNvGrpSpPr/>
              <p:nvPr/>
            </p:nvGrpSpPr>
            <p:grpSpPr>
              <a:xfrm>
                <a:off x="2190166" y="2483695"/>
                <a:ext cx="578451" cy="385015"/>
                <a:chOff x="5292726" y="1836738"/>
                <a:chExt cx="493713" cy="328613"/>
              </a:xfrm>
            </p:grpSpPr>
            <p:sp>
              <p:nvSpPr>
                <p:cNvPr id="67" name="Freeform 172">
                  <a:extLst>
                    <a:ext uri="{FF2B5EF4-FFF2-40B4-BE49-F238E27FC236}">
                      <a16:creationId xmlns:a16="http://schemas.microsoft.com/office/drawing/2014/main" id="{FCEECC51-8D04-410F-A358-47D833BDC5DC}"/>
                    </a:ext>
                  </a:extLst>
                </p:cNvPr>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68" name="Freeform 173">
                  <a:extLst>
                    <a:ext uri="{FF2B5EF4-FFF2-40B4-BE49-F238E27FC236}">
                      <a16:creationId xmlns:a16="http://schemas.microsoft.com/office/drawing/2014/main" id="{90DA0716-9A5F-4FB1-8AB6-CA9CC0A4F25C}"/>
                    </a:ext>
                  </a:extLst>
                </p:cNvPr>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69" name="Freeform 174">
                  <a:extLst>
                    <a:ext uri="{FF2B5EF4-FFF2-40B4-BE49-F238E27FC236}">
                      <a16:creationId xmlns:a16="http://schemas.microsoft.com/office/drawing/2014/main" id="{B8D4AD8F-42EF-446C-81A3-714532173D1E}"/>
                    </a:ext>
                  </a:extLst>
                </p:cNvPr>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70" name="Freeform 175">
                  <a:extLst>
                    <a:ext uri="{FF2B5EF4-FFF2-40B4-BE49-F238E27FC236}">
                      <a16:creationId xmlns:a16="http://schemas.microsoft.com/office/drawing/2014/main" id="{C478900C-DE33-4048-B634-622C1C159B91}"/>
                    </a:ext>
                  </a:extLst>
                </p:cNvPr>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71" name="Freeform 176">
                  <a:extLst>
                    <a:ext uri="{FF2B5EF4-FFF2-40B4-BE49-F238E27FC236}">
                      <a16:creationId xmlns:a16="http://schemas.microsoft.com/office/drawing/2014/main" id="{B3DDFC02-2266-4E26-BD94-0ED3458370C8}"/>
                    </a:ext>
                  </a:extLst>
                </p:cNvPr>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grpSp>
        </p:grpSp>
        <p:grpSp>
          <p:nvGrpSpPr>
            <p:cNvPr id="72" name="Group 71">
              <a:extLst>
                <a:ext uri="{FF2B5EF4-FFF2-40B4-BE49-F238E27FC236}">
                  <a16:creationId xmlns:a16="http://schemas.microsoft.com/office/drawing/2014/main" id="{3A14E7E0-2621-4EFB-A814-783E15BF5B2F}"/>
                </a:ext>
              </a:extLst>
            </p:cNvPr>
            <p:cNvGrpSpPr/>
            <p:nvPr/>
          </p:nvGrpSpPr>
          <p:grpSpPr>
            <a:xfrm>
              <a:off x="1262806" y="4115303"/>
              <a:ext cx="1395086" cy="769736"/>
              <a:chOff x="484986" y="2483695"/>
              <a:chExt cx="1395086" cy="769736"/>
            </a:xfrm>
          </p:grpSpPr>
          <p:sp>
            <p:nvSpPr>
              <p:cNvPr id="73" name="TextBox 72">
                <a:extLst>
                  <a:ext uri="{FF2B5EF4-FFF2-40B4-BE49-F238E27FC236}">
                    <a16:creationId xmlns:a16="http://schemas.microsoft.com/office/drawing/2014/main" id="{C049D3B7-FF5C-4AEB-8A7E-FD2008B1D23C}"/>
                  </a:ext>
                </a:extLst>
              </p:cNvPr>
              <p:cNvSpPr txBox="1"/>
              <p:nvPr/>
            </p:nvSpPr>
            <p:spPr>
              <a:xfrm>
                <a:off x="484986" y="2868710"/>
                <a:ext cx="1395086" cy="384721"/>
              </a:xfrm>
              <a:prstGeom prst="rect">
                <a:avLst/>
              </a:prstGeom>
              <a:noFill/>
            </p:spPr>
            <p:txBody>
              <a:bodyPr wrap="square" rtlCol="0">
                <a:spAutoFit/>
              </a:bodyPr>
              <a:lstStyle/>
              <a:p>
                <a:pPr algn="ctr" eaLnBrk="1" fontAlgn="auto" hangingPunct="1">
                  <a:spcBef>
                    <a:spcPts val="0"/>
                  </a:spcBef>
                  <a:spcAft>
                    <a:spcPts val="0"/>
                  </a:spcAft>
                </a:pPr>
                <a:r>
                  <a:rPr lang="en-US" sz="1200">
                    <a:solidFill>
                      <a:schemeClr val="bg2">
                        <a:lumMod val="25000"/>
                      </a:schemeClr>
                    </a:solidFill>
                    <a:latin typeface="+mn-lt"/>
                  </a:rPr>
                  <a:t>Validation Department</a:t>
                </a:r>
              </a:p>
            </p:txBody>
          </p:sp>
          <p:grpSp>
            <p:nvGrpSpPr>
              <p:cNvPr id="74" name="Groupe 660">
                <a:extLst>
                  <a:ext uri="{FF2B5EF4-FFF2-40B4-BE49-F238E27FC236}">
                    <a16:creationId xmlns:a16="http://schemas.microsoft.com/office/drawing/2014/main" id="{D82473C0-C354-442F-A66B-13B0BF8EC75A}"/>
                  </a:ext>
                </a:extLst>
              </p:cNvPr>
              <p:cNvGrpSpPr/>
              <p:nvPr/>
            </p:nvGrpSpPr>
            <p:grpSpPr>
              <a:xfrm>
                <a:off x="893303" y="2483695"/>
                <a:ext cx="578451" cy="385015"/>
                <a:chOff x="5292726" y="1836738"/>
                <a:chExt cx="493713" cy="328613"/>
              </a:xfrm>
            </p:grpSpPr>
            <p:sp>
              <p:nvSpPr>
                <p:cNvPr id="75" name="Freeform 172">
                  <a:extLst>
                    <a:ext uri="{FF2B5EF4-FFF2-40B4-BE49-F238E27FC236}">
                      <a16:creationId xmlns:a16="http://schemas.microsoft.com/office/drawing/2014/main" id="{951202E7-E489-4065-AD99-945C681264C4}"/>
                    </a:ext>
                  </a:extLst>
                </p:cNvPr>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76" name="Freeform 173">
                  <a:extLst>
                    <a:ext uri="{FF2B5EF4-FFF2-40B4-BE49-F238E27FC236}">
                      <a16:creationId xmlns:a16="http://schemas.microsoft.com/office/drawing/2014/main" id="{37788F5C-9A0E-4945-9F99-D7EF656F16FB}"/>
                    </a:ext>
                  </a:extLst>
                </p:cNvPr>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77" name="Freeform 174">
                  <a:extLst>
                    <a:ext uri="{FF2B5EF4-FFF2-40B4-BE49-F238E27FC236}">
                      <a16:creationId xmlns:a16="http://schemas.microsoft.com/office/drawing/2014/main" id="{76CFBB09-71BD-4483-B757-26056CFD4807}"/>
                    </a:ext>
                  </a:extLst>
                </p:cNvPr>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78" name="Freeform 175">
                  <a:extLst>
                    <a:ext uri="{FF2B5EF4-FFF2-40B4-BE49-F238E27FC236}">
                      <a16:creationId xmlns:a16="http://schemas.microsoft.com/office/drawing/2014/main" id="{DEA5A91C-9A57-4C0C-96FA-940312D0ED0D}"/>
                    </a:ext>
                  </a:extLst>
                </p:cNvPr>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79" name="Freeform 176">
                  <a:extLst>
                    <a:ext uri="{FF2B5EF4-FFF2-40B4-BE49-F238E27FC236}">
                      <a16:creationId xmlns:a16="http://schemas.microsoft.com/office/drawing/2014/main" id="{F69FC6F8-4D73-4E84-9FEB-12F8B486A434}"/>
                    </a:ext>
                  </a:extLst>
                </p:cNvPr>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grpSp>
        </p:grpSp>
        <p:grpSp>
          <p:nvGrpSpPr>
            <p:cNvPr id="80" name="Group 79">
              <a:extLst>
                <a:ext uri="{FF2B5EF4-FFF2-40B4-BE49-F238E27FC236}">
                  <a16:creationId xmlns:a16="http://schemas.microsoft.com/office/drawing/2014/main" id="{8BF29E2C-52DC-4100-A52D-7DB0522B1384}"/>
                </a:ext>
              </a:extLst>
            </p:cNvPr>
            <p:cNvGrpSpPr/>
            <p:nvPr/>
          </p:nvGrpSpPr>
          <p:grpSpPr>
            <a:xfrm>
              <a:off x="5790009" y="4115303"/>
              <a:ext cx="1395086" cy="769736"/>
              <a:chOff x="4571981" y="2483695"/>
              <a:chExt cx="1395086" cy="769736"/>
            </a:xfrm>
          </p:grpSpPr>
          <p:sp>
            <p:nvSpPr>
              <p:cNvPr id="81" name="TextBox 80">
                <a:extLst>
                  <a:ext uri="{FF2B5EF4-FFF2-40B4-BE49-F238E27FC236}">
                    <a16:creationId xmlns:a16="http://schemas.microsoft.com/office/drawing/2014/main" id="{E7B5B02A-9416-4B0E-B811-087319418DF3}"/>
                  </a:ext>
                </a:extLst>
              </p:cNvPr>
              <p:cNvSpPr txBox="1"/>
              <p:nvPr/>
            </p:nvSpPr>
            <p:spPr>
              <a:xfrm>
                <a:off x="4571981" y="2868710"/>
                <a:ext cx="1395086" cy="384721"/>
              </a:xfrm>
              <a:prstGeom prst="rect">
                <a:avLst/>
              </a:prstGeom>
              <a:noFill/>
            </p:spPr>
            <p:txBody>
              <a:bodyPr wrap="square" rtlCol="0">
                <a:spAutoFit/>
              </a:bodyPr>
              <a:lstStyle/>
              <a:p>
                <a:pPr algn="ctr" eaLnBrk="1" fontAlgn="auto" hangingPunct="1">
                  <a:spcBef>
                    <a:spcPts val="0"/>
                  </a:spcBef>
                  <a:spcAft>
                    <a:spcPts val="0"/>
                  </a:spcAft>
                </a:pPr>
                <a:r>
                  <a:rPr lang="en-US" sz="1200">
                    <a:solidFill>
                      <a:schemeClr val="bg2">
                        <a:lumMod val="25000"/>
                      </a:schemeClr>
                    </a:solidFill>
                    <a:latin typeface="+mn-lt"/>
                  </a:rPr>
                  <a:t>Laboratory Operations</a:t>
                </a:r>
              </a:p>
            </p:txBody>
          </p:sp>
          <p:grpSp>
            <p:nvGrpSpPr>
              <p:cNvPr id="82" name="Groupe 660">
                <a:extLst>
                  <a:ext uri="{FF2B5EF4-FFF2-40B4-BE49-F238E27FC236}">
                    <a16:creationId xmlns:a16="http://schemas.microsoft.com/office/drawing/2014/main" id="{48ECACCA-BDAE-44CC-AA06-A74317FD22AF}"/>
                  </a:ext>
                </a:extLst>
              </p:cNvPr>
              <p:cNvGrpSpPr/>
              <p:nvPr/>
            </p:nvGrpSpPr>
            <p:grpSpPr>
              <a:xfrm>
                <a:off x="4980298" y="2483695"/>
                <a:ext cx="578451" cy="385015"/>
                <a:chOff x="5292726" y="1836738"/>
                <a:chExt cx="493713" cy="328613"/>
              </a:xfrm>
            </p:grpSpPr>
            <p:sp>
              <p:nvSpPr>
                <p:cNvPr id="83" name="Freeform 172">
                  <a:extLst>
                    <a:ext uri="{FF2B5EF4-FFF2-40B4-BE49-F238E27FC236}">
                      <a16:creationId xmlns:a16="http://schemas.microsoft.com/office/drawing/2014/main" id="{F22D287F-3C48-4572-9D70-3BD8AEB2E882}"/>
                    </a:ext>
                  </a:extLst>
                </p:cNvPr>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84" name="Freeform 173">
                  <a:extLst>
                    <a:ext uri="{FF2B5EF4-FFF2-40B4-BE49-F238E27FC236}">
                      <a16:creationId xmlns:a16="http://schemas.microsoft.com/office/drawing/2014/main" id="{2F97D6A8-6C3C-4EC2-9676-D1FE453B3909}"/>
                    </a:ext>
                  </a:extLst>
                </p:cNvPr>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85" name="Freeform 174">
                  <a:extLst>
                    <a:ext uri="{FF2B5EF4-FFF2-40B4-BE49-F238E27FC236}">
                      <a16:creationId xmlns:a16="http://schemas.microsoft.com/office/drawing/2014/main" id="{73481303-7C43-40FA-BF07-3C190B2E04EC}"/>
                    </a:ext>
                  </a:extLst>
                </p:cNvPr>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86" name="Freeform 175">
                  <a:extLst>
                    <a:ext uri="{FF2B5EF4-FFF2-40B4-BE49-F238E27FC236}">
                      <a16:creationId xmlns:a16="http://schemas.microsoft.com/office/drawing/2014/main" id="{F2AB95A6-C188-4273-B02A-0C86499CD3E5}"/>
                    </a:ext>
                  </a:extLst>
                </p:cNvPr>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87" name="Freeform 176">
                  <a:extLst>
                    <a:ext uri="{FF2B5EF4-FFF2-40B4-BE49-F238E27FC236}">
                      <a16:creationId xmlns:a16="http://schemas.microsoft.com/office/drawing/2014/main" id="{33D87863-2AAA-44BC-AC88-65BE886E47AD}"/>
                    </a:ext>
                  </a:extLst>
                </p:cNvPr>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grpSp>
        </p:grpSp>
        <p:grpSp>
          <p:nvGrpSpPr>
            <p:cNvPr id="88" name="Group 87">
              <a:extLst>
                <a:ext uri="{FF2B5EF4-FFF2-40B4-BE49-F238E27FC236}">
                  <a16:creationId xmlns:a16="http://schemas.microsoft.com/office/drawing/2014/main" id="{3D88E7CC-A7DC-4C89-94FD-E59B110AD29D}"/>
                </a:ext>
              </a:extLst>
            </p:cNvPr>
            <p:cNvGrpSpPr/>
            <p:nvPr/>
          </p:nvGrpSpPr>
          <p:grpSpPr>
            <a:xfrm>
              <a:off x="6885276" y="4104374"/>
              <a:ext cx="1395086" cy="769736"/>
              <a:chOff x="6027066" y="2483695"/>
              <a:chExt cx="1395086" cy="769736"/>
            </a:xfrm>
          </p:grpSpPr>
          <p:sp>
            <p:nvSpPr>
              <p:cNvPr id="89" name="TextBox 88">
                <a:extLst>
                  <a:ext uri="{FF2B5EF4-FFF2-40B4-BE49-F238E27FC236}">
                    <a16:creationId xmlns:a16="http://schemas.microsoft.com/office/drawing/2014/main" id="{6AF4D4B7-B1C3-44F1-815E-0FB00D01B153}"/>
                  </a:ext>
                </a:extLst>
              </p:cNvPr>
              <p:cNvSpPr txBox="1"/>
              <p:nvPr/>
            </p:nvSpPr>
            <p:spPr>
              <a:xfrm>
                <a:off x="6027066" y="2868710"/>
                <a:ext cx="1395086" cy="384721"/>
              </a:xfrm>
              <a:prstGeom prst="rect">
                <a:avLst/>
              </a:prstGeom>
              <a:noFill/>
            </p:spPr>
            <p:txBody>
              <a:bodyPr wrap="square" rtlCol="0">
                <a:spAutoFit/>
              </a:bodyPr>
              <a:lstStyle/>
              <a:p>
                <a:pPr algn="ctr" eaLnBrk="1" fontAlgn="auto" hangingPunct="1">
                  <a:spcBef>
                    <a:spcPts val="0"/>
                  </a:spcBef>
                  <a:spcAft>
                    <a:spcPts val="0"/>
                  </a:spcAft>
                </a:pPr>
                <a:r>
                  <a:rPr lang="en-US" sz="1200">
                    <a:solidFill>
                      <a:schemeClr val="bg2">
                        <a:lumMod val="25000"/>
                      </a:schemeClr>
                    </a:solidFill>
                    <a:latin typeface="+mn-lt"/>
                  </a:rPr>
                  <a:t>Engineering Department</a:t>
                </a:r>
              </a:p>
            </p:txBody>
          </p:sp>
          <p:grpSp>
            <p:nvGrpSpPr>
              <p:cNvPr id="90" name="Groupe 660">
                <a:extLst>
                  <a:ext uri="{FF2B5EF4-FFF2-40B4-BE49-F238E27FC236}">
                    <a16:creationId xmlns:a16="http://schemas.microsoft.com/office/drawing/2014/main" id="{A73AAF31-061E-4A66-BD15-0ADD0A27E315}"/>
                  </a:ext>
                </a:extLst>
              </p:cNvPr>
              <p:cNvGrpSpPr/>
              <p:nvPr/>
            </p:nvGrpSpPr>
            <p:grpSpPr>
              <a:xfrm>
                <a:off x="6435383" y="2483695"/>
                <a:ext cx="578451" cy="385015"/>
                <a:chOff x="5292726" y="1836738"/>
                <a:chExt cx="493713" cy="328613"/>
              </a:xfrm>
            </p:grpSpPr>
            <p:sp>
              <p:nvSpPr>
                <p:cNvPr id="91" name="Freeform 172">
                  <a:extLst>
                    <a:ext uri="{FF2B5EF4-FFF2-40B4-BE49-F238E27FC236}">
                      <a16:creationId xmlns:a16="http://schemas.microsoft.com/office/drawing/2014/main" id="{BB4A6474-0D7A-445C-A081-F195E28F23B9}"/>
                    </a:ext>
                  </a:extLst>
                </p:cNvPr>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92" name="Freeform 173">
                  <a:extLst>
                    <a:ext uri="{FF2B5EF4-FFF2-40B4-BE49-F238E27FC236}">
                      <a16:creationId xmlns:a16="http://schemas.microsoft.com/office/drawing/2014/main" id="{9A49FF78-3D1D-4AED-95F3-A72C4BBD970C}"/>
                    </a:ext>
                  </a:extLst>
                </p:cNvPr>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93" name="Freeform 174">
                  <a:extLst>
                    <a:ext uri="{FF2B5EF4-FFF2-40B4-BE49-F238E27FC236}">
                      <a16:creationId xmlns:a16="http://schemas.microsoft.com/office/drawing/2014/main" id="{39334817-F722-4B35-B7D3-5B598A73095F}"/>
                    </a:ext>
                  </a:extLst>
                </p:cNvPr>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94" name="Freeform 175">
                  <a:extLst>
                    <a:ext uri="{FF2B5EF4-FFF2-40B4-BE49-F238E27FC236}">
                      <a16:creationId xmlns:a16="http://schemas.microsoft.com/office/drawing/2014/main" id="{5D4F7176-13AF-46A5-A62D-1C61B3FC1489}"/>
                    </a:ext>
                  </a:extLst>
                </p:cNvPr>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95" name="Freeform 176">
                  <a:extLst>
                    <a:ext uri="{FF2B5EF4-FFF2-40B4-BE49-F238E27FC236}">
                      <a16:creationId xmlns:a16="http://schemas.microsoft.com/office/drawing/2014/main" id="{50F2A793-1031-46EC-A09A-796DACECDD27}"/>
                    </a:ext>
                  </a:extLst>
                </p:cNvPr>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grpSp>
        </p:grpSp>
        <p:grpSp>
          <p:nvGrpSpPr>
            <p:cNvPr id="101" name="Group 100">
              <a:extLst>
                <a:ext uri="{FF2B5EF4-FFF2-40B4-BE49-F238E27FC236}">
                  <a16:creationId xmlns:a16="http://schemas.microsoft.com/office/drawing/2014/main" id="{00FF82CA-BB19-4E45-A123-9D9AD878D51C}"/>
                </a:ext>
              </a:extLst>
            </p:cNvPr>
            <p:cNvGrpSpPr/>
            <p:nvPr/>
          </p:nvGrpSpPr>
          <p:grpSpPr>
            <a:xfrm>
              <a:off x="2341253" y="4115303"/>
              <a:ext cx="1395086" cy="769736"/>
              <a:chOff x="1781849" y="2483695"/>
              <a:chExt cx="1395086" cy="769736"/>
            </a:xfrm>
          </p:grpSpPr>
          <p:sp>
            <p:nvSpPr>
              <p:cNvPr id="102" name="TextBox 101">
                <a:extLst>
                  <a:ext uri="{FF2B5EF4-FFF2-40B4-BE49-F238E27FC236}">
                    <a16:creationId xmlns:a16="http://schemas.microsoft.com/office/drawing/2014/main" id="{D8A360C6-2E6C-47E6-9CCD-C7EA8E458270}"/>
                  </a:ext>
                </a:extLst>
              </p:cNvPr>
              <p:cNvSpPr txBox="1"/>
              <p:nvPr/>
            </p:nvSpPr>
            <p:spPr>
              <a:xfrm>
                <a:off x="1781849" y="2868710"/>
                <a:ext cx="1395086" cy="384721"/>
              </a:xfrm>
              <a:prstGeom prst="rect">
                <a:avLst/>
              </a:prstGeom>
              <a:noFill/>
            </p:spPr>
            <p:txBody>
              <a:bodyPr wrap="square" rtlCol="0">
                <a:spAutoFit/>
              </a:bodyPr>
              <a:lstStyle/>
              <a:p>
                <a:pPr algn="ctr" eaLnBrk="1" fontAlgn="auto" hangingPunct="1">
                  <a:spcBef>
                    <a:spcPts val="0"/>
                  </a:spcBef>
                  <a:spcAft>
                    <a:spcPts val="0"/>
                  </a:spcAft>
                </a:pPr>
                <a:r>
                  <a:rPr lang="en-US" sz="1200">
                    <a:solidFill>
                      <a:schemeClr val="bg2">
                        <a:lumMod val="25000"/>
                      </a:schemeClr>
                    </a:solidFill>
                    <a:latin typeface="+mn-lt"/>
                  </a:rPr>
                  <a:t>Technical </a:t>
                </a:r>
              </a:p>
              <a:p>
                <a:pPr algn="ctr" eaLnBrk="1" fontAlgn="auto" hangingPunct="1">
                  <a:spcBef>
                    <a:spcPts val="0"/>
                  </a:spcBef>
                  <a:spcAft>
                    <a:spcPts val="0"/>
                  </a:spcAft>
                </a:pPr>
                <a:r>
                  <a:rPr lang="en-US" sz="1200">
                    <a:solidFill>
                      <a:schemeClr val="bg2">
                        <a:lumMod val="25000"/>
                      </a:schemeClr>
                    </a:solidFill>
                    <a:latin typeface="+mn-lt"/>
                  </a:rPr>
                  <a:t>Services</a:t>
                </a:r>
              </a:p>
            </p:txBody>
          </p:sp>
          <p:grpSp>
            <p:nvGrpSpPr>
              <p:cNvPr id="103" name="Groupe 660">
                <a:extLst>
                  <a:ext uri="{FF2B5EF4-FFF2-40B4-BE49-F238E27FC236}">
                    <a16:creationId xmlns:a16="http://schemas.microsoft.com/office/drawing/2014/main" id="{C709DD56-DE5E-4096-AA5C-50738EC20259}"/>
                  </a:ext>
                </a:extLst>
              </p:cNvPr>
              <p:cNvGrpSpPr/>
              <p:nvPr/>
            </p:nvGrpSpPr>
            <p:grpSpPr>
              <a:xfrm>
                <a:off x="2190166" y="2483695"/>
                <a:ext cx="578451" cy="385015"/>
                <a:chOff x="5292726" y="1836738"/>
                <a:chExt cx="493713" cy="328613"/>
              </a:xfrm>
            </p:grpSpPr>
            <p:sp>
              <p:nvSpPr>
                <p:cNvPr id="104" name="Freeform 172">
                  <a:extLst>
                    <a:ext uri="{FF2B5EF4-FFF2-40B4-BE49-F238E27FC236}">
                      <a16:creationId xmlns:a16="http://schemas.microsoft.com/office/drawing/2014/main" id="{A14D80FB-9F84-47F7-917A-646EBFED1994}"/>
                    </a:ext>
                  </a:extLst>
                </p:cNvPr>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108" name="Freeform 173">
                  <a:extLst>
                    <a:ext uri="{FF2B5EF4-FFF2-40B4-BE49-F238E27FC236}">
                      <a16:creationId xmlns:a16="http://schemas.microsoft.com/office/drawing/2014/main" id="{921BE2E5-CDA4-40F0-B33E-9F9537B78204}"/>
                    </a:ext>
                  </a:extLst>
                </p:cNvPr>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109" name="Freeform 174">
                  <a:extLst>
                    <a:ext uri="{FF2B5EF4-FFF2-40B4-BE49-F238E27FC236}">
                      <a16:creationId xmlns:a16="http://schemas.microsoft.com/office/drawing/2014/main" id="{6514608C-7372-4283-B594-62E2D1DF0E58}"/>
                    </a:ext>
                  </a:extLst>
                </p:cNvPr>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110" name="Freeform 175">
                  <a:extLst>
                    <a:ext uri="{FF2B5EF4-FFF2-40B4-BE49-F238E27FC236}">
                      <a16:creationId xmlns:a16="http://schemas.microsoft.com/office/drawing/2014/main" id="{8FA7AD80-2341-40BE-A617-3B6AD3FFACF8}"/>
                    </a:ext>
                  </a:extLst>
                </p:cNvPr>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sp>
              <p:nvSpPr>
                <p:cNvPr id="111" name="Freeform 176">
                  <a:extLst>
                    <a:ext uri="{FF2B5EF4-FFF2-40B4-BE49-F238E27FC236}">
                      <a16:creationId xmlns:a16="http://schemas.microsoft.com/office/drawing/2014/main" id="{22457B39-064F-44A4-9957-4476CB6FAC63}"/>
                    </a:ext>
                  </a:extLst>
                </p:cNvPr>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noFill/>
                <a:ln w="28575"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a:latin typeface="+mj-lt"/>
                  </a:endParaRPr>
                </a:p>
              </p:txBody>
            </p:sp>
          </p:grpSp>
        </p:grpSp>
      </p:grpSp>
      <p:grpSp>
        <p:nvGrpSpPr>
          <p:cNvPr id="53" name="Groupe 575">
            <a:extLst>
              <a:ext uri="{FF2B5EF4-FFF2-40B4-BE49-F238E27FC236}">
                <a16:creationId xmlns:a16="http://schemas.microsoft.com/office/drawing/2014/main" id="{1FC7DD45-9348-B0B2-B893-92D1524E762A}"/>
              </a:ext>
            </a:extLst>
          </p:cNvPr>
          <p:cNvGrpSpPr/>
          <p:nvPr/>
        </p:nvGrpSpPr>
        <p:grpSpPr>
          <a:xfrm>
            <a:off x="6861381" y="1754865"/>
            <a:ext cx="412134" cy="530845"/>
            <a:chOff x="3319463" y="3638550"/>
            <a:chExt cx="292101" cy="376238"/>
          </a:xfrm>
        </p:grpSpPr>
        <p:sp>
          <p:nvSpPr>
            <p:cNvPr id="96" name="Freeform 258">
              <a:extLst>
                <a:ext uri="{FF2B5EF4-FFF2-40B4-BE49-F238E27FC236}">
                  <a16:creationId xmlns:a16="http://schemas.microsoft.com/office/drawing/2014/main" id="{B9BCB3AB-0380-6770-4114-FD7771AC4FCC}"/>
                </a:ext>
              </a:extLst>
            </p:cNvPr>
            <p:cNvSpPr>
              <a:spLocks/>
            </p:cNvSpPr>
            <p:nvPr/>
          </p:nvSpPr>
          <p:spPr bwMode="auto">
            <a:xfrm>
              <a:off x="3336926" y="3663950"/>
              <a:ext cx="274638" cy="350838"/>
            </a:xfrm>
            <a:custGeom>
              <a:avLst/>
              <a:gdLst/>
              <a:ahLst/>
              <a:cxnLst>
                <a:cxn ang="0">
                  <a:pos x="51" y="0"/>
                </a:cxn>
                <a:cxn ang="0">
                  <a:pos x="137" y="0"/>
                </a:cxn>
                <a:cxn ang="0">
                  <a:pos x="142" y="5"/>
                </a:cxn>
                <a:cxn ang="0">
                  <a:pos x="142" y="144"/>
                </a:cxn>
                <a:cxn ang="0">
                  <a:pos x="107" y="181"/>
                </a:cxn>
                <a:cxn ang="0">
                  <a:pos x="5" y="181"/>
                </a:cxn>
                <a:cxn ang="0">
                  <a:pos x="0" y="176"/>
                </a:cxn>
                <a:cxn ang="0">
                  <a:pos x="0" y="49"/>
                </a:cxn>
              </a:cxnLst>
              <a:rect l="0" t="0" r="r" b="b"/>
              <a:pathLst>
                <a:path w="142" h="181">
                  <a:moveTo>
                    <a:pt x="51" y="0"/>
                  </a:moveTo>
                  <a:cubicBezTo>
                    <a:pt x="137" y="0"/>
                    <a:pt x="137" y="0"/>
                    <a:pt x="137" y="0"/>
                  </a:cubicBezTo>
                  <a:cubicBezTo>
                    <a:pt x="139" y="0"/>
                    <a:pt x="142" y="2"/>
                    <a:pt x="142" y="5"/>
                  </a:cubicBezTo>
                  <a:cubicBezTo>
                    <a:pt x="142" y="144"/>
                    <a:pt x="142" y="144"/>
                    <a:pt x="142" y="144"/>
                  </a:cubicBezTo>
                  <a:cubicBezTo>
                    <a:pt x="107" y="181"/>
                    <a:pt x="107" y="181"/>
                    <a:pt x="107" y="181"/>
                  </a:cubicBezTo>
                  <a:cubicBezTo>
                    <a:pt x="5" y="181"/>
                    <a:pt x="5" y="181"/>
                    <a:pt x="5" y="181"/>
                  </a:cubicBezTo>
                  <a:cubicBezTo>
                    <a:pt x="3" y="181"/>
                    <a:pt x="0" y="178"/>
                    <a:pt x="0" y="176"/>
                  </a:cubicBezTo>
                  <a:cubicBezTo>
                    <a:pt x="0" y="49"/>
                    <a:pt x="0" y="49"/>
                    <a:pt x="0" y="49"/>
                  </a:cubicBezTo>
                </a:path>
              </a:pathLst>
            </a:cu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97" name="Freeform 259">
              <a:extLst>
                <a:ext uri="{FF2B5EF4-FFF2-40B4-BE49-F238E27FC236}">
                  <a16:creationId xmlns:a16="http://schemas.microsoft.com/office/drawing/2014/main" id="{DD33AF57-7CA9-547A-67EE-C8FB1EBCECA5}"/>
                </a:ext>
              </a:extLst>
            </p:cNvPr>
            <p:cNvSpPr>
              <a:spLocks/>
            </p:cNvSpPr>
            <p:nvPr/>
          </p:nvSpPr>
          <p:spPr bwMode="auto">
            <a:xfrm>
              <a:off x="3541713" y="3933825"/>
              <a:ext cx="65088" cy="76200"/>
            </a:xfrm>
            <a:custGeom>
              <a:avLst/>
              <a:gdLst/>
              <a:ahLst/>
              <a:cxnLst>
                <a:cxn ang="0">
                  <a:pos x="0" y="48"/>
                </a:cxn>
                <a:cxn ang="0">
                  <a:pos x="0" y="0"/>
                </a:cxn>
                <a:cxn ang="0">
                  <a:pos x="41" y="0"/>
                </a:cxn>
              </a:cxnLst>
              <a:rect l="0" t="0" r="r" b="b"/>
              <a:pathLst>
                <a:path w="41" h="48">
                  <a:moveTo>
                    <a:pt x="0" y="48"/>
                  </a:moveTo>
                  <a:lnTo>
                    <a:pt x="0" y="0"/>
                  </a:lnTo>
                  <a:lnTo>
                    <a:pt x="41" y="0"/>
                  </a:lnTo>
                </a:path>
              </a:pathLst>
            </a:cu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98" name="Freeform 260">
              <a:extLst>
                <a:ext uri="{FF2B5EF4-FFF2-40B4-BE49-F238E27FC236}">
                  <a16:creationId xmlns:a16="http://schemas.microsoft.com/office/drawing/2014/main" id="{3902C88D-FC81-9833-338D-8D50F8A159BF}"/>
                </a:ext>
              </a:extLst>
            </p:cNvPr>
            <p:cNvSpPr>
              <a:spLocks/>
            </p:cNvSpPr>
            <p:nvPr/>
          </p:nvSpPr>
          <p:spPr bwMode="auto">
            <a:xfrm>
              <a:off x="3395663" y="3711575"/>
              <a:ext cx="185738" cy="201613"/>
            </a:xfrm>
            <a:custGeom>
              <a:avLst/>
              <a:gdLst/>
              <a:ahLst/>
              <a:cxnLst>
                <a:cxn ang="0">
                  <a:pos x="21" y="0"/>
                </a:cxn>
                <a:cxn ang="0">
                  <a:pos x="91" y="0"/>
                </a:cxn>
                <a:cxn ang="0">
                  <a:pos x="96" y="5"/>
                </a:cxn>
                <a:cxn ang="0">
                  <a:pos x="96" y="99"/>
                </a:cxn>
                <a:cxn ang="0">
                  <a:pos x="91" y="104"/>
                </a:cxn>
                <a:cxn ang="0">
                  <a:pos x="6" y="104"/>
                </a:cxn>
                <a:cxn ang="0">
                  <a:pos x="0" y="99"/>
                </a:cxn>
                <a:cxn ang="0">
                  <a:pos x="0" y="26"/>
                </a:cxn>
              </a:cxnLst>
              <a:rect l="0" t="0" r="r" b="b"/>
              <a:pathLst>
                <a:path w="96" h="104">
                  <a:moveTo>
                    <a:pt x="21" y="0"/>
                  </a:moveTo>
                  <a:cubicBezTo>
                    <a:pt x="91" y="0"/>
                    <a:pt x="91" y="0"/>
                    <a:pt x="91" y="0"/>
                  </a:cubicBezTo>
                  <a:cubicBezTo>
                    <a:pt x="94" y="0"/>
                    <a:pt x="96" y="2"/>
                    <a:pt x="96" y="5"/>
                  </a:cubicBezTo>
                  <a:cubicBezTo>
                    <a:pt x="96" y="99"/>
                    <a:pt x="96" y="99"/>
                    <a:pt x="96" y="99"/>
                  </a:cubicBezTo>
                  <a:cubicBezTo>
                    <a:pt x="96" y="101"/>
                    <a:pt x="94" y="104"/>
                    <a:pt x="91" y="104"/>
                  </a:cubicBezTo>
                  <a:cubicBezTo>
                    <a:pt x="6" y="104"/>
                    <a:pt x="6" y="104"/>
                    <a:pt x="6" y="104"/>
                  </a:cubicBezTo>
                  <a:cubicBezTo>
                    <a:pt x="3" y="104"/>
                    <a:pt x="0" y="101"/>
                    <a:pt x="0" y="99"/>
                  </a:cubicBezTo>
                  <a:cubicBezTo>
                    <a:pt x="0" y="26"/>
                    <a:pt x="0" y="26"/>
                    <a:pt x="0" y="26"/>
                  </a:cubicBezTo>
                </a:path>
              </a:pathLst>
            </a:cu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99" name="Line 261">
              <a:extLst>
                <a:ext uri="{FF2B5EF4-FFF2-40B4-BE49-F238E27FC236}">
                  <a16:creationId xmlns:a16="http://schemas.microsoft.com/office/drawing/2014/main" id="{617CDD7E-A913-F39C-D9AC-4CBD1978EC14}"/>
                </a:ext>
              </a:extLst>
            </p:cNvPr>
            <p:cNvSpPr>
              <a:spLocks noChangeShapeType="1"/>
            </p:cNvSpPr>
            <p:nvPr/>
          </p:nvSpPr>
          <p:spPr bwMode="auto">
            <a:xfrm>
              <a:off x="3395663" y="3778250"/>
              <a:ext cx="185738" cy="1588"/>
            </a:xfrm>
            <a:prstGeom prst="line">
              <a:avLst/>
            </a:pr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100" name="Line 262">
              <a:extLst>
                <a:ext uri="{FF2B5EF4-FFF2-40B4-BE49-F238E27FC236}">
                  <a16:creationId xmlns:a16="http://schemas.microsoft.com/office/drawing/2014/main" id="{72CD8771-1CCC-F062-B127-1E684E4DE1EE}"/>
                </a:ext>
              </a:extLst>
            </p:cNvPr>
            <p:cNvSpPr>
              <a:spLocks noChangeShapeType="1"/>
            </p:cNvSpPr>
            <p:nvPr/>
          </p:nvSpPr>
          <p:spPr bwMode="auto">
            <a:xfrm>
              <a:off x="3395663" y="3846513"/>
              <a:ext cx="185738" cy="1588"/>
            </a:xfrm>
            <a:prstGeom prst="line">
              <a:avLst/>
            </a:pr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107" name="Line 263">
              <a:extLst>
                <a:ext uri="{FF2B5EF4-FFF2-40B4-BE49-F238E27FC236}">
                  <a16:creationId xmlns:a16="http://schemas.microsoft.com/office/drawing/2014/main" id="{4FD0FF75-0488-6267-3B0F-786C4A52A8ED}"/>
                </a:ext>
              </a:extLst>
            </p:cNvPr>
            <p:cNvSpPr>
              <a:spLocks noChangeShapeType="1"/>
            </p:cNvSpPr>
            <p:nvPr/>
          </p:nvSpPr>
          <p:spPr bwMode="auto">
            <a:xfrm flipV="1">
              <a:off x="3457576" y="3714750"/>
              <a:ext cx="1588" cy="193675"/>
            </a:xfrm>
            <a:prstGeom prst="line">
              <a:avLst/>
            </a:pr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112" name="Line 264">
              <a:extLst>
                <a:ext uri="{FF2B5EF4-FFF2-40B4-BE49-F238E27FC236}">
                  <a16:creationId xmlns:a16="http://schemas.microsoft.com/office/drawing/2014/main" id="{BD563029-55F5-394C-4D84-3717F3D00C58}"/>
                </a:ext>
              </a:extLst>
            </p:cNvPr>
            <p:cNvSpPr>
              <a:spLocks noChangeShapeType="1"/>
            </p:cNvSpPr>
            <p:nvPr/>
          </p:nvSpPr>
          <p:spPr bwMode="auto">
            <a:xfrm flipV="1">
              <a:off x="3524251" y="3714750"/>
              <a:ext cx="1588" cy="193675"/>
            </a:xfrm>
            <a:prstGeom prst="line">
              <a:avLst/>
            </a:pr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sp>
          <p:nvSpPr>
            <p:cNvPr id="113" name="Freeform 265">
              <a:extLst>
                <a:ext uri="{FF2B5EF4-FFF2-40B4-BE49-F238E27FC236}">
                  <a16:creationId xmlns:a16="http://schemas.microsoft.com/office/drawing/2014/main" id="{3AA1B27C-ED92-71B9-C68F-5F29F238C60F}"/>
                </a:ext>
              </a:extLst>
            </p:cNvPr>
            <p:cNvSpPr>
              <a:spLocks noEditPoints="1"/>
            </p:cNvSpPr>
            <p:nvPr/>
          </p:nvSpPr>
          <p:spPr bwMode="auto">
            <a:xfrm>
              <a:off x="3319463" y="3638550"/>
              <a:ext cx="115888" cy="103188"/>
            </a:xfrm>
            <a:custGeom>
              <a:avLst/>
              <a:gdLst/>
              <a:ahLst/>
              <a:cxnLst>
                <a:cxn ang="0">
                  <a:pos x="27" y="35"/>
                </a:cxn>
                <a:cxn ang="0">
                  <a:pos x="0" y="0"/>
                </a:cxn>
                <a:cxn ang="0">
                  <a:pos x="22" y="0"/>
                </a:cxn>
                <a:cxn ang="0">
                  <a:pos x="35" y="20"/>
                </a:cxn>
                <a:cxn ang="0">
                  <a:pos x="48" y="32"/>
                </a:cxn>
                <a:cxn ang="0">
                  <a:pos x="73" y="65"/>
                </a:cxn>
                <a:cxn ang="0">
                  <a:pos x="53" y="65"/>
                </a:cxn>
                <a:cxn ang="0">
                  <a:pos x="38" y="47"/>
                </a:cxn>
                <a:cxn ang="0">
                  <a:pos x="27" y="35"/>
                </a:cxn>
                <a:cxn ang="0">
                  <a:pos x="49" y="0"/>
                </a:cxn>
                <a:cxn ang="0">
                  <a:pos x="70" y="0"/>
                </a:cxn>
                <a:cxn ang="0">
                  <a:pos x="26" y="64"/>
                </a:cxn>
                <a:cxn ang="0">
                  <a:pos x="5" y="64"/>
                </a:cxn>
                <a:cxn ang="0">
                  <a:pos x="27" y="35"/>
                </a:cxn>
              </a:cxnLst>
              <a:rect l="0" t="0" r="r" b="b"/>
              <a:pathLst>
                <a:path w="73" h="65">
                  <a:moveTo>
                    <a:pt x="27" y="35"/>
                  </a:moveTo>
                  <a:lnTo>
                    <a:pt x="0" y="0"/>
                  </a:lnTo>
                  <a:lnTo>
                    <a:pt x="22" y="0"/>
                  </a:lnTo>
                  <a:lnTo>
                    <a:pt x="35" y="20"/>
                  </a:lnTo>
                  <a:moveTo>
                    <a:pt x="48" y="32"/>
                  </a:moveTo>
                  <a:lnTo>
                    <a:pt x="73" y="65"/>
                  </a:lnTo>
                  <a:lnTo>
                    <a:pt x="53" y="65"/>
                  </a:lnTo>
                  <a:lnTo>
                    <a:pt x="38" y="47"/>
                  </a:lnTo>
                  <a:moveTo>
                    <a:pt x="27" y="35"/>
                  </a:moveTo>
                  <a:lnTo>
                    <a:pt x="49" y="0"/>
                  </a:lnTo>
                  <a:lnTo>
                    <a:pt x="70" y="0"/>
                  </a:lnTo>
                  <a:lnTo>
                    <a:pt x="26" y="64"/>
                  </a:lnTo>
                  <a:lnTo>
                    <a:pt x="5" y="64"/>
                  </a:lnTo>
                  <a:lnTo>
                    <a:pt x="27" y="35"/>
                  </a:lnTo>
                </a:path>
              </a:pathLst>
            </a:custGeom>
            <a:noFill/>
            <a:ln w="12700" cap="rnd">
              <a:solidFill>
                <a:schemeClr val="tx2"/>
              </a:solidFill>
              <a:prstDash val="solid"/>
              <a:round/>
              <a:headEnd/>
              <a:tailEnd/>
            </a:ln>
          </p:spPr>
          <p:txBody>
            <a:bodyPr vert="horz" wrap="square" lIns="109728" tIns="54864" rIns="109728" bIns="54864" numCol="1" anchor="t" anchorCtr="0" compatLnSpc="1">
              <a:prstTxWarp prst="textNoShape">
                <a:avLst/>
              </a:prstTxWarp>
            </a:bodyPr>
            <a:lstStyle/>
            <a:p>
              <a:endParaRPr lang="en-GB" sz="840">
                <a:latin typeface="Arial" pitchFamily="34" charset="0"/>
                <a:cs typeface="Arial" pitchFamily="34" charset="0"/>
              </a:endParaRPr>
            </a:p>
          </p:txBody>
        </p:sp>
      </p:grpSp>
      <p:sp>
        <p:nvSpPr>
          <p:cNvPr id="114" name="TextBox 113">
            <a:extLst>
              <a:ext uri="{FF2B5EF4-FFF2-40B4-BE49-F238E27FC236}">
                <a16:creationId xmlns:a16="http://schemas.microsoft.com/office/drawing/2014/main" id="{5FC03B40-6C64-9C73-609E-9904F36598CE}"/>
              </a:ext>
            </a:extLst>
          </p:cNvPr>
          <p:cNvSpPr txBox="1"/>
          <p:nvPr/>
        </p:nvSpPr>
        <p:spPr>
          <a:xfrm>
            <a:off x="6026863" y="2279529"/>
            <a:ext cx="2105809" cy="461665"/>
          </a:xfrm>
          <a:prstGeom prst="rect">
            <a:avLst/>
          </a:prstGeom>
          <a:noFill/>
        </p:spPr>
        <p:txBody>
          <a:bodyPr wrap="square" rtlCol="0">
            <a:spAutoFit/>
          </a:bodyPr>
          <a:lstStyle/>
          <a:p>
            <a:pPr algn="ctr" eaLnBrk="1" fontAlgn="auto" hangingPunct="1">
              <a:spcBef>
                <a:spcPts val="0"/>
              </a:spcBef>
              <a:spcAft>
                <a:spcPts val="0"/>
              </a:spcAft>
            </a:pPr>
            <a:r>
              <a:rPr lang="en-US" sz="1200" dirty="0">
                <a:solidFill>
                  <a:schemeClr val="bg2">
                    <a:lumMod val="10000"/>
                  </a:schemeClr>
                </a:solidFill>
                <a:latin typeface="+mn-lt"/>
              </a:rPr>
              <a:t>Segment by type of products</a:t>
            </a:r>
          </a:p>
        </p:txBody>
      </p:sp>
      <p:sp>
        <p:nvSpPr>
          <p:cNvPr id="3" name="Oval 2">
            <a:extLst>
              <a:ext uri="{FF2B5EF4-FFF2-40B4-BE49-F238E27FC236}">
                <a16:creationId xmlns:a16="http://schemas.microsoft.com/office/drawing/2014/main" id="{16C247D8-E828-45A4-F5A9-5E7842A2A18B}"/>
              </a:ext>
            </a:extLst>
          </p:cNvPr>
          <p:cNvSpPr/>
          <p:nvPr/>
        </p:nvSpPr>
        <p:spPr>
          <a:xfrm>
            <a:off x="1895070" y="4568277"/>
            <a:ext cx="1565905" cy="1661503"/>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Tree>
    <p:extLst>
      <p:ext uri="{BB962C8B-B14F-4D97-AF65-F5344CB8AC3E}">
        <p14:creationId xmlns:p14="http://schemas.microsoft.com/office/powerpoint/2010/main" val="9921333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1C854-A903-4BF4-AB0E-0FB5E79D7007}"/>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51" imgW="395" imgH="396" progId="TCLayout.ActiveDocument.1">
                  <p:embed/>
                </p:oleObj>
              </mc:Choice>
              <mc:Fallback>
                <p:oleObj name="think-cell Slide" r:id="rId51" imgW="395" imgH="396" progId="TCLayout.ActiveDocument.1">
                  <p:embed/>
                  <p:pic>
                    <p:nvPicPr>
                      <p:cNvPr id="9" name="Object 8" hidden="1">
                        <a:extLst>
                          <a:ext uri="{FF2B5EF4-FFF2-40B4-BE49-F238E27FC236}">
                            <a16:creationId xmlns:a16="http://schemas.microsoft.com/office/drawing/2014/main" id="{05D1C854-A903-4BF4-AB0E-0FB5E79D7007}"/>
                          </a:ext>
                        </a:extLst>
                      </p:cNvPr>
                      <p:cNvPicPr/>
                      <p:nvPr/>
                    </p:nvPicPr>
                    <p:blipFill>
                      <a:blip r:embed="rId52"/>
                      <a:stretch>
                        <a:fillRect/>
                      </a:stretch>
                    </p:blipFill>
                    <p:spPr>
                      <a:xfrm>
                        <a:off x="611505" y="1905"/>
                        <a:ext cx="1906" cy="1906"/>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1BD4A53-6055-4E9A-BADA-295377E73C13}"/>
              </a:ext>
            </a:extLst>
          </p:cNvPr>
          <p:cNvSpPr>
            <a:spLocks noGrp="1"/>
          </p:cNvSpPr>
          <p:nvPr>
            <p:ph type="body" sz="half" idx="10"/>
          </p:nvPr>
        </p:nvSpPr>
        <p:spPr/>
        <p:txBody>
          <a:bodyPr/>
          <a:lstStyle/>
          <a:p>
            <a:endParaRPr lang="en-US"/>
          </a:p>
        </p:txBody>
      </p:sp>
      <p:sp>
        <p:nvSpPr>
          <p:cNvPr id="6" name="Title 5">
            <a:extLst>
              <a:ext uri="{FF2B5EF4-FFF2-40B4-BE49-F238E27FC236}">
                <a16:creationId xmlns:a16="http://schemas.microsoft.com/office/drawing/2014/main" id="{58081F4A-6718-480D-A7A7-B99A3178D0BC}"/>
              </a:ext>
            </a:extLst>
          </p:cNvPr>
          <p:cNvSpPr>
            <a:spLocks noGrp="1"/>
          </p:cNvSpPr>
          <p:nvPr>
            <p:ph type="title"/>
          </p:nvPr>
        </p:nvSpPr>
        <p:spPr/>
        <p:txBody>
          <a:bodyPr vert="horz"/>
          <a:lstStyle/>
          <a:p>
            <a:r>
              <a:rPr lang="en-US" sz="2400" dirty="0"/>
              <a:t>Value Proposition- Along with customer all the way</a:t>
            </a:r>
          </a:p>
        </p:txBody>
      </p:sp>
      <p:sp>
        <p:nvSpPr>
          <p:cNvPr id="2" name="Text Placeholder 1">
            <a:extLst>
              <a:ext uri="{FF2B5EF4-FFF2-40B4-BE49-F238E27FC236}">
                <a16:creationId xmlns:a16="http://schemas.microsoft.com/office/drawing/2014/main" id="{D7910686-B14A-FF72-F7CD-7AF8E6E74FE8}"/>
              </a:ext>
            </a:extLst>
          </p:cNvPr>
          <p:cNvSpPr>
            <a:spLocks noGrp="1"/>
          </p:cNvSpPr>
          <p:nvPr>
            <p:ph type="body" sz="half" idx="2"/>
          </p:nvPr>
        </p:nvSpPr>
        <p:spPr/>
        <p:txBody>
          <a:bodyPr/>
          <a:lstStyle/>
          <a:p>
            <a:endParaRPr lang="en-US"/>
          </a:p>
        </p:txBody>
      </p:sp>
      <p:sp>
        <p:nvSpPr>
          <p:cNvPr id="5" name="TextBox 4">
            <a:extLst>
              <a:ext uri="{FF2B5EF4-FFF2-40B4-BE49-F238E27FC236}">
                <a16:creationId xmlns:a16="http://schemas.microsoft.com/office/drawing/2014/main" id="{2E0F0E49-8456-4D4C-B18E-5C09A513BD9D}"/>
              </a:ext>
            </a:extLst>
          </p:cNvPr>
          <p:cNvSpPr txBox="1"/>
          <p:nvPr/>
        </p:nvSpPr>
        <p:spPr>
          <a:xfrm>
            <a:off x="1127760" y="3221356"/>
            <a:ext cx="2286749" cy="553998"/>
          </a:xfrm>
          <a:prstGeom prst="rect">
            <a:avLst/>
          </a:prstGeom>
          <a:noFill/>
        </p:spPr>
        <p:txBody>
          <a:bodyPr wrap="square" lIns="109728" tIns="54864" rIns="109728" bIns="54864" rtlCol="0" anchor="t">
            <a:spAutoFit/>
          </a:bodyPr>
          <a:lstStyle/>
          <a:p>
            <a:pPr algn="ctr" eaLnBrk="1" fontAlgn="auto" hangingPunct="1">
              <a:spcBef>
                <a:spcPts val="0"/>
              </a:spcBef>
              <a:spcAft>
                <a:spcPts val="0"/>
              </a:spcAft>
            </a:pPr>
            <a:r>
              <a:rPr lang="en-US" sz="960">
                <a:solidFill>
                  <a:schemeClr val="bg2">
                    <a:lumMod val="10000"/>
                  </a:schemeClr>
                </a:solidFill>
                <a:latin typeface="+mn-lt"/>
              </a:rPr>
              <a:t>Get visibility of our people and products through Consulting &amp; Monitoring</a:t>
            </a:r>
          </a:p>
        </p:txBody>
      </p:sp>
      <p:sp>
        <p:nvSpPr>
          <p:cNvPr id="32" name="TextBox 31">
            <a:extLst>
              <a:ext uri="{FF2B5EF4-FFF2-40B4-BE49-F238E27FC236}">
                <a16:creationId xmlns:a16="http://schemas.microsoft.com/office/drawing/2014/main" id="{0FA468B5-0294-4F41-A585-ADA4BA44C760}"/>
              </a:ext>
            </a:extLst>
          </p:cNvPr>
          <p:cNvSpPr txBox="1"/>
          <p:nvPr/>
        </p:nvSpPr>
        <p:spPr>
          <a:xfrm>
            <a:off x="3747524" y="3221356"/>
            <a:ext cx="2286749" cy="683264"/>
          </a:xfrm>
          <a:prstGeom prst="rect">
            <a:avLst/>
          </a:prstGeom>
          <a:noFill/>
        </p:spPr>
        <p:txBody>
          <a:bodyPr wrap="square" rtlCol="0">
            <a:spAutoFit/>
          </a:bodyPr>
          <a:lstStyle/>
          <a:p>
            <a:pPr algn="ctr" eaLnBrk="1" fontAlgn="auto" hangingPunct="1">
              <a:spcBef>
                <a:spcPts val="0"/>
              </a:spcBef>
              <a:spcAft>
                <a:spcPts val="0"/>
              </a:spcAft>
            </a:pPr>
            <a:r>
              <a:rPr lang="en-US" sz="960" dirty="0">
                <a:solidFill>
                  <a:schemeClr val="bg2">
                    <a:lumMod val="10000"/>
                  </a:schemeClr>
                </a:solidFill>
                <a:latin typeface="+mn-lt"/>
              </a:rPr>
              <a:t>Cater to increasing need of cold storge, freezers and quality requirements – scaling compliance and capacity</a:t>
            </a:r>
          </a:p>
        </p:txBody>
      </p:sp>
      <p:sp>
        <p:nvSpPr>
          <p:cNvPr id="33" name="TextBox 32">
            <a:extLst>
              <a:ext uri="{FF2B5EF4-FFF2-40B4-BE49-F238E27FC236}">
                <a16:creationId xmlns:a16="http://schemas.microsoft.com/office/drawing/2014/main" id="{A924EEC0-7702-4EDB-AB67-B0E90DC94964}"/>
              </a:ext>
            </a:extLst>
          </p:cNvPr>
          <p:cNvSpPr txBox="1"/>
          <p:nvPr/>
        </p:nvSpPr>
        <p:spPr>
          <a:xfrm>
            <a:off x="6075059" y="3221356"/>
            <a:ext cx="2515423" cy="830997"/>
          </a:xfrm>
          <a:prstGeom prst="rect">
            <a:avLst/>
          </a:prstGeom>
          <a:noFill/>
        </p:spPr>
        <p:txBody>
          <a:bodyPr wrap="square" rtlCol="0">
            <a:spAutoFit/>
          </a:bodyPr>
          <a:lstStyle/>
          <a:p>
            <a:pPr algn="ctr" eaLnBrk="1" fontAlgn="auto" hangingPunct="1">
              <a:spcBef>
                <a:spcPts val="0"/>
              </a:spcBef>
              <a:spcAft>
                <a:spcPts val="0"/>
              </a:spcAft>
            </a:pPr>
            <a:r>
              <a:rPr lang="en-US" sz="960">
                <a:solidFill>
                  <a:schemeClr val="bg2">
                    <a:lumMod val="10000"/>
                  </a:schemeClr>
                </a:solidFill>
                <a:latin typeface="+mn-lt"/>
              </a:rPr>
              <a:t>Support with everything the customer needs related to commercialization </a:t>
            </a:r>
          </a:p>
          <a:p>
            <a:pPr algn="ctr" eaLnBrk="1" fontAlgn="auto" hangingPunct="1">
              <a:spcBef>
                <a:spcPts val="0"/>
              </a:spcBef>
              <a:spcAft>
                <a:spcPts val="0"/>
              </a:spcAft>
            </a:pPr>
            <a:endParaRPr lang="en-US" sz="960">
              <a:solidFill>
                <a:schemeClr val="bg2">
                  <a:lumMod val="10000"/>
                </a:schemeClr>
              </a:solidFill>
              <a:latin typeface="+mn-lt"/>
            </a:endParaRPr>
          </a:p>
          <a:p>
            <a:pPr algn="ctr" eaLnBrk="1" fontAlgn="auto" hangingPunct="1">
              <a:spcBef>
                <a:spcPts val="0"/>
              </a:spcBef>
              <a:spcAft>
                <a:spcPts val="0"/>
              </a:spcAft>
            </a:pPr>
            <a:r>
              <a:rPr lang="en-US" sz="960">
                <a:solidFill>
                  <a:schemeClr val="bg2">
                    <a:lumMod val="10000"/>
                  </a:schemeClr>
                </a:solidFill>
                <a:latin typeface="+mn-lt"/>
              </a:rPr>
              <a:t>Do things quickly and efficiently  - prepare for rapid scaling.</a:t>
            </a:r>
          </a:p>
        </p:txBody>
      </p:sp>
      <p:cxnSp>
        <p:nvCxnSpPr>
          <p:cNvPr id="67" name="Straight Connector 66">
            <a:extLst>
              <a:ext uri="{FF2B5EF4-FFF2-40B4-BE49-F238E27FC236}">
                <a16:creationId xmlns:a16="http://schemas.microsoft.com/office/drawing/2014/main" id="{42CEA287-6BCC-418C-BD48-B397600020E7}"/>
              </a:ext>
            </a:extLst>
          </p:cNvPr>
          <p:cNvCxnSpPr>
            <a:cxnSpLocks/>
          </p:cNvCxnSpPr>
          <p:nvPr/>
        </p:nvCxnSpPr>
        <p:spPr>
          <a:xfrm>
            <a:off x="3562524" y="3265170"/>
            <a:ext cx="0" cy="2668906"/>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DC75A5D-E64A-473D-ACE8-1A6FE2882381}"/>
              </a:ext>
            </a:extLst>
          </p:cNvPr>
          <p:cNvCxnSpPr>
            <a:cxnSpLocks/>
          </p:cNvCxnSpPr>
          <p:nvPr/>
        </p:nvCxnSpPr>
        <p:spPr>
          <a:xfrm>
            <a:off x="6075566" y="3265170"/>
            <a:ext cx="0" cy="2668906"/>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67A6A58-1F96-40B4-B39D-D66B8BB6717E}"/>
              </a:ext>
            </a:extLst>
          </p:cNvPr>
          <p:cNvSpPr txBox="1"/>
          <p:nvPr/>
        </p:nvSpPr>
        <p:spPr>
          <a:xfrm rot="16200000">
            <a:off x="343321" y="1828861"/>
            <a:ext cx="1222722" cy="240066"/>
          </a:xfrm>
          <a:prstGeom prst="rect">
            <a:avLst/>
          </a:prstGeom>
          <a:noFill/>
        </p:spPr>
        <p:txBody>
          <a:bodyPr wrap="square" rtlCol="0">
            <a:spAutoFit/>
          </a:bodyPr>
          <a:lstStyle/>
          <a:p>
            <a:pPr algn="ctr" eaLnBrk="1" fontAlgn="auto" hangingPunct="1">
              <a:spcBef>
                <a:spcPts val="0"/>
              </a:spcBef>
              <a:spcAft>
                <a:spcPts val="0"/>
              </a:spcAft>
            </a:pPr>
            <a:r>
              <a:rPr lang="en-US" sz="960">
                <a:solidFill>
                  <a:schemeClr val="accent2"/>
                </a:solidFill>
                <a:latin typeface="+mn-lt"/>
              </a:rPr>
              <a:t>Selling Points</a:t>
            </a:r>
          </a:p>
        </p:txBody>
      </p:sp>
      <p:cxnSp>
        <p:nvCxnSpPr>
          <p:cNvPr id="86" name="Straight Connector 85">
            <a:extLst>
              <a:ext uri="{FF2B5EF4-FFF2-40B4-BE49-F238E27FC236}">
                <a16:creationId xmlns:a16="http://schemas.microsoft.com/office/drawing/2014/main" id="{9929EC80-3DFB-452F-900F-AAF2999F43E3}"/>
              </a:ext>
            </a:extLst>
          </p:cNvPr>
          <p:cNvCxnSpPr>
            <a:cxnSpLocks/>
          </p:cNvCxnSpPr>
          <p:nvPr/>
        </p:nvCxnSpPr>
        <p:spPr>
          <a:xfrm>
            <a:off x="8569284" y="3265170"/>
            <a:ext cx="0" cy="2668906"/>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89" name="Isosceles Triangle 88">
            <a:extLst>
              <a:ext uri="{FF2B5EF4-FFF2-40B4-BE49-F238E27FC236}">
                <a16:creationId xmlns:a16="http://schemas.microsoft.com/office/drawing/2014/main" id="{22F2770C-BFEA-4D1E-B6A1-1D4BA2483D67}"/>
              </a:ext>
            </a:extLst>
          </p:cNvPr>
          <p:cNvSpPr/>
          <p:nvPr/>
        </p:nvSpPr>
        <p:spPr>
          <a:xfrm rot="10800000">
            <a:off x="2282089" y="2259076"/>
            <a:ext cx="7627820" cy="30118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endParaRPr lang="en-GB" sz="1080">
              <a:solidFill>
                <a:srgbClr val="FFFFFF"/>
              </a:solidFill>
              <a:latin typeface="Calibri" panose="020F0502020204030204"/>
            </a:endParaRPr>
          </a:p>
        </p:txBody>
      </p:sp>
      <p:sp>
        <p:nvSpPr>
          <p:cNvPr id="90" name="TextBox 89">
            <a:extLst>
              <a:ext uri="{FF2B5EF4-FFF2-40B4-BE49-F238E27FC236}">
                <a16:creationId xmlns:a16="http://schemas.microsoft.com/office/drawing/2014/main" id="{EB8AC98E-2C09-414B-AC0A-555890B20764}"/>
              </a:ext>
            </a:extLst>
          </p:cNvPr>
          <p:cNvSpPr txBox="1"/>
          <p:nvPr/>
        </p:nvSpPr>
        <p:spPr>
          <a:xfrm>
            <a:off x="8588101" y="3221356"/>
            <a:ext cx="2515423" cy="683264"/>
          </a:xfrm>
          <a:prstGeom prst="rect">
            <a:avLst/>
          </a:prstGeom>
          <a:noFill/>
        </p:spPr>
        <p:txBody>
          <a:bodyPr wrap="square" rtlCol="0">
            <a:spAutoFit/>
          </a:bodyPr>
          <a:lstStyle/>
          <a:p>
            <a:pPr algn="ctr" eaLnBrk="1" fontAlgn="auto" hangingPunct="1">
              <a:spcBef>
                <a:spcPts val="0"/>
              </a:spcBef>
              <a:spcAft>
                <a:spcPts val="0"/>
              </a:spcAft>
            </a:pPr>
            <a:r>
              <a:rPr lang="en-US" sz="960">
                <a:solidFill>
                  <a:schemeClr val="bg2">
                    <a:lumMod val="10000"/>
                  </a:schemeClr>
                </a:solidFill>
                <a:latin typeface="+mn-lt"/>
              </a:rPr>
              <a:t>Assist customer in becoming self-sufficient and maintaining compliance status  - ongoing compliance and new projects </a:t>
            </a:r>
          </a:p>
        </p:txBody>
      </p:sp>
      <p:sp>
        <p:nvSpPr>
          <p:cNvPr id="91" name="TextBox 90">
            <a:extLst>
              <a:ext uri="{FF2B5EF4-FFF2-40B4-BE49-F238E27FC236}">
                <a16:creationId xmlns:a16="http://schemas.microsoft.com/office/drawing/2014/main" id="{CEFC7F71-3555-4D40-9964-414059B5E183}"/>
              </a:ext>
            </a:extLst>
          </p:cNvPr>
          <p:cNvSpPr txBox="1"/>
          <p:nvPr/>
        </p:nvSpPr>
        <p:spPr>
          <a:xfrm rot="16200000">
            <a:off x="140970" y="4440537"/>
            <a:ext cx="1627444" cy="240066"/>
          </a:xfrm>
          <a:prstGeom prst="rect">
            <a:avLst/>
          </a:prstGeom>
          <a:noFill/>
        </p:spPr>
        <p:txBody>
          <a:bodyPr wrap="square" rtlCol="0">
            <a:spAutoFit/>
          </a:bodyPr>
          <a:lstStyle/>
          <a:p>
            <a:pPr algn="ctr" eaLnBrk="1" fontAlgn="auto" hangingPunct="1">
              <a:spcBef>
                <a:spcPts val="0"/>
              </a:spcBef>
              <a:spcAft>
                <a:spcPts val="0"/>
              </a:spcAft>
            </a:pPr>
            <a:r>
              <a:rPr lang="en-US" sz="960">
                <a:solidFill>
                  <a:schemeClr val="accent2"/>
                </a:solidFill>
                <a:latin typeface="+mn-lt"/>
              </a:rPr>
              <a:t>Value Proposition</a:t>
            </a:r>
          </a:p>
        </p:txBody>
      </p:sp>
      <p:sp>
        <p:nvSpPr>
          <p:cNvPr id="20" name="Rectangle 19">
            <a:extLst>
              <a:ext uri="{FF2B5EF4-FFF2-40B4-BE49-F238E27FC236}">
                <a16:creationId xmlns:a16="http://schemas.microsoft.com/office/drawing/2014/main" id="{F5F15256-2829-4CE1-9230-FA27E3F6F3CE}"/>
              </a:ext>
            </a:extLst>
          </p:cNvPr>
          <p:cNvSpPr/>
          <p:nvPr/>
        </p:nvSpPr>
        <p:spPr>
          <a:xfrm>
            <a:off x="1162258" y="1577917"/>
            <a:ext cx="9878004" cy="564392"/>
          </a:xfrm>
          <a:prstGeom prst="rect">
            <a:avLst/>
          </a:prstGeom>
          <a:solidFill>
            <a:schemeClr val="bg1">
              <a:lumMod val="95000"/>
            </a:schemeClr>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1" fontAlgn="auto" hangingPunct="1">
              <a:spcBef>
                <a:spcPts val="0"/>
              </a:spcBef>
              <a:spcAft>
                <a:spcPts val="0"/>
              </a:spcAft>
              <a:defRPr/>
            </a:pPr>
            <a:r>
              <a:rPr lang="en-GB" sz="1080" b="1">
                <a:solidFill>
                  <a:schemeClr val="tx1"/>
                </a:solidFill>
              </a:rPr>
              <a:t>    Monitoring	               CQV	               “One-Stop-Shop”	    Long-term relationships	   Customer Service &amp; Support</a:t>
            </a:r>
          </a:p>
        </p:txBody>
      </p:sp>
      <p:sp>
        <p:nvSpPr>
          <p:cNvPr id="21" name="Arrow: Chevron 20">
            <a:extLst>
              <a:ext uri="{FF2B5EF4-FFF2-40B4-BE49-F238E27FC236}">
                <a16:creationId xmlns:a16="http://schemas.microsoft.com/office/drawing/2014/main" id="{F57C15D2-B555-4F38-AAF9-9EBA126AD610}"/>
              </a:ext>
            </a:extLst>
          </p:cNvPr>
          <p:cNvSpPr/>
          <p:nvPr/>
        </p:nvSpPr>
        <p:spPr>
          <a:xfrm>
            <a:off x="3633235" y="2739390"/>
            <a:ext cx="2470978" cy="432436"/>
          </a:xfrm>
          <a:prstGeom prst="chevron">
            <a:avLst/>
          </a:prstGeom>
          <a:solidFill>
            <a:schemeClr val="tx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algn="ctr"/>
            <a:r>
              <a:rPr lang="en-US" sz="960" b="1">
                <a:solidFill>
                  <a:schemeClr val="bg1"/>
                </a:solidFill>
              </a:rPr>
              <a:t>EARLY-MID STAGE CLINICAL DEVELOPMENT</a:t>
            </a:r>
            <a:endParaRPr lang="en-GB" sz="960" b="1">
              <a:solidFill>
                <a:schemeClr val="bg1"/>
              </a:solidFill>
            </a:endParaRPr>
          </a:p>
        </p:txBody>
      </p:sp>
      <p:sp>
        <p:nvSpPr>
          <p:cNvPr id="22" name="Arrow: Chevron 21">
            <a:extLst>
              <a:ext uri="{FF2B5EF4-FFF2-40B4-BE49-F238E27FC236}">
                <a16:creationId xmlns:a16="http://schemas.microsoft.com/office/drawing/2014/main" id="{440E61EC-546B-4513-99FC-84D3E057767A}"/>
              </a:ext>
            </a:extLst>
          </p:cNvPr>
          <p:cNvSpPr/>
          <p:nvPr/>
        </p:nvSpPr>
        <p:spPr>
          <a:xfrm>
            <a:off x="6098306" y="2739390"/>
            <a:ext cx="2470978" cy="432436"/>
          </a:xfrm>
          <a:prstGeom prst="chevron">
            <a:avLst/>
          </a:prstGeom>
          <a:solidFill>
            <a:schemeClr val="tx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algn="ctr"/>
            <a:r>
              <a:rPr lang="en-US" sz="960" b="1">
                <a:solidFill>
                  <a:schemeClr val="bg1"/>
                </a:solidFill>
              </a:rPr>
              <a:t>LATE-STAGE CLINICAL DEVELOPMENT</a:t>
            </a:r>
            <a:endParaRPr lang="en-GB" sz="960" b="1">
              <a:solidFill>
                <a:schemeClr val="bg1"/>
              </a:solidFill>
            </a:endParaRPr>
          </a:p>
        </p:txBody>
      </p:sp>
      <p:sp>
        <p:nvSpPr>
          <p:cNvPr id="23" name="Arrow: Pentagon 22">
            <a:extLst>
              <a:ext uri="{FF2B5EF4-FFF2-40B4-BE49-F238E27FC236}">
                <a16:creationId xmlns:a16="http://schemas.microsoft.com/office/drawing/2014/main" id="{C15D73A4-3C54-4FAE-96A1-118421EF7D34}"/>
              </a:ext>
            </a:extLst>
          </p:cNvPr>
          <p:cNvSpPr/>
          <p:nvPr/>
        </p:nvSpPr>
        <p:spPr>
          <a:xfrm>
            <a:off x="1162257" y="2739390"/>
            <a:ext cx="2470978" cy="432436"/>
          </a:xfrm>
          <a:prstGeom prst="homePlate">
            <a:avLst/>
          </a:prstGeom>
          <a:solidFill>
            <a:schemeClr val="tx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algn="ctr"/>
            <a:r>
              <a:rPr lang="en-US" sz="960" b="1">
                <a:solidFill>
                  <a:srgbClr val="FFFFFF"/>
                </a:solidFill>
              </a:rPr>
              <a:t>R&amp;D</a:t>
            </a:r>
            <a:endParaRPr lang="en-GB" sz="960" b="1"/>
          </a:p>
        </p:txBody>
      </p:sp>
      <p:sp>
        <p:nvSpPr>
          <p:cNvPr id="24" name="Arrow: Chevron 23">
            <a:extLst>
              <a:ext uri="{FF2B5EF4-FFF2-40B4-BE49-F238E27FC236}">
                <a16:creationId xmlns:a16="http://schemas.microsoft.com/office/drawing/2014/main" id="{01EA495F-F667-43F5-BE13-FBB83858F479}"/>
              </a:ext>
            </a:extLst>
          </p:cNvPr>
          <p:cNvSpPr/>
          <p:nvPr/>
        </p:nvSpPr>
        <p:spPr>
          <a:xfrm>
            <a:off x="8569284" y="2739390"/>
            <a:ext cx="2470978" cy="432436"/>
          </a:xfrm>
          <a:prstGeom prst="chevron">
            <a:avLst/>
          </a:prstGeom>
          <a:solidFill>
            <a:schemeClr val="tx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algn="ctr"/>
            <a:r>
              <a:rPr lang="en-US" sz="960" b="1">
                <a:solidFill>
                  <a:schemeClr val="bg1"/>
                </a:solidFill>
              </a:rPr>
              <a:t>COMMERCIAL MANUFACTURING</a:t>
            </a:r>
            <a:endParaRPr lang="en-GB" sz="960" b="1">
              <a:solidFill>
                <a:schemeClr val="bg1"/>
              </a:solidFill>
            </a:endParaRPr>
          </a:p>
        </p:txBody>
      </p:sp>
      <p:sp>
        <p:nvSpPr>
          <p:cNvPr id="81" name="TextBox 80">
            <a:extLst>
              <a:ext uri="{FF2B5EF4-FFF2-40B4-BE49-F238E27FC236}">
                <a16:creationId xmlns:a16="http://schemas.microsoft.com/office/drawing/2014/main" id="{61CE1C0C-C28C-4667-9E8F-180BE4AC10A7}"/>
              </a:ext>
            </a:extLst>
          </p:cNvPr>
          <p:cNvSpPr txBox="1"/>
          <p:nvPr/>
        </p:nvSpPr>
        <p:spPr>
          <a:xfrm>
            <a:off x="990509" y="4107181"/>
            <a:ext cx="2561249" cy="221599"/>
          </a:xfrm>
          <a:prstGeom prst="rect">
            <a:avLst/>
          </a:prstGeom>
          <a:noFill/>
        </p:spPr>
        <p:txBody>
          <a:bodyPr wrap="square">
            <a:spAutoFit/>
          </a:bodyPr>
          <a:lstStyle/>
          <a:p>
            <a:pPr algn="ctr" eaLnBrk="1" fontAlgn="auto" hangingPunct="1">
              <a:spcBef>
                <a:spcPts val="0"/>
              </a:spcBef>
              <a:spcAft>
                <a:spcPts val="0"/>
              </a:spcAft>
            </a:pPr>
            <a:r>
              <a:rPr lang="en-US" sz="840" b="1" dirty="0">
                <a:solidFill>
                  <a:schemeClr val="bg2">
                    <a:lumMod val="10000"/>
                  </a:schemeClr>
                </a:solidFill>
                <a:latin typeface="+mn-lt"/>
              </a:rPr>
              <a:t>OUR OFFERING</a:t>
            </a:r>
            <a:endParaRPr lang="en-US" sz="840" dirty="0">
              <a:solidFill>
                <a:schemeClr val="bg2">
                  <a:lumMod val="10000"/>
                </a:schemeClr>
              </a:solidFill>
              <a:latin typeface="+mn-lt"/>
            </a:endParaRPr>
          </a:p>
        </p:txBody>
      </p:sp>
      <p:sp>
        <p:nvSpPr>
          <p:cNvPr id="51" name="TextBox 50">
            <a:extLst>
              <a:ext uri="{FF2B5EF4-FFF2-40B4-BE49-F238E27FC236}">
                <a16:creationId xmlns:a16="http://schemas.microsoft.com/office/drawing/2014/main" id="{A31F472D-A066-4A1A-9F4D-C3F03214BCEF}"/>
              </a:ext>
            </a:extLst>
          </p:cNvPr>
          <p:cNvSpPr txBox="1"/>
          <p:nvPr/>
        </p:nvSpPr>
        <p:spPr>
          <a:xfrm>
            <a:off x="3551758" y="4107181"/>
            <a:ext cx="2561249" cy="221599"/>
          </a:xfrm>
          <a:prstGeom prst="rect">
            <a:avLst/>
          </a:prstGeom>
          <a:noFill/>
        </p:spPr>
        <p:txBody>
          <a:bodyPr wrap="square">
            <a:spAutoFit/>
          </a:bodyPr>
          <a:lstStyle/>
          <a:p>
            <a:pPr algn="ctr" eaLnBrk="1" fontAlgn="auto" hangingPunct="1">
              <a:spcBef>
                <a:spcPts val="0"/>
              </a:spcBef>
              <a:spcAft>
                <a:spcPts val="0"/>
              </a:spcAft>
            </a:pPr>
            <a:r>
              <a:rPr lang="en-US" sz="840" b="1" dirty="0">
                <a:solidFill>
                  <a:schemeClr val="bg2">
                    <a:lumMod val="10000"/>
                  </a:schemeClr>
                </a:solidFill>
                <a:latin typeface="+mn-lt"/>
              </a:rPr>
              <a:t>OUR OFFERING</a:t>
            </a:r>
            <a:endParaRPr lang="en-US" sz="840" dirty="0">
              <a:solidFill>
                <a:schemeClr val="bg2">
                  <a:lumMod val="10000"/>
                </a:schemeClr>
              </a:solidFill>
              <a:latin typeface="+mn-lt"/>
            </a:endParaRPr>
          </a:p>
        </p:txBody>
      </p:sp>
      <p:sp>
        <p:nvSpPr>
          <p:cNvPr id="52" name="TextBox 51">
            <a:extLst>
              <a:ext uri="{FF2B5EF4-FFF2-40B4-BE49-F238E27FC236}">
                <a16:creationId xmlns:a16="http://schemas.microsoft.com/office/drawing/2014/main" id="{190CDB52-BD12-4E11-A3FA-637F2B4DB13E}"/>
              </a:ext>
            </a:extLst>
          </p:cNvPr>
          <p:cNvSpPr txBox="1"/>
          <p:nvPr/>
        </p:nvSpPr>
        <p:spPr>
          <a:xfrm>
            <a:off x="6045067" y="4107181"/>
            <a:ext cx="2561249" cy="221599"/>
          </a:xfrm>
          <a:prstGeom prst="rect">
            <a:avLst/>
          </a:prstGeom>
          <a:noFill/>
        </p:spPr>
        <p:txBody>
          <a:bodyPr wrap="square">
            <a:spAutoFit/>
          </a:bodyPr>
          <a:lstStyle/>
          <a:p>
            <a:pPr algn="ctr" eaLnBrk="1" fontAlgn="auto" hangingPunct="1">
              <a:spcBef>
                <a:spcPts val="0"/>
              </a:spcBef>
              <a:spcAft>
                <a:spcPts val="0"/>
              </a:spcAft>
            </a:pPr>
            <a:r>
              <a:rPr lang="en-US" sz="840" b="1" dirty="0">
                <a:solidFill>
                  <a:schemeClr val="bg2">
                    <a:lumMod val="10000"/>
                  </a:schemeClr>
                </a:solidFill>
                <a:latin typeface="+mn-lt"/>
              </a:rPr>
              <a:t>OUR OFFERING</a:t>
            </a:r>
            <a:endParaRPr lang="en-US" sz="840" dirty="0">
              <a:solidFill>
                <a:schemeClr val="bg2">
                  <a:lumMod val="10000"/>
                </a:schemeClr>
              </a:solidFill>
              <a:latin typeface="+mn-lt"/>
            </a:endParaRPr>
          </a:p>
        </p:txBody>
      </p:sp>
      <p:sp>
        <p:nvSpPr>
          <p:cNvPr id="56" name="TextBox 55">
            <a:extLst>
              <a:ext uri="{FF2B5EF4-FFF2-40B4-BE49-F238E27FC236}">
                <a16:creationId xmlns:a16="http://schemas.microsoft.com/office/drawing/2014/main" id="{A25C5F29-FCAA-435C-B170-89B350AC6CC2}"/>
              </a:ext>
            </a:extLst>
          </p:cNvPr>
          <p:cNvSpPr txBox="1"/>
          <p:nvPr/>
        </p:nvSpPr>
        <p:spPr>
          <a:xfrm>
            <a:off x="8533937" y="4107181"/>
            <a:ext cx="2561249" cy="221599"/>
          </a:xfrm>
          <a:prstGeom prst="rect">
            <a:avLst/>
          </a:prstGeom>
          <a:noFill/>
        </p:spPr>
        <p:txBody>
          <a:bodyPr wrap="square">
            <a:spAutoFit/>
          </a:bodyPr>
          <a:lstStyle/>
          <a:p>
            <a:pPr algn="ctr" eaLnBrk="1" fontAlgn="auto" hangingPunct="1">
              <a:spcBef>
                <a:spcPts val="0"/>
              </a:spcBef>
              <a:spcAft>
                <a:spcPts val="0"/>
              </a:spcAft>
            </a:pPr>
            <a:r>
              <a:rPr lang="en-US" sz="840" b="1" dirty="0">
                <a:solidFill>
                  <a:schemeClr val="bg2">
                    <a:lumMod val="10000"/>
                  </a:schemeClr>
                </a:solidFill>
                <a:latin typeface="+mn-lt"/>
              </a:rPr>
              <a:t>OUR OFFERING </a:t>
            </a:r>
            <a:endParaRPr lang="en-US" sz="840" dirty="0">
              <a:solidFill>
                <a:schemeClr val="bg2">
                  <a:lumMod val="10000"/>
                </a:schemeClr>
              </a:solidFill>
              <a:latin typeface="+mn-lt"/>
            </a:endParaRPr>
          </a:p>
        </p:txBody>
      </p:sp>
      <p:graphicFrame>
        <p:nvGraphicFramePr>
          <p:cNvPr id="93" name="Chart 92">
            <a:extLst>
              <a:ext uri="{FF2B5EF4-FFF2-40B4-BE49-F238E27FC236}">
                <a16:creationId xmlns:a16="http://schemas.microsoft.com/office/drawing/2014/main" id="{DB8A9CAA-B9F8-4B4C-A1F1-BFCDC4C6C475}"/>
              </a:ext>
            </a:extLst>
          </p:cNvPr>
          <p:cNvGraphicFramePr/>
          <p:nvPr>
            <p:custDataLst>
              <p:tags r:id="rId2"/>
            </p:custDataLst>
          </p:nvPr>
        </p:nvGraphicFramePr>
        <p:xfrm>
          <a:off x="3886200" y="4415790"/>
          <a:ext cx="2118360" cy="1042036"/>
        </p:xfrm>
        <a:graphic>
          <a:graphicData uri="http://schemas.openxmlformats.org/drawingml/2006/chart">
            <c:chart xmlns:c="http://schemas.openxmlformats.org/drawingml/2006/chart" xmlns:r="http://schemas.openxmlformats.org/officeDocument/2006/relationships" r:id="rId53"/>
          </a:graphicData>
        </a:graphic>
      </p:graphicFrame>
      <p:sp>
        <p:nvSpPr>
          <p:cNvPr id="210" name="Rectangle 209">
            <a:extLst>
              <a:ext uri="{FF2B5EF4-FFF2-40B4-BE49-F238E27FC236}">
                <a16:creationId xmlns:a16="http://schemas.microsoft.com/office/drawing/2014/main" id="{EEAD5F02-C3F2-40FF-BBDD-CA707928AF43}"/>
              </a:ext>
            </a:extLst>
          </p:cNvPr>
          <p:cNvSpPr/>
          <p:nvPr>
            <p:custDataLst>
              <p:tags r:id="rId3"/>
            </p:custDataLst>
          </p:nvPr>
        </p:nvSpPr>
        <p:spPr bwMode="gray">
          <a:xfrm>
            <a:off x="3657600" y="4469130"/>
            <a:ext cx="23622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1CF1167D-FD68-4499-BFBF-7BC2D909EC41}" type="datetime'1''''''''''''0''''''''''''''''''''''''''''''''''''''''0'''">
              <a:rPr lang="en-US" altLang="en-US" sz="720">
                <a:solidFill>
                  <a:schemeClr val="tx1"/>
                </a:solidFill>
              </a:rPr>
              <a:pPr algn="r">
                <a:lnSpc>
                  <a:spcPct val="90000"/>
                </a:lnSpc>
              </a:pPr>
              <a:t>100</a:t>
            </a:fld>
            <a:r>
              <a:rPr lang="en-US" altLang="en-US" sz="720">
                <a:solidFill>
                  <a:schemeClr val="tx1"/>
                </a:solidFill>
              </a:rPr>
              <a:t>%</a:t>
            </a:r>
            <a:endParaRPr lang="en-US" sz="720">
              <a:solidFill>
                <a:schemeClr val="tx1"/>
              </a:solidFill>
            </a:endParaRPr>
          </a:p>
        </p:txBody>
      </p:sp>
      <p:sp>
        <p:nvSpPr>
          <p:cNvPr id="209" name="Rectangle 208">
            <a:extLst>
              <a:ext uri="{FF2B5EF4-FFF2-40B4-BE49-F238E27FC236}">
                <a16:creationId xmlns:a16="http://schemas.microsoft.com/office/drawing/2014/main" id="{354D2AEF-FCCF-4487-97D1-AD28C67D732A}"/>
              </a:ext>
            </a:extLst>
          </p:cNvPr>
          <p:cNvSpPr/>
          <p:nvPr>
            <p:custDataLst>
              <p:tags r:id="rId4"/>
            </p:custDataLst>
          </p:nvPr>
        </p:nvSpPr>
        <p:spPr bwMode="gray">
          <a:xfrm>
            <a:off x="3710940" y="5143500"/>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612D982A-035A-4903-9DB5-57BD6C0F398F}" type="datetime'''''''''''''''''''2''''0'''">
              <a:rPr lang="en-US" altLang="en-US" sz="720">
                <a:solidFill>
                  <a:schemeClr val="tx1"/>
                </a:solidFill>
              </a:rPr>
              <a:pPr algn="r">
                <a:lnSpc>
                  <a:spcPct val="90000"/>
                </a:lnSpc>
              </a:pPr>
              <a:t>20</a:t>
            </a:fld>
            <a:r>
              <a:rPr lang="en-US" altLang="en-US" sz="720">
                <a:solidFill>
                  <a:schemeClr val="tx1"/>
                </a:solidFill>
              </a:rPr>
              <a:t>%</a:t>
            </a:r>
            <a:endParaRPr lang="en-US" sz="720">
              <a:solidFill>
                <a:schemeClr val="tx1"/>
              </a:solidFill>
            </a:endParaRPr>
          </a:p>
        </p:txBody>
      </p:sp>
      <p:sp>
        <p:nvSpPr>
          <p:cNvPr id="207" name="Rectangle 206">
            <a:extLst>
              <a:ext uri="{FF2B5EF4-FFF2-40B4-BE49-F238E27FC236}">
                <a16:creationId xmlns:a16="http://schemas.microsoft.com/office/drawing/2014/main" id="{513CC5F0-E5DB-4448-B46A-E8A43EA5CF60}"/>
              </a:ext>
            </a:extLst>
          </p:cNvPr>
          <p:cNvSpPr/>
          <p:nvPr>
            <p:custDataLst>
              <p:tags r:id="rId5"/>
            </p:custDataLst>
          </p:nvPr>
        </p:nvSpPr>
        <p:spPr bwMode="gray">
          <a:xfrm>
            <a:off x="3710940" y="4975860"/>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B545E487-B04A-4DB9-B932-B2573335D8FE}" type="datetime'''''''''''''''''''''40'''''''''''''''''''''''''''''''">
              <a:rPr lang="en-US" altLang="en-US" sz="720">
                <a:solidFill>
                  <a:schemeClr val="tx1"/>
                </a:solidFill>
              </a:rPr>
              <a:pPr algn="r">
                <a:lnSpc>
                  <a:spcPct val="90000"/>
                </a:lnSpc>
              </a:pPr>
              <a:t>40</a:t>
            </a:fld>
            <a:r>
              <a:rPr lang="en-US" altLang="en-US" sz="720">
                <a:solidFill>
                  <a:schemeClr val="tx1"/>
                </a:solidFill>
              </a:rPr>
              <a:t>%</a:t>
            </a:r>
            <a:endParaRPr lang="en-US" sz="720">
              <a:solidFill>
                <a:schemeClr val="tx1"/>
              </a:solidFill>
            </a:endParaRPr>
          </a:p>
        </p:txBody>
      </p:sp>
      <p:sp>
        <p:nvSpPr>
          <p:cNvPr id="208" name="Rectangle 207">
            <a:extLst>
              <a:ext uri="{FF2B5EF4-FFF2-40B4-BE49-F238E27FC236}">
                <a16:creationId xmlns:a16="http://schemas.microsoft.com/office/drawing/2014/main" id="{4D9D6BD2-098E-4890-8612-6C7F1242FD92}"/>
              </a:ext>
            </a:extLst>
          </p:cNvPr>
          <p:cNvSpPr/>
          <p:nvPr>
            <p:custDataLst>
              <p:tags r:id="rId6"/>
            </p:custDataLst>
          </p:nvPr>
        </p:nvSpPr>
        <p:spPr bwMode="gray">
          <a:xfrm>
            <a:off x="3710940" y="4806316"/>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3FFBD108-0ED6-46C4-AE45-DE11318083B0}" type="datetime'''''''''''''''''''''6''''''''''''''''''0'''''''''''''">
              <a:rPr lang="en-US" altLang="en-US" sz="720">
                <a:solidFill>
                  <a:schemeClr val="tx1"/>
                </a:solidFill>
              </a:rPr>
              <a:pPr algn="r">
                <a:lnSpc>
                  <a:spcPct val="90000"/>
                </a:lnSpc>
              </a:pPr>
              <a:t>60</a:t>
            </a:fld>
            <a:r>
              <a:rPr lang="en-US" altLang="en-US" sz="720">
                <a:solidFill>
                  <a:schemeClr val="tx1"/>
                </a:solidFill>
              </a:rPr>
              <a:t>%</a:t>
            </a:r>
            <a:endParaRPr lang="en-US" sz="720">
              <a:solidFill>
                <a:schemeClr val="tx1"/>
              </a:solidFill>
            </a:endParaRPr>
          </a:p>
        </p:txBody>
      </p:sp>
      <p:sp>
        <p:nvSpPr>
          <p:cNvPr id="206" name="Rectangle 205">
            <a:extLst>
              <a:ext uri="{FF2B5EF4-FFF2-40B4-BE49-F238E27FC236}">
                <a16:creationId xmlns:a16="http://schemas.microsoft.com/office/drawing/2014/main" id="{1C29DA64-383F-43FE-8240-FB5DD10CBC3D}"/>
              </a:ext>
            </a:extLst>
          </p:cNvPr>
          <p:cNvSpPr/>
          <p:nvPr>
            <p:custDataLst>
              <p:tags r:id="rId7"/>
            </p:custDataLst>
          </p:nvPr>
        </p:nvSpPr>
        <p:spPr bwMode="gray">
          <a:xfrm>
            <a:off x="3710940" y="4638676"/>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E5BF454A-B5D8-41A3-8AA1-0D76BBD3805F}" type="datetime'8''''''''''''''''''''''''''''''''''''''''''0'''''">
              <a:rPr lang="en-US" altLang="en-US" sz="720">
                <a:solidFill>
                  <a:schemeClr val="tx1"/>
                </a:solidFill>
              </a:rPr>
              <a:pPr algn="r">
                <a:lnSpc>
                  <a:spcPct val="90000"/>
                </a:lnSpc>
              </a:pPr>
              <a:t>80</a:t>
            </a:fld>
            <a:r>
              <a:rPr lang="en-US" altLang="en-US" sz="720">
                <a:solidFill>
                  <a:schemeClr val="tx1"/>
                </a:solidFill>
              </a:rPr>
              <a:t>%</a:t>
            </a:r>
            <a:endParaRPr lang="en-US" sz="720">
              <a:solidFill>
                <a:schemeClr val="tx1"/>
              </a:solidFill>
            </a:endParaRPr>
          </a:p>
        </p:txBody>
      </p:sp>
      <p:sp>
        <p:nvSpPr>
          <p:cNvPr id="211" name="Rectangle 210">
            <a:extLst>
              <a:ext uri="{FF2B5EF4-FFF2-40B4-BE49-F238E27FC236}">
                <a16:creationId xmlns:a16="http://schemas.microsoft.com/office/drawing/2014/main" id="{7362F7A5-099C-43C4-926B-C0F2FEC66691}"/>
              </a:ext>
            </a:extLst>
          </p:cNvPr>
          <p:cNvSpPr/>
          <p:nvPr>
            <p:custDataLst>
              <p:tags r:id="rId8"/>
            </p:custDataLst>
          </p:nvPr>
        </p:nvSpPr>
        <p:spPr bwMode="auto">
          <a:xfrm>
            <a:off x="4099560" y="5383530"/>
            <a:ext cx="91440" cy="4038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8CB4C8CF-6142-493D-8EB8-742FE37B7FD6}" type="datetime'''''''C''''o''n''''su''''''''''''''''l''''''''ti''''''''ng'">
              <a:rPr lang="en-US" altLang="en-US" sz="600" b="1">
                <a:solidFill>
                  <a:schemeClr val="tx1"/>
                </a:solidFill>
              </a:rPr>
              <a:pPr algn="r"/>
              <a:t>Consulting</a:t>
            </a:fld>
            <a:endParaRPr lang="en-US" sz="600" b="1">
              <a:solidFill>
                <a:schemeClr val="tx1"/>
              </a:solidFill>
            </a:endParaRPr>
          </a:p>
        </p:txBody>
      </p:sp>
      <p:sp>
        <p:nvSpPr>
          <p:cNvPr id="212" name="Rectangle 211">
            <a:extLst>
              <a:ext uri="{FF2B5EF4-FFF2-40B4-BE49-F238E27FC236}">
                <a16:creationId xmlns:a16="http://schemas.microsoft.com/office/drawing/2014/main" id="{0F260AAC-C6F6-437F-8F39-336703899DB2}"/>
              </a:ext>
            </a:extLst>
          </p:cNvPr>
          <p:cNvSpPr/>
          <p:nvPr>
            <p:custDataLst>
              <p:tags r:id="rId9"/>
            </p:custDataLst>
          </p:nvPr>
        </p:nvSpPr>
        <p:spPr bwMode="auto">
          <a:xfrm>
            <a:off x="4419600" y="5383530"/>
            <a:ext cx="91440" cy="16954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AFEDD481-C6BA-4DAE-98C2-D01A73A63521}" type="datetime'''''''''''''C''''''''''''''Q''''''''''''''''V'''''''''''''">
              <a:rPr lang="en-US" altLang="en-US" sz="600" b="1">
                <a:solidFill>
                  <a:schemeClr val="tx1"/>
                </a:solidFill>
              </a:rPr>
              <a:pPr algn="r"/>
              <a:t>CQV</a:t>
            </a:fld>
            <a:endParaRPr lang="en-US" sz="600" b="1">
              <a:solidFill>
                <a:schemeClr val="tx1"/>
              </a:solidFill>
            </a:endParaRPr>
          </a:p>
        </p:txBody>
      </p:sp>
      <p:sp>
        <p:nvSpPr>
          <p:cNvPr id="213" name="Rectangle 212">
            <a:extLst>
              <a:ext uri="{FF2B5EF4-FFF2-40B4-BE49-F238E27FC236}">
                <a16:creationId xmlns:a16="http://schemas.microsoft.com/office/drawing/2014/main" id="{240B08A4-24AC-4B4F-A30D-304798EFC096}"/>
              </a:ext>
            </a:extLst>
          </p:cNvPr>
          <p:cNvSpPr/>
          <p:nvPr>
            <p:custDataLst>
              <p:tags r:id="rId10"/>
            </p:custDataLst>
          </p:nvPr>
        </p:nvSpPr>
        <p:spPr bwMode="auto">
          <a:xfrm>
            <a:off x="4739640" y="5383530"/>
            <a:ext cx="91440" cy="61722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9A1B64B0-88D8-4211-9365-F799C700CE07}" type="datetime'F''''''ie''''''ld ''''''Cal''''''i''''b''''''ratio''''n'">
              <a:rPr lang="en-US" altLang="en-US" sz="600" b="1">
                <a:solidFill>
                  <a:schemeClr val="tx1"/>
                </a:solidFill>
              </a:rPr>
              <a:pPr algn="r"/>
              <a:t>Field Calibration</a:t>
            </a:fld>
            <a:endParaRPr lang="en-US" sz="600" b="1">
              <a:solidFill>
                <a:schemeClr val="tx1"/>
              </a:solidFill>
            </a:endParaRPr>
          </a:p>
        </p:txBody>
      </p:sp>
      <p:sp>
        <p:nvSpPr>
          <p:cNvPr id="224" name="Rectangle 223">
            <a:extLst>
              <a:ext uri="{FF2B5EF4-FFF2-40B4-BE49-F238E27FC236}">
                <a16:creationId xmlns:a16="http://schemas.microsoft.com/office/drawing/2014/main" id="{E48D2CB5-D4CC-4AD6-9E1D-65FEB4A6A188}"/>
              </a:ext>
            </a:extLst>
          </p:cNvPr>
          <p:cNvSpPr/>
          <p:nvPr>
            <p:custDataLst>
              <p:tags r:id="rId11"/>
            </p:custDataLst>
          </p:nvPr>
        </p:nvSpPr>
        <p:spPr bwMode="auto">
          <a:xfrm>
            <a:off x="5059680" y="5383531"/>
            <a:ext cx="91440" cy="24003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ACC7F62B-2543-42D1-A2CF-DDB66E27B5F2}" type="datetime'''''R''e''''''''''n''''''''ta''''''''''''''''''''''''''l'''''">
              <a:rPr lang="en-US" altLang="en-US" sz="600" b="1">
                <a:solidFill>
                  <a:schemeClr val="tx1"/>
                </a:solidFill>
              </a:rPr>
              <a:pPr algn="r"/>
              <a:t>Rental</a:t>
            </a:fld>
            <a:endParaRPr lang="en-US" sz="600" b="1">
              <a:solidFill>
                <a:schemeClr val="tx1"/>
              </a:solidFill>
            </a:endParaRPr>
          </a:p>
        </p:txBody>
      </p:sp>
      <p:sp>
        <p:nvSpPr>
          <p:cNvPr id="227" name="Rectangle 226">
            <a:extLst>
              <a:ext uri="{FF2B5EF4-FFF2-40B4-BE49-F238E27FC236}">
                <a16:creationId xmlns:a16="http://schemas.microsoft.com/office/drawing/2014/main" id="{8C9A9349-2A83-4002-8E91-BFAAD9194651}"/>
              </a:ext>
            </a:extLst>
          </p:cNvPr>
          <p:cNvSpPr/>
          <p:nvPr>
            <p:custDataLst>
              <p:tags r:id="rId12"/>
            </p:custDataLst>
          </p:nvPr>
        </p:nvSpPr>
        <p:spPr bwMode="auto">
          <a:xfrm>
            <a:off x="5379720" y="5383532"/>
            <a:ext cx="91440" cy="54673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A03B9D56-B99E-45A0-AB2D-28B7D17A3327}" type="datetime'Mo''''n''''i''tor''''''i''''n''''''''''''''g'''' ''E''''''Q'''">
              <a:rPr lang="en-US" altLang="en-US" sz="600" b="1">
                <a:solidFill>
                  <a:schemeClr val="tx1"/>
                </a:solidFill>
              </a:rPr>
              <a:pPr algn="r"/>
              <a:t>Monitoring EQ</a:t>
            </a:fld>
            <a:endParaRPr lang="en-US" sz="600" b="1">
              <a:solidFill>
                <a:schemeClr val="tx1"/>
              </a:solidFill>
            </a:endParaRPr>
          </a:p>
        </p:txBody>
      </p:sp>
      <p:sp>
        <p:nvSpPr>
          <p:cNvPr id="240" name="Rectangle 239">
            <a:extLst>
              <a:ext uri="{FF2B5EF4-FFF2-40B4-BE49-F238E27FC236}">
                <a16:creationId xmlns:a16="http://schemas.microsoft.com/office/drawing/2014/main" id="{C302404C-D9EF-409B-B6DE-20E0A737490D}"/>
              </a:ext>
            </a:extLst>
          </p:cNvPr>
          <p:cNvSpPr/>
          <p:nvPr>
            <p:custDataLst>
              <p:tags r:id="rId13"/>
            </p:custDataLst>
          </p:nvPr>
        </p:nvSpPr>
        <p:spPr bwMode="auto">
          <a:xfrm>
            <a:off x="5699760" y="5383530"/>
            <a:ext cx="91440" cy="51054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30A32689-84CD-4A7F-967D-C312D3771917}" type="datetime'''''''Val''''''''''i''''''''''''''d''a''tio''''n ''EQ'''''">
              <a:rPr lang="en-US" altLang="en-US" sz="600" b="1">
                <a:solidFill>
                  <a:schemeClr val="tx1"/>
                </a:solidFill>
              </a:rPr>
              <a:pPr algn="r"/>
              <a:t>Validation EQ</a:t>
            </a:fld>
            <a:endParaRPr lang="en-US" sz="600" b="1">
              <a:solidFill>
                <a:schemeClr val="tx1"/>
              </a:solidFill>
            </a:endParaRPr>
          </a:p>
        </p:txBody>
      </p:sp>
      <p:graphicFrame>
        <p:nvGraphicFramePr>
          <p:cNvPr id="82" name="Chart 81">
            <a:extLst>
              <a:ext uri="{FF2B5EF4-FFF2-40B4-BE49-F238E27FC236}">
                <a16:creationId xmlns:a16="http://schemas.microsoft.com/office/drawing/2014/main" id="{1FF65E79-E2CE-4C13-B3A8-61D7A2D588CF}"/>
              </a:ext>
            </a:extLst>
          </p:cNvPr>
          <p:cNvGraphicFramePr/>
          <p:nvPr>
            <p:custDataLst>
              <p:tags r:id="rId14"/>
            </p:custDataLst>
          </p:nvPr>
        </p:nvGraphicFramePr>
        <p:xfrm>
          <a:off x="1322070" y="4415790"/>
          <a:ext cx="2118360" cy="1042036"/>
        </p:xfrm>
        <a:graphic>
          <a:graphicData uri="http://schemas.openxmlformats.org/drawingml/2006/chart">
            <c:chart xmlns:c="http://schemas.openxmlformats.org/drawingml/2006/chart" xmlns:r="http://schemas.openxmlformats.org/officeDocument/2006/relationships" r:id="rId54"/>
          </a:graphicData>
        </a:graphic>
      </p:graphicFrame>
      <p:sp>
        <p:nvSpPr>
          <p:cNvPr id="290" name="Rectangle 289">
            <a:extLst>
              <a:ext uri="{FF2B5EF4-FFF2-40B4-BE49-F238E27FC236}">
                <a16:creationId xmlns:a16="http://schemas.microsoft.com/office/drawing/2014/main" id="{A34D96A4-8E98-4D8C-869A-0827CA78147B}"/>
              </a:ext>
            </a:extLst>
          </p:cNvPr>
          <p:cNvSpPr/>
          <p:nvPr>
            <p:custDataLst>
              <p:tags r:id="rId15"/>
            </p:custDataLst>
          </p:nvPr>
        </p:nvSpPr>
        <p:spPr bwMode="gray">
          <a:xfrm>
            <a:off x="1146810" y="5143500"/>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5ED4023B-DF23-4721-9A9A-39DAAAA5F492}" type="datetime'''''''''''''''''''''''''''2''''''0'''''''''''''''''''">
              <a:rPr lang="en-US" altLang="en-US" sz="720">
                <a:solidFill>
                  <a:schemeClr val="tx1"/>
                </a:solidFill>
              </a:rPr>
              <a:pPr algn="r">
                <a:lnSpc>
                  <a:spcPct val="90000"/>
                </a:lnSpc>
              </a:pPr>
              <a:t>20</a:t>
            </a:fld>
            <a:r>
              <a:rPr lang="en-US" altLang="en-US" sz="720">
                <a:solidFill>
                  <a:schemeClr val="tx1"/>
                </a:solidFill>
              </a:rPr>
              <a:t>%</a:t>
            </a:r>
            <a:endParaRPr lang="en-US" sz="720">
              <a:solidFill>
                <a:schemeClr val="tx1"/>
              </a:solidFill>
            </a:endParaRPr>
          </a:p>
        </p:txBody>
      </p:sp>
      <p:sp>
        <p:nvSpPr>
          <p:cNvPr id="288" name="Rectangle 287">
            <a:extLst>
              <a:ext uri="{FF2B5EF4-FFF2-40B4-BE49-F238E27FC236}">
                <a16:creationId xmlns:a16="http://schemas.microsoft.com/office/drawing/2014/main" id="{50FBB334-675A-42E8-8DA1-4048B4F4AF8D}"/>
              </a:ext>
            </a:extLst>
          </p:cNvPr>
          <p:cNvSpPr/>
          <p:nvPr>
            <p:custDataLst>
              <p:tags r:id="rId16"/>
            </p:custDataLst>
          </p:nvPr>
        </p:nvSpPr>
        <p:spPr bwMode="gray">
          <a:xfrm>
            <a:off x="1146810" y="4975860"/>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1A63D27F-62E8-4F44-A5CE-BDDBDDAB1F04}" type="datetime'''''''''''4''''''''''''''''''''''''''''''''''''''''''''''0'">
              <a:rPr lang="en-US" altLang="en-US" sz="720">
                <a:solidFill>
                  <a:schemeClr val="tx1"/>
                </a:solidFill>
              </a:rPr>
              <a:pPr algn="r">
                <a:lnSpc>
                  <a:spcPct val="90000"/>
                </a:lnSpc>
              </a:pPr>
              <a:t>40</a:t>
            </a:fld>
            <a:r>
              <a:rPr lang="en-US" altLang="en-US" sz="720">
                <a:solidFill>
                  <a:schemeClr val="tx1"/>
                </a:solidFill>
              </a:rPr>
              <a:t>%</a:t>
            </a:r>
            <a:endParaRPr lang="en-US" sz="720">
              <a:solidFill>
                <a:schemeClr val="tx1"/>
              </a:solidFill>
            </a:endParaRPr>
          </a:p>
        </p:txBody>
      </p:sp>
      <p:sp>
        <p:nvSpPr>
          <p:cNvPr id="291" name="Rectangle 290">
            <a:extLst>
              <a:ext uri="{FF2B5EF4-FFF2-40B4-BE49-F238E27FC236}">
                <a16:creationId xmlns:a16="http://schemas.microsoft.com/office/drawing/2014/main" id="{D88EA9B3-140B-4699-869C-9D376E7D9F3E}"/>
              </a:ext>
            </a:extLst>
          </p:cNvPr>
          <p:cNvSpPr/>
          <p:nvPr>
            <p:custDataLst>
              <p:tags r:id="rId17"/>
            </p:custDataLst>
          </p:nvPr>
        </p:nvSpPr>
        <p:spPr bwMode="gray">
          <a:xfrm>
            <a:off x="1146810" y="4638676"/>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6C6B684E-0427-4274-AD2B-5734A73CE74A}" type="datetime'''''''''''''''''''''''''8''''0'''''''''">
              <a:rPr lang="en-US" altLang="en-US" sz="720">
                <a:solidFill>
                  <a:schemeClr val="tx1"/>
                </a:solidFill>
              </a:rPr>
              <a:pPr algn="r">
                <a:lnSpc>
                  <a:spcPct val="90000"/>
                </a:lnSpc>
              </a:pPr>
              <a:t>80</a:t>
            </a:fld>
            <a:r>
              <a:rPr lang="en-US" altLang="en-US" sz="720">
                <a:solidFill>
                  <a:schemeClr val="tx1"/>
                </a:solidFill>
              </a:rPr>
              <a:t>%</a:t>
            </a:r>
            <a:endParaRPr lang="en-US" sz="720">
              <a:solidFill>
                <a:schemeClr val="tx1"/>
              </a:solidFill>
            </a:endParaRPr>
          </a:p>
        </p:txBody>
      </p:sp>
      <p:sp>
        <p:nvSpPr>
          <p:cNvPr id="289" name="Rectangle 288">
            <a:extLst>
              <a:ext uri="{FF2B5EF4-FFF2-40B4-BE49-F238E27FC236}">
                <a16:creationId xmlns:a16="http://schemas.microsoft.com/office/drawing/2014/main" id="{88E30A05-56A3-43EB-A783-AB236CEDAA3A}"/>
              </a:ext>
            </a:extLst>
          </p:cNvPr>
          <p:cNvSpPr/>
          <p:nvPr>
            <p:custDataLst>
              <p:tags r:id="rId18"/>
            </p:custDataLst>
          </p:nvPr>
        </p:nvSpPr>
        <p:spPr bwMode="gray">
          <a:xfrm>
            <a:off x="1146810" y="4806316"/>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FDE9DB8E-704D-4ABB-96FD-B68027610579}" type="datetime'''''''''''''''60'''''''''''''''''''''''''''''''''''''''''">
              <a:rPr lang="en-US" altLang="en-US" sz="720">
                <a:solidFill>
                  <a:schemeClr val="tx1"/>
                </a:solidFill>
              </a:rPr>
              <a:pPr algn="r">
                <a:lnSpc>
                  <a:spcPct val="90000"/>
                </a:lnSpc>
              </a:pPr>
              <a:t>60</a:t>
            </a:fld>
            <a:r>
              <a:rPr lang="en-US" altLang="en-US" sz="720">
                <a:solidFill>
                  <a:schemeClr val="tx1"/>
                </a:solidFill>
              </a:rPr>
              <a:t>%</a:t>
            </a:r>
            <a:endParaRPr lang="en-US" sz="720">
              <a:solidFill>
                <a:schemeClr val="tx1"/>
              </a:solidFill>
            </a:endParaRPr>
          </a:p>
        </p:txBody>
      </p:sp>
      <p:sp>
        <p:nvSpPr>
          <p:cNvPr id="292" name="Rectangle 291">
            <a:extLst>
              <a:ext uri="{FF2B5EF4-FFF2-40B4-BE49-F238E27FC236}">
                <a16:creationId xmlns:a16="http://schemas.microsoft.com/office/drawing/2014/main" id="{B6F57024-D35D-4EB3-8980-F046E1D02BF9}"/>
              </a:ext>
            </a:extLst>
          </p:cNvPr>
          <p:cNvSpPr/>
          <p:nvPr>
            <p:custDataLst>
              <p:tags r:id="rId19"/>
            </p:custDataLst>
          </p:nvPr>
        </p:nvSpPr>
        <p:spPr bwMode="gray">
          <a:xfrm>
            <a:off x="1093470" y="4469130"/>
            <a:ext cx="23622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2213758F-2D23-43EE-8E18-CCA4D3077E10}" type="datetime'''''''''1''''''''''''''''''''0''''''''0'''''''''''''''''''''">
              <a:rPr lang="en-US" altLang="en-US" sz="720">
                <a:solidFill>
                  <a:schemeClr val="tx1"/>
                </a:solidFill>
              </a:rPr>
              <a:pPr algn="r">
                <a:lnSpc>
                  <a:spcPct val="90000"/>
                </a:lnSpc>
              </a:pPr>
              <a:t>100</a:t>
            </a:fld>
            <a:r>
              <a:rPr lang="en-US" altLang="en-US" sz="720">
                <a:solidFill>
                  <a:schemeClr val="tx1"/>
                </a:solidFill>
              </a:rPr>
              <a:t>%</a:t>
            </a:r>
            <a:endParaRPr lang="en-US" sz="720">
              <a:solidFill>
                <a:schemeClr val="tx1"/>
              </a:solidFill>
            </a:endParaRPr>
          </a:p>
        </p:txBody>
      </p:sp>
      <p:sp>
        <p:nvSpPr>
          <p:cNvPr id="294" name="Rectangle 293">
            <a:extLst>
              <a:ext uri="{FF2B5EF4-FFF2-40B4-BE49-F238E27FC236}">
                <a16:creationId xmlns:a16="http://schemas.microsoft.com/office/drawing/2014/main" id="{19FBDC8C-C99D-42DC-97FF-375B95947E18}"/>
              </a:ext>
            </a:extLst>
          </p:cNvPr>
          <p:cNvSpPr/>
          <p:nvPr>
            <p:custDataLst>
              <p:tags r:id="rId20"/>
            </p:custDataLst>
          </p:nvPr>
        </p:nvSpPr>
        <p:spPr bwMode="auto">
          <a:xfrm>
            <a:off x="1535430" y="5383530"/>
            <a:ext cx="91440" cy="4038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C57FCAA9-13CA-4E7A-A246-0D4C5966C115}" type="datetime'Co''n''s''''''u''''''''''lt''''i''''ng'''''''''''''''''''">
              <a:rPr lang="en-US" altLang="en-US" sz="600" b="1">
                <a:solidFill>
                  <a:schemeClr val="tx1"/>
                </a:solidFill>
              </a:rPr>
              <a:pPr algn="r"/>
              <a:t>Consulting</a:t>
            </a:fld>
            <a:endParaRPr lang="en-US" sz="600" b="1">
              <a:solidFill>
                <a:schemeClr val="tx1"/>
              </a:solidFill>
            </a:endParaRPr>
          </a:p>
        </p:txBody>
      </p:sp>
      <p:sp>
        <p:nvSpPr>
          <p:cNvPr id="295" name="Rectangle 294">
            <a:extLst>
              <a:ext uri="{FF2B5EF4-FFF2-40B4-BE49-F238E27FC236}">
                <a16:creationId xmlns:a16="http://schemas.microsoft.com/office/drawing/2014/main" id="{2CEF3EBD-91F2-4852-85BD-B206FD53DBD2}"/>
              </a:ext>
            </a:extLst>
          </p:cNvPr>
          <p:cNvSpPr/>
          <p:nvPr>
            <p:custDataLst>
              <p:tags r:id="rId21"/>
            </p:custDataLst>
          </p:nvPr>
        </p:nvSpPr>
        <p:spPr bwMode="auto">
          <a:xfrm>
            <a:off x="1855470" y="5383530"/>
            <a:ext cx="91440" cy="16954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3BF3987E-0CC8-4596-9CB4-ED847BE30B27}" type="datetime'''''''''''''''''''''''''''CQ''V'''''''''''''''''''''''''''''">
              <a:rPr lang="en-US" altLang="en-US" sz="600" b="1">
                <a:solidFill>
                  <a:schemeClr val="tx1"/>
                </a:solidFill>
              </a:rPr>
              <a:pPr algn="r"/>
              <a:t>CQV</a:t>
            </a:fld>
            <a:endParaRPr lang="en-US" sz="600" b="1">
              <a:solidFill>
                <a:schemeClr val="tx1"/>
              </a:solidFill>
            </a:endParaRPr>
          </a:p>
        </p:txBody>
      </p:sp>
      <p:sp>
        <p:nvSpPr>
          <p:cNvPr id="293" name="Rectangle 292">
            <a:extLst>
              <a:ext uri="{FF2B5EF4-FFF2-40B4-BE49-F238E27FC236}">
                <a16:creationId xmlns:a16="http://schemas.microsoft.com/office/drawing/2014/main" id="{8CB5040D-90EB-4252-A2CD-7CB0B3171B32}"/>
              </a:ext>
            </a:extLst>
          </p:cNvPr>
          <p:cNvSpPr/>
          <p:nvPr>
            <p:custDataLst>
              <p:tags r:id="rId22"/>
            </p:custDataLst>
          </p:nvPr>
        </p:nvSpPr>
        <p:spPr bwMode="auto">
          <a:xfrm>
            <a:off x="2175510" y="5383530"/>
            <a:ext cx="91440" cy="61722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BD5CCF06-DD88-4ADE-A88B-5A085FB96526}" type="datetime'F''iel''''d'''''''' Calibr''a''t''i''''on'''''">
              <a:rPr lang="en-US" altLang="en-US" sz="600" b="1">
                <a:solidFill>
                  <a:schemeClr val="tx1"/>
                </a:solidFill>
              </a:rPr>
              <a:pPr algn="r"/>
              <a:t>Field Calibration</a:t>
            </a:fld>
            <a:endParaRPr lang="en-US" sz="600" b="1">
              <a:solidFill>
                <a:schemeClr val="tx1"/>
              </a:solidFill>
            </a:endParaRPr>
          </a:p>
        </p:txBody>
      </p:sp>
      <p:sp>
        <p:nvSpPr>
          <p:cNvPr id="296" name="Rectangle 295">
            <a:extLst>
              <a:ext uri="{FF2B5EF4-FFF2-40B4-BE49-F238E27FC236}">
                <a16:creationId xmlns:a16="http://schemas.microsoft.com/office/drawing/2014/main" id="{E33DB71F-DD53-4EF3-8B98-1CD48460A93B}"/>
              </a:ext>
            </a:extLst>
          </p:cNvPr>
          <p:cNvSpPr/>
          <p:nvPr>
            <p:custDataLst>
              <p:tags r:id="rId23"/>
            </p:custDataLst>
          </p:nvPr>
        </p:nvSpPr>
        <p:spPr bwMode="auto">
          <a:xfrm>
            <a:off x="2495550" y="5383531"/>
            <a:ext cx="91440" cy="24003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66F0DFB7-F38F-4895-80FC-2F389FA25DFB}" type="datetime'R''e''''''''''''''''''''''''''''''''''''''''''''ntal'''''''">
              <a:rPr lang="en-US" altLang="en-US" sz="600" b="1">
                <a:solidFill>
                  <a:schemeClr val="tx1"/>
                </a:solidFill>
              </a:rPr>
              <a:pPr algn="r"/>
              <a:t>Rental</a:t>
            </a:fld>
            <a:endParaRPr lang="en-US" sz="600" b="1">
              <a:solidFill>
                <a:schemeClr val="tx1"/>
              </a:solidFill>
            </a:endParaRPr>
          </a:p>
        </p:txBody>
      </p:sp>
      <p:sp>
        <p:nvSpPr>
          <p:cNvPr id="297" name="Rectangle 296">
            <a:extLst>
              <a:ext uri="{FF2B5EF4-FFF2-40B4-BE49-F238E27FC236}">
                <a16:creationId xmlns:a16="http://schemas.microsoft.com/office/drawing/2014/main" id="{D390EEBF-3071-4315-8A85-07840402C432}"/>
              </a:ext>
            </a:extLst>
          </p:cNvPr>
          <p:cNvSpPr/>
          <p:nvPr>
            <p:custDataLst>
              <p:tags r:id="rId24"/>
            </p:custDataLst>
          </p:nvPr>
        </p:nvSpPr>
        <p:spPr bwMode="auto">
          <a:xfrm>
            <a:off x="2815590" y="5383530"/>
            <a:ext cx="91440" cy="54673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4AD85F09-ACF4-416C-B087-A1C03A8C21A8}" type="datetime'Mo''''''''''''n''i''''''tori''''n''''g'''''''''' ''''''EQ'''''">
              <a:rPr lang="en-US" altLang="en-US" sz="600" b="1">
                <a:solidFill>
                  <a:schemeClr val="tx1"/>
                </a:solidFill>
              </a:rPr>
              <a:pPr algn="r"/>
              <a:t>Monitoring EQ</a:t>
            </a:fld>
            <a:endParaRPr lang="en-US" sz="600" b="1">
              <a:solidFill>
                <a:schemeClr val="tx1"/>
              </a:solidFill>
            </a:endParaRPr>
          </a:p>
        </p:txBody>
      </p:sp>
      <p:sp>
        <p:nvSpPr>
          <p:cNvPr id="298" name="Rectangle 297">
            <a:extLst>
              <a:ext uri="{FF2B5EF4-FFF2-40B4-BE49-F238E27FC236}">
                <a16:creationId xmlns:a16="http://schemas.microsoft.com/office/drawing/2014/main" id="{0E8BC103-DB2E-4FB7-B463-6CA1FAA3C89A}"/>
              </a:ext>
            </a:extLst>
          </p:cNvPr>
          <p:cNvSpPr/>
          <p:nvPr>
            <p:custDataLst>
              <p:tags r:id="rId25"/>
            </p:custDataLst>
          </p:nvPr>
        </p:nvSpPr>
        <p:spPr bwMode="auto">
          <a:xfrm>
            <a:off x="3135630" y="5383530"/>
            <a:ext cx="91440" cy="51054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6B7071FC-9BF3-4D05-806C-C7D5286C7C55}" type="datetime'''Va''l''''''''''i''''d''''a''''''t''io''''''n'''' ''E''''Q'">
              <a:rPr lang="en-US" altLang="en-US" sz="600" b="1">
                <a:solidFill>
                  <a:schemeClr val="tx1"/>
                </a:solidFill>
              </a:rPr>
              <a:pPr algn="r"/>
              <a:t>Validation EQ</a:t>
            </a:fld>
            <a:endParaRPr lang="en-US" sz="600" b="1">
              <a:solidFill>
                <a:schemeClr val="tx1"/>
              </a:solidFill>
            </a:endParaRPr>
          </a:p>
        </p:txBody>
      </p:sp>
      <p:graphicFrame>
        <p:nvGraphicFramePr>
          <p:cNvPr id="84" name="Chart 83">
            <a:extLst>
              <a:ext uri="{FF2B5EF4-FFF2-40B4-BE49-F238E27FC236}">
                <a16:creationId xmlns:a16="http://schemas.microsoft.com/office/drawing/2014/main" id="{65B8C965-087D-1E0D-91B3-6ECC671B28D2}"/>
              </a:ext>
            </a:extLst>
          </p:cNvPr>
          <p:cNvGraphicFramePr/>
          <p:nvPr>
            <p:custDataLst>
              <p:tags r:id="rId26"/>
            </p:custDataLst>
          </p:nvPr>
        </p:nvGraphicFramePr>
        <p:xfrm>
          <a:off x="6336030" y="4415790"/>
          <a:ext cx="2118360" cy="1042036"/>
        </p:xfrm>
        <a:graphic>
          <a:graphicData uri="http://schemas.openxmlformats.org/drawingml/2006/chart">
            <c:chart xmlns:c="http://schemas.openxmlformats.org/drawingml/2006/chart" xmlns:r="http://schemas.openxmlformats.org/officeDocument/2006/relationships" r:id="rId55"/>
          </a:graphicData>
        </a:graphic>
      </p:graphicFrame>
      <p:sp>
        <p:nvSpPr>
          <p:cNvPr id="322" name="Rectangle 321">
            <a:extLst>
              <a:ext uri="{FF2B5EF4-FFF2-40B4-BE49-F238E27FC236}">
                <a16:creationId xmlns:a16="http://schemas.microsoft.com/office/drawing/2014/main" id="{7FB53A18-ED80-45E9-A00B-1F5F70F73783}"/>
              </a:ext>
            </a:extLst>
          </p:cNvPr>
          <p:cNvSpPr/>
          <p:nvPr>
            <p:custDataLst>
              <p:tags r:id="rId27"/>
            </p:custDataLst>
          </p:nvPr>
        </p:nvSpPr>
        <p:spPr bwMode="gray">
          <a:xfrm>
            <a:off x="6107430" y="4469130"/>
            <a:ext cx="23622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C812A781-AAA2-4896-B2AA-010B9BDBAC85}" type="datetime'''''''''''''''1''''''''''''''''''''''0''''''''''''''''''0'">
              <a:rPr lang="en-US" altLang="en-US" sz="720">
                <a:solidFill>
                  <a:schemeClr val="tx1"/>
                </a:solidFill>
              </a:rPr>
              <a:pPr algn="r">
                <a:lnSpc>
                  <a:spcPct val="90000"/>
                </a:lnSpc>
              </a:pPr>
              <a:t>100</a:t>
            </a:fld>
            <a:r>
              <a:rPr lang="en-US" altLang="en-US" sz="720">
                <a:solidFill>
                  <a:schemeClr val="tx1"/>
                </a:solidFill>
              </a:rPr>
              <a:t>%</a:t>
            </a:r>
            <a:endParaRPr lang="en-US" sz="720">
              <a:solidFill>
                <a:schemeClr val="tx1"/>
              </a:solidFill>
            </a:endParaRPr>
          </a:p>
        </p:txBody>
      </p:sp>
      <p:sp>
        <p:nvSpPr>
          <p:cNvPr id="320" name="Rectangle 319">
            <a:extLst>
              <a:ext uri="{FF2B5EF4-FFF2-40B4-BE49-F238E27FC236}">
                <a16:creationId xmlns:a16="http://schemas.microsoft.com/office/drawing/2014/main" id="{850963CB-2634-4DE7-8B0F-395E26A1C45D}"/>
              </a:ext>
            </a:extLst>
          </p:cNvPr>
          <p:cNvSpPr/>
          <p:nvPr>
            <p:custDataLst>
              <p:tags r:id="rId28"/>
            </p:custDataLst>
          </p:nvPr>
        </p:nvSpPr>
        <p:spPr bwMode="gray">
          <a:xfrm>
            <a:off x="6160770" y="5143500"/>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636FBEA8-4C52-4407-92BD-A354A0D0A07D}" type="datetime'''''''''''''''''''2''''''''''''''''''''''''0'''''''">
              <a:rPr lang="en-US" altLang="en-US" sz="720">
                <a:solidFill>
                  <a:schemeClr val="tx1"/>
                </a:solidFill>
              </a:rPr>
              <a:pPr algn="r">
                <a:lnSpc>
                  <a:spcPct val="90000"/>
                </a:lnSpc>
              </a:pPr>
              <a:t>20</a:t>
            </a:fld>
            <a:r>
              <a:rPr lang="en-US" altLang="en-US" sz="720">
                <a:solidFill>
                  <a:schemeClr val="tx1"/>
                </a:solidFill>
              </a:rPr>
              <a:t>%</a:t>
            </a:r>
            <a:endParaRPr lang="en-US" sz="720">
              <a:solidFill>
                <a:schemeClr val="tx1"/>
              </a:solidFill>
            </a:endParaRPr>
          </a:p>
        </p:txBody>
      </p:sp>
      <p:sp>
        <p:nvSpPr>
          <p:cNvPr id="318" name="Rectangle 317">
            <a:extLst>
              <a:ext uri="{FF2B5EF4-FFF2-40B4-BE49-F238E27FC236}">
                <a16:creationId xmlns:a16="http://schemas.microsoft.com/office/drawing/2014/main" id="{62AAB36E-1A3A-4750-A6AA-828E0450E162}"/>
              </a:ext>
            </a:extLst>
          </p:cNvPr>
          <p:cNvSpPr/>
          <p:nvPr>
            <p:custDataLst>
              <p:tags r:id="rId29"/>
            </p:custDataLst>
          </p:nvPr>
        </p:nvSpPr>
        <p:spPr bwMode="gray">
          <a:xfrm>
            <a:off x="6160770" y="4975860"/>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BD812207-E421-4FE6-B96F-462EC097BA4F}" type="datetime'''''''''''''40'''''''''''''''''''''''''">
              <a:rPr lang="en-US" altLang="en-US" sz="720">
                <a:solidFill>
                  <a:schemeClr val="tx1"/>
                </a:solidFill>
              </a:rPr>
              <a:pPr algn="r">
                <a:lnSpc>
                  <a:spcPct val="90000"/>
                </a:lnSpc>
              </a:pPr>
              <a:t>40</a:t>
            </a:fld>
            <a:r>
              <a:rPr lang="en-US" altLang="en-US" sz="720">
                <a:solidFill>
                  <a:schemeClr val="tx1"/>
                </a:solidFill>
              </a:rPr>
              <a:t>%</a:t>
            </a:r>
            <a:endParaRPr lang="en-US" sz="720">
              <a:solidFill>
                <a:schemeClr val="tx1"/>
              </a:solidFill>
            </a:endParaRPr>
          </a:p>
        </p:txBody>
      </p:sp>
      <p:sp>
        <p:nvSpPr>
          <p:cNvPr id="319" name="Rectangle 318">
            <a:extLst>
              <a:ext uri="{FF2B5EF4-FFF2-40B4-BE49-F238E27FC236}">
                <a16:creationId xmlns:a16="http://schemas.microsoft.com/office/drawing/2014/main" id="{96509DAB-C635-41B8-B3C5-288047D760A7}"/>
              </a:ext>
            </a:extLst>
          </p:cNvPr>
          <p:cNvSpPr/>
          <p:nvPr>
            <p:custDataLst>
              <p:tags r:id="rId30"/>
            </p:custDataLst>
          </p:nvPr>
        </p:nvSpPr>
        <p:spPr bwMode="gray">
          <a:xfrm>
            <a:off x="6160770" y="4806316"/>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B51B5659-10BF-4BE1-A013-33DD8FD205B3}" type="datetime'''''''6''''''''''''''0'''''''''''''">
              <a:rPr lang="en-US" altLang="en-US" sz="720">
                <a:solidFill>
                  <a:schemeClr val="tx1"/>
                </a:solidFill>
              </a:rPr>
              <a:pPr algn="r">
                <a:lnSpc>
                  <a:spcPct val="90000"/>
                </a:lnSpc>
              </a:pPr>
              <a:t>60</a:t>
            </a:fld>
            <a:r>
              <a:rPr lang="en-US" altLang="en-US" sz="720">
                <a:solidFill>
                  <a:schemeClr val="tx1"/>
                </a:solidFill>
              </a:rPr>
              <a:t>%</a:t>
            </a:r>
            <a:endParaRPr lang="en-US" sz="720">
              <a:solidFill>
                <a:schemeClr val="tx1"/>
              </a:solidFill>
            </a:endParaRPr>
          </a:p>
        </p:txBody>
      </p:sp>
      <p:sp>
        <p:nvSpPr>
          <p:cNvPr id="321" name="Rectangle 320">
            <a:extLst>
              <a:ext uri="{FF2B5EF4-FFF2-40B4-BE49-F238E27FC236}">
                <a16:creationId xmlns:a16="http://schemas.microsoft.com/office/drawing/2014/main" id="{80A00873-C78C-408A-81E8-9E859EF9730F}"/>
              </a:ext>
            </a:extLst>
          </p:cNvPr>
          <p:cNvSpPr/>
          <p:nvPr>
            <p:custDataLst>
              <p:tags r:id="rId31"/>
            </p:custDataLst>
          </p:nvPr>
        </p:nvSpPr>
        <p:spPr bwMode="gray">
          <a:xfrm>
            <a:off x="6160770" y="4638676"/>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06CE8F12-9C08-42C3-999B-C97604CCE4EE}" type="datetime'''''''''''8''''''''''''''''''''''''''''''''0'''''">
              <a:rPr lang="en-US" altLang="en-US" sz="720">
                <a:solidFill>
                  <a:schemeClr val="tx1"/>
                </a:solidFill>
              </a:rPr>
              <a:pPr algn="r">
                <a:lnSpc>
                  <a:spcPct val="90000"/>
                </a:lnSpc>
              </a:pPr>
              <a:t>80</a:t>
            </a:fld>
            <a:r>
              <a:rPr lang="en-US" altLang="en-US" sz="720">
                <a:solidFill>
                  <a:schemeClr val="tx1"/>
                </a:solidFill>
              </a:rPr>
              <a:t>%</a:t>
            </a:r>
            <a:endParaRPr lang="en-US" sz="720">
              <a:solidFill>
                <a:schemeClr val="tx1"/>
              </a:solidFill>
            </a:endParaRPr>
          </a:p>
        </p:txBody>
      </p:sp>
      <p:sp>
        <p:nvSpPr>
          <p:cNvPr id="323" name="Rectangle 322">
            <a:extLst>
              <a:ext uri="{FF2B5EF4-FFF2-40B4-BE49-F238E27FC236}">
                <a16:creationId xmlns:a16="http://schemas.microsoft.com/office/drawing/2014/main" id="{95D2F8E6-0F3B-4D63-9E65-6A956D114CD3}"/>
              </a:ext>
            </a:extLst>
          </p:cNvPr>
          <p:cNvSpPr/>
          <p:nvPr>
            <p:custDataLst>
              <p:tags r:id="rId32"/>
            </p:custDataLst>
          </p:nvPr>
        </p:nvSpPr>
        <p:spPr bwMode="auto">
          <a:xfrm>
            <a:off x="7189470" y="5383530"/>
            <a:ext cx="91440" cy="61722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B69738B3-D11A-4DED-8563-DA0DBFD31FD8}" type="datetime'''F''''i''''e''''l''d'' Ca''li''''br''''''at''''''io''''n'''''">
              <a:rPr lang="en-US" altLang="en-US" sz="600" b="1">
                <a:solidFill>
                  <a:schemeClr val="tx1"/>
                </a:solidFill>
              </a:rPr>
              <a:pPr algn="r"/>
              <a:t>Field Calibration</a:t>
            </a:fld>
            <a:endParaRPr lang="en-US" sz="600" b="1">
              <a:solidFill>
                <a:schemeClr val="tx1"/>
              </a:solidFill>
            </a:endParaRPr>
          </a:p>
        </p:txBody>
      </p:sp>
      <p:sp>
        <p:nvSpPr>
          <p:cNvPr id="325" name="Rectangle 324">
            <a:extLst>
              <a:ext uri="{FF2B5EF4-FFF2-40B4-BE49-F238E27FC236}">
                <a16:creationId xmlns:a16="http://schemas.microsoft.com/office/drawing/2014/main" id="{DF006C8D-E80F-487F-B4E5-7B530DA54A7B}"/>
              </a:ext>
            </a:extLst>
          </p:cNvPr>
          <p:cNvSpPr/>
          <p:nvPr>
            <p:custDataLst>
              <p:tags r:id="rId33"/>
            </p:custDataLst>
          </p:nvPr>
        </p:nvSpPr>
        <p:spPr bwMode="auto">
          <a:xfrm>
            <a:off x="6869430" y="5383530"/>
            <a:ext cx="91440" cy="16954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90971874-F909-40FD-8744-C15C0EA99D7A}" type="datetime'''''''C''''Q''''''''''''''''''''''''''''V'''''''''''''">
              <a:rPr lang="en-US" altLang="en-US" sz="600" b="1">
                <a:solidFill>
                  <a:schemeClr val="tx1"/>
                </a:solidFill>
              </a:rPr>
              <a:pPr algn="r"/>
              <a:t>CQV</a:t>
            </a:fld>
            <a:endParaRPr lang="en-US" sz="600" b="1">
              <a:solidFill>
                <a:schemeClr val="tx1"/>
              </a:solidFill>
            </a:endParaRPr>
          </a:p>
        </p:txBody>
      </p:sp>
      <p:sp>
        <p:nvSpPr>
          <p:cNvPr id="324" name="Rectangle 323">
            <a:extLst>
              <a:ext uri="{FF2B5EF4-FFF2-40B4-BE49-F238E27FC236}">
                <a16:creationId xmlns:a16="http://schemas.microsoft.com/office/drawing/2014/main" id="{0E4D9554-5D69-4485-9BB1-5B7FCAC95E0A}"/>
              </a:ext>
            </a:extLst>
          </p:cNvPr>
          <p:cNvSpPr/>
          <p:nvPr>
            <p:custDataLst>
              <p:tags r:id="rId34"/>
            </p:custDataLst>
          </p:nvPr>
        </p:nvSpPr>
        <p:spPr bwMode="auto">
          <a:xfrm>
            <a:off x="6549390" y="5383530"/>
            <a:ext cx="91440" cy="4038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DF5F1B98-4C7F-4A4F-8194-0E051E0AB0EF}" type="datetime'C''o''''n''''''''''''''''su''''l''t''i''''''''''''''''''n''g'">
              <a:rPr lang="en-US" altLang="en-US" sz="600" b="1">
                <a:solidFill>
                  <a:schemeClr val="tx1"/>
                </a:solidFill>
              </a:rPr>
              <a:pPr algn="r"/>
              <a:t>Consulting</a:t>
            </a:fld>
            <a:endParaRPr lang="en-US" sz="600" b="1">
              <a:solidFill>
                <a:schemeClr val="tx1"/>
              </a:solidFill>
            </a:endParaRPr>
          </a:p>
        </p:txBody>
      </p:sp>
      <p:sp>
        <p:nvSpPr>
          <p:cNvPr id="326" name="Rectangle 325">
            <a:extLst>
              <a:ext uri="{FF2B5EF4-FFF2-40B4-BE49-F238E27FC236}">
                <a16:creationId xmlns:a16="http://schemas.microsoft.com/office/drawing/2014/main" id="{AB070E7B-3339-41BE-A82F-81D3F3F97DB2}"/>
              </a:ext>
            </a:extLst>
          </p:cNvPr>
          <p:cNvSpPr/>
          <p:nvPr>
            <p:custDataLst>
              <p:tags r:id="rId35"/>
            </p:custDataLst>
          </p:nvPr>
        </p:nvSpPr>
        <p:spPr bwMode="auto">
          <a:xfrm>
            <a:off x="7509510" y="5383531"/>
            <a:ext cx="91440" cy="24003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0F4BF767-6019-47D8-82FC-46A9135EAD9C}" type="datetime'''''''''''R''''''e''n''''''''''''''''''t''a''''''''l'''''''''">
              <a:rPr lang="en-US" altLang="en-US" sz="600" b="1">
                <a:solidFill>
                  <a:schemeClr val="tx1"/>
                </a:solidFill>
              </a:rPr>
              <a:pPr algn="r"/>
              <a:t>Rental</a:t>
            </a:fld>
            <a:endParaRPr lang="en-US" sz="600" b="1">
              <a:solidFill>
                <a:schemeClr val="tx1"/>
              </a:solidFill>
            </a:endParaRPr>
          </a:p>
        </p:txBody>
      </p:sp>
      <p:sp>
        <p:nvSpPr>
          <p:cNvPr id="327" name="Rectangle 326">
            <a:extLst>
              <a:ext uri="{FF2B5EF4-FFF2-40B4-BE49-F238E27FC236}">
                <a16:creationId xmlns:a16="http://schemas.microsoft.com/office/drawing/2014/main" id="{334AC4B4-F6C6-4D03-ACF9-BDA4527E2D96}"/>
              </a:ext>
            </a:extLst>
          </p:cNvPr>
          <p:cNvSpPr/>
          <p:nvPr>
            <p:custDataLst>
              <p:tags r:id="rId36"/>
            </p:custDataLst>
          </p:nvPr>
        </p:nvSpPr>
        <p:spPr bwMode="auto">
          <a:xfrm>
            <a:off x="7829550" y="5383530"/>
            <a:ext cx="91440" cy="54673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1BEE5291-26EB-45F2-8C89-50C26CD057EE}" type="datetime'''M''o''''''n''''itori''''''n''''''''''''''g'''' ''''''E''Q'">
              <a:rPr lang="en-US" altLang="en-US" sz="600" b="1">
                <a:solidFill>
                  <a:schemeClr val="tx1"/>
                </a:solidFill>
              </a:rPr>
              <a:pPr algn="r"/>
              <a:t>Monitoring EQ</a:t>
            </a:fld>
            <a:endParaRPr lang="en-US" sz="600" b="1">
              <a:solidFill>
                <a:schemeClr val="tx1"/>
              </a:solidFill>
            </a:endParaRPr>
          </a:p>
        </p:txBody>
      </p:sp>
      <p:sp>
        <p:nvSpPr>
          <p:cNvPr id="328" name="Rectangle 327">
            <a:extLst>
              <a:ext uri="{FF2B5EF4-FFF2-40B4-BE49-F238E27FC236}">
                <a16:creationId xmlns:a16="http://schemas.microsoft.com/office/drawing/2014/main" id="{9403AC86-5B13-4597-A48B-921133D3989F}"/>
              </a:ext>
            </a:extLst>
          </p:cNvPr>
          <p:cNvSpPr/>
          <p:nvPr>
            <p:custDataLst>
              <p:tags r:id="rId37"/>
            </p:custDataLst>
          </p:nvPr>
        </p:nvSpPr>
        <p:spPr bwMode="auto">
          <a:xfrm>
            <a:off x="8149590" y="5383530"/>
            <a:ext cx="91440" cy="51054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F36E7F44-7E5C-4AE4-ABD9-E5EA3A11B616}" type="datetime'''''''''Va''''l''''i''d''''''''a''''tio''n'''' E''''Q'''''">
              <a:rPr lang="en-US" altLang="en-US" sz="600" b="1">
                <a:solidFill>
                  <a:schemeClr val="tx1"/>
                </a:solidFill>
              </a:rPr>
              <a:pPr algn="r"/>
              <a:t>Validation EQ</a:t>
            </a:fld>
            <a:endParaRPr lang="en-US" sz="600" b="1">
              <a:solidFill>
                <a:schemeClr val="tx1"/>
              </a:solidFill>
            </a:endParaRPr>
          </a:p>
        </p:txBody>
      </p:sp>
      <p:graphicFrame>
        <p:nvGraphicFramePr>
          <p:cNvPr id="79" name="Chart 78">
            <a:extLst>
              <a:ext uri="{FF2B5EF4-FFF2-40B4-BE49-F238E27FC236}">
                <a16:creationId xmlns:a16="http://schemas.microsoft.com/office/drawing/2014/main" id="{56B28AEA-2E29-F7F7-0BA2-4B7B738DD759}"/>
              </a:ext>
            </a:extLst>
          </p:cNvPr>
          <p:cNvGraphicFramePr/>
          <p:nvPr>
            <p:custDataLst>
              <p:tags r:id="rId38"/>
            </p:custDataLst>
          </p:nvPr>
        </p:nvGraphicFramePr>
        <p:xfrm>
          <a:off x="8923020" y="4415790"/>
          <a:ext cx="2118360" cy="1042036"/>
        </p:xfrm>
        <a:graphic>
          <a:graphicData uri="http://schemas.openxmlformats.org/drawingml/2006/chart">
            <c:chart xmlns:c="http://schemas.openxmlformats.org/drawingml/2006/chart" xmlns:r="http://schemas.openxmlformats.org/officeDocument/2006/relationships" r:id="rId56"/>
          </a:graphicData>
        </a:graphic>
      </p:graphicFrame>
      <p:sp>
        <p:nvSpPr>
          <p:cNvPr id="350" name="Rectangle 349">
            <a:extLst>
              <a:ext uri="{FF2B5EF4-FFF2-40B4-BE49-F238E27FC236}">
                <a16:creationId xmlns:a16="http://schemas.microsoft.com/office/drawing/2014/main" id="{BCB5A86A-A7A5-4A04-A032-ABA6D0FE797D}"/>
              </a:ext>
            </a:extLst>
          </p:cNvPr>
          <p:cNvSpPr/>
          <p:nvPr>
            <p:custDataLst>
              <p:tags r:id="rId39"/>
            </p:custDataLst>
          </p:nvPr>
        </p:nvSpPr>
        <p:spPr bwMode="gray">
          <a:xfrm>
            <a:off x="8694420" y="4469130"/>
            <a:ext cx="23622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73F87303-BAC8-489F-B89B-52B7010ED404}" type="datetime'1''''''''''0''''''''''''''''''''''''''''0'''''''''''''''''''''">
              <a:rPr lang="en-US" altLang="en-US" sz="720">
                <a:solidFill>
                  <a:schemeClr val="tx1"/>
                </a:solidFill>
              </a:rPr>
              <a:pPr algn="r">
                <a:lnSpc>
                  <a:spcPct val="90000"/>
                </a:lnSpc>
              </a:pPr>
              <a:t>100</a:t>
            </a:fld>
            <a:r>
              <a:rPr lang="en-US" altLang="en-US" sz="720">
                <a:solidFill>
                  <a:schemeClr val="tx1"/>
                </a:solidFill>
              </a:rPr>
              <a:t>%</a:t>
            </a:r>
            <a:endParaRPr lang="en-US" sz="720">
              <a:solidFill>
                <a:schemeClr val="tx1"/>
              </a:solidFill>
            </a:endParaRPr>
          </a:p>
        </p:txBody>
      </p:sp>
      <p:sp>
        <p:nvSpPr>
          <p:cNvPr id="347" name="Rectangle 346">
            <a:extLst>
              <a:ext uri="{FF2B5EF4-FFF2-40B4-BE49-F238E27FC236}">
                <a16:creationId xmlns:a16="http://schemas.microsoft.com/office/drawing/2014/main" id="{87A7B4E0-3DC8-4323-86FA-46D15133596C}"/>
              </a:ext>
            </a:extLst>
          </p:cNvPr>
          <p:cNvSpPr/>
          <p:nvPr>
            <p:custDataLst>
              <p:tags r:id="rId40"/>
            </p:custDataLst>
          </p:nvPr>
        </p:nvSpPr>
        <p:spPr bwMode="gray">
          <a:xfrm>
            <a:off x="8747760" y="5143500"/>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85C84593-173D-4355-A997-6A65084CD4C1}" type="datetime'''''''''2''''''''''''''''''''0'''''''''''''''''''''''">
              <a:rPr lang="en-US" altLang="en-US" sz="720">
                <a:solidFill>
                  <a:schemeClr val="tx1"/>
                </a:solidFill>
              </a:rPr>
              <a:pPr algn="r">
                <a:lnSpc>
                  <a:spcPct val="90000"/>
                </a:lnSpc>
              </a:pPr>
              <a:t>20</a:t>
            </a:fld>
            <a:r>
              <a:rPr lang="en-US" altLang="en-US" sz="720">
                <a:solidFill>
                  <a:schemeClr val="tx1"/>
                </a:solidFill>
              </a:rPr>
              <a:t>%</a:t>
            </a:r>
            <a:endParaRPr lang="en-US" sz="720">
              <a:solidFill>
                <a:schemeClr val="tx1"/>
              </a:solidFill>
            </a:endParaRPr>
          </a:p>
        </p:txBody>
      </p:sp>
      <p:sp>
        <p:nvSpPr>
          <p:cNvPr id="348" name="Rectangle 347">
            <a:extLst>
              <a:ext uri="{FF2B5EF4-FFF2-40B4-BE49-F238E27FC236}">
                <a16:creationId xmlns:a16="http://schemas.microsoft.com/office/drawing/2014/main" id="{5B273723-CC78-4FF5-B877-16FF5A76A0BC}"/>
              </a:ext>
            </a:extLst>
          </p:cNvPr>
          <p:cNvSpPr/>
          <p:nvPr>
            <p:custDataLst>
              <p:tags r:id="rId41"/>
            </p:custDataLst>
          </p:nvPr>
        </p:nvSpPr>
        <p:spPr bwMode="gray">
          <a:xfrm>
            <a:off x="8747760" y="4975860"/>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BDD24BF3-2876-49BE-8702-E08DB2B010CD}" type="datetime'''''''''''''''''''''4''''''''0'''''''''''''''''''''''''''''''">
              <a:rPr lang="en-US" altLang="en-US" sz="720">
                <a:solidFill>
                  <a:schemeClr val="tx1"/>
                </a:solidFill>
              </a:rPr>
              <a:pPr algn="r">
                <a:lnSpc>
                  <a:spcPct val="90000"/>
                </a:lnSpc>
              </a:pPr>
              <a:t>40</a:t>
            </a:fld>
            <a:r>
              <a:rPr lang="en-US" altLang="en-US" sz="720">
                <a:solidFill>
                  <a:schemeClr val="tx1"/>
                </a:solidFill>
              </a:rPr>
              <a:t>%</a:t>
            </a:r>
            <a:endParaRPr lang="en-US" sz="720">
              <a:solidFill>
                <a:schemeClr val="tx1"/>
              </a:solidFill>
            </a:endParaRPr>
          </a:p>
        </p:txBody>
      </p:sp>
      <p:sp>
        <p:nvSpPr>
          <p:cNvPr id="346" name="Rectangle 345">
            <a:extLst>
              <a:ext uri="{FF2B5EF4-FFF2-40B4-BE49-F238E27FC236}">
                <a16:creationId xmlns:a16="http://schemas.microsoft.com/office/drawing/2014/main" id="{76D28121-2DD7-4484-92E1-FF3E9014C5CB}"/>
              </a:ext>
            </a:extLst>
          </p:cNvPr>
          <p:cNvSpPr/>
          <p:nvPr>
            <p:custDataLst>
              <p:tags r:id="rId42"/>
            </p:custDataLst>
          </p:nvPr>
        </p:nvSpPr>
        <p:spPr bwMode="gray">
          <a:xfrm>
            <a:off x="8747760" y="4638676"/>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1B6E9940-87C2-4654-8C96-4AC3C6A7771C}" type="datetime'''''''''''8''''''''''''''''''''''''''''''''''0'''''''''''">
              <a:rPr lang="en-US" altLang="en-US" sz="720">
                <a:solidFill>
                  <a:schemeClr val="tx1"/>
                </a:solidFill>
              </a:rPr>
              <a:pPr algn="r">
                <a:lnSpc>
                  <a:spcPct val="90000"/>
                </a:lnSpc>
              </a:pPr>
              <a:t>80</a:t>
            </a:fld>
            <a:r>
              <a:rPr lang="en-US" altLang="en-US" sz="720">
                <a:solidFill>
                  <a:schemeClr val="tx1"/>
                </a:solidFill>
              </a:rPr>
              <a:t>%</a:t>
            </a:r>
            <a:endParaRPr lang="en-US" sz="720">
              <a:solidFill>
                <a:schemeClr val="tx1"/>
              </a:solidFill>
            </a:endParaRPr>
          </a:p>
        </p:txBody>
      </p:sp>
      <p:sp>
        <p:nvSpPr>
          <p:cNvPr id="349" name="Rectangle 348">
            <a:extLst>
              <a:ext uri="{FF2B5EF4-FFF2-40B4-BE49-F238E27FC236}">
                <a16:creationId xmlns:a16="http://schemas.microsoft.com/office/drawing/2014/main" id="{B2F430C7-F2A0-4245-BA55-DD254F9980AF}"/>
              </a:ext>
            </a:extLst>
          </p:cNvPr>
          <p:cNvSpPr/>
          <p:nvPr>
            <p:custDataLst>
              <p:tags r:id="rId43"/>
            </p:custDataLst>
          </p:nvPr>
        </p:nvSpPr>
        <p:spPr bwMode="gray">
          <a:xfrm>
            <a:off x="8747760" y="4806316"/>
            <a:ext cx="182880" cy="990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pPr>
            <a:fld id="{69495C6A-5675-4BE0-83AC-B8F54C4BACAA}" type="datetime'''''''''''''''''''''''''''''''''6''''''''''''0'''''''''''''''">
              <a:rPr lang="en-US" altLang="en-US" sz="720">
                <a:solidFill>
                  <a:schemeClr val="tx1"/>
                </a:solidFill>
              </a:rPr>
              <a:pPr algn="r">
                <a:lnSpc>
                  <a:spcPct val="90000"/>
                </a:lnSpc>
              </a:pPr>
              <a:t>60</a:t>
            </a:fld>
            <a:r>
              <a:rPr lang="en-US" altLang="en-US" sz="720">
                <a:solidFill>
                  <a:schemeClr val="tx1"/>
                </a:solidFill>
              </a:rPr>
              <a:t>%</a:t>
            </a:r>
            <a:endParaRPr lang="en-US" sz="720">
              <a:solidFill>
                <a:schemeClr val="tx1"/>
              </a:solidFill>
            </a:endParaRPr>
          </a:p>
        </p:txBody>
      </p:sp>
      <p:sp>
        <p:nvSpPr>
          <p:cNvPr id="352" name="Rectangle 351">
            <a:extLst>
              <a:ext uri="{FF2B5EF4-FFF2-40B4-BE49-F238E27FC236}">
                <a16:creationId xmlns:a16="http://schemas.microsoft.com/office/drawing/2014/main" id="{F5160C6D-2FA6-4480-8810-AF37830D82AE}"/>
              </a:ext>
            </a:extLst>
          </p:cNvPr>
          <p:cNvSpPr/>
          <p:nvPr>
            <p:custDataLst>
              <p:tags r:id="rId44"/>
            </p:custDataLst>
          </p:nvPr>
        </p:nvSpPr>
        <p:spPr bwMode="auto">
          <a:xfrm>
            <a:off x="9136380" y="5383530"/>
            <a:ext cx="91440" cy="4038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1F6AC71E-8C6D-485B-A364-B962076727FE}" type="datetime'''''''''''C''''''''o''n''s''''u''''lting'''''''''''''''">
              <a:rPr lang="en-US" altLang="en-US" sz="600" b="1">
                <a:solidFill>
                  <a:schemeClr val="tx1"/>
                </a:solidFill>
              </a:rPr>
              <a:pPr algn="r"/>
              <a:t>Consulting</a:t>
            </a:fld>
            <a:endParaRPr lang="en-US" sz="600" b="1">
              <a:solidFill>
                <a:schemeClr val="tx1"/>
              </a:solidFill>
            </a:endParaRPr>
          </a:p>
        </p:txBody>
      </p:sp>
      <p:sp>
        <p:nvSpPr>
          <p:cNvPr id="353" name="Rectangle 352">
            <a:extLst>
              <a:ext uri="{FF2B5EF4-FFF2-40B4-BE49-F238E27FC236}">
                <a16:creationId xmlns:a16="http://schemas.microsoft.com/office/drawing/2014/main" id="{BA3C43A0-9902-4A34-A440-AE3A32944268}"/>
              </a:ext>
            </a:extLst>
          </p:cNvPr>
          <p:cNvSpPr/>
          <p:nvPr>
            <p:custDataLst>
              <p:tags r:id="rId45"/>
            </p:custDataLst>
          </p:nvPr>
        </p:nvSpPr>
        <p:spPr bwMode="auto">
          <a:xfrm>
            <a:off x="9456420" y="5383530"/>
            <a:ext cx="91440" cy="16954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C70A5DC2-04C2-41D0-B3BC-D4F16E9F23EC}" type="datetime'''''''''''''''''''''''''C''''Q''''V'''''''''''''''''''''">
              <a:rPr lang="en-US" altLang="en-US" sz="600" b="1">
                <a:solidFill>
                  <a:schemeClr val="tx1"/>
                </a:solidFill>
              </a:rPr>
              <a:pPr algn="r"/>
              <a:t>CQV</a:t>
            </a:fld>
            <a:endParaRPr lang="en-US" sz="600" b="1">
              <a:solidFill>
                <a:schemeClr val="tx1"/>
              </a:solidFill>
            </a:endParaRPr>
          </a:p>
        </p:txBody>
      </p:sp>
      <p:sp>
        <p:nvSpPr>
          <p:cNvPr id="351" name="Rectangle 350">
            <a:extLst>
              <a:ext uri="{FF2B5EF4-FFF2-40B4-BE49-F238E27FC236}">
                <a16:creationId xmlns:a16="http://schemas.microsoft.com/office/drawing/2014/main" id="{2BBF9F42-D40D-4DDB-9264-FB2F99023119}"/>
              </a:ext>
            </a:extLst>
          </p:cNvPr>
          <p:cNvSpPr/>
          <p:nvPr>
            <p:custDataLst>
              <p:tags r:id="rId46"/>
            </p:custDataLst>
          </p:nvPr>
        </p:nvSpPr>
        <p:spPr bwMode="auto">
          <a:xfrm>
            <a:off x="9776460" y="5383530"/>
            <a:ext cx="91440" cy="61722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537C81C5-8DFE-41D0-A282-A5FAD7FEECA5}" type="datetime'''Fi''''''''e''ld ''Cal''''ib''r''''''''''''ati''''''''o''''n'">
              <a:rPr lang="en-US" altLang="en-US" sz="600" b="1">
                <a:solidFill>
                  <a:schemeClr val="tx1"/>
                </a:solidFill>
              </a:rPr>
              <a:pPr algn="r"/>
              <a:t>Field Calibration</a:t>
            </a:fld>
            <a:endParaRPr lang="en-US" sz="600" b="1">
              <a:solidFill>
                <a:schemeClr val="tx1"/>
              </a:solidFill>
            </a:endParaRPr>
          </a:p>
        </p:txBody>
      </p:sp>
      <p:sp>
        <p:nvSpPr>
          <p:cNvPr id="355" name="Rectangle 354">
            <a:extLst>
              <a:ext uri="{FF2B5EF4-FFF2-40B4-BE49-F238E27FC236}">
                <a16:creationId xmlns:a16="http://schemas.microsoft.com/office/drawing/2014/main" id="{47CE6C1A-0DE8-413F-9192-7D61D304C324}"/>
              </a:ext>
            </a:extLst>
          </p:cNvPr>
          <p:cNvSpPr/>
          <p:nvPr>
            <p:custDataLst>
              <p:tags r:id="rId47"/>
            </p:custDataLst>
          </p:nvPr>
        </p:nvSpPr>
        <p:spPr bwMode="auto">
          <a:xfrm>
            <a:off x="10416540" y="5383530"/>
            <a:ext cx="91440" cy="54673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194FED8E-BD71-43E8-956C-746AF0451FBC}" type="datetime'Mo''''''''''''ni''''''tor''''''i''n''''g'' E''''''''Q'''''''''">
              <a:rPr lang="en-US" altLang="en-US" sz="600" b="1">
                <a:solidFill>
                  <a:schemeClr val="tx1"/>
                </a:solidFill>
              </a:rPr>
              <a:pPr algn="r"/>
              <a:t>Monitoring EQ</a:t>
            </a:fld>
            <a:endParaRPr lang="en-US" sz="600" b="1">
              <a:solidFill>
                <a:schemeClr val="tx1"/>
              </a:solidFill>
            </a:endParaRPr>
          </a:p>
        </p:txBody>
      </p:sp>
      <p:sp>
        <p:nvSpPr>
          <p:cNvPr id="354" name="Rectangle 353">
            <a:extLst>
              <a:ext uri="{FF2B5EF4-FFF2-40B4-BE49-F238E27FC236}">
                <a16:creationId xmlns:a16="http://schemas.microsoft.com/office/drawing/2014/main" id="{AF2DDBBF-12CF-459E-8DF8-28C9AF2D19C8}"/>
              </a:ext>
            </a:extLst>
          </p:cNvPr>
          <p:cNvSpPr/>
          <p:nvPr>
            <p:custDataLst>
              <p:tags r:id="rId48"/>
            </p:custDataLst>
          </p:nvPr>
        </p:nvSpPr>
        <p:spPr bwMode="auto">
          <a:xfrm>
            <a:off x="10096500" y="5383531"/>
            <a:ext cx="91440" cy="24003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3C7BA619-FCD4-4724-BE22-A79DEC4D18E0}" type="datetime'''''''''''''''''R''''''''''''''e''''n''ta''l'''''">
              <a:rPr lang="en-US" altLang="en-US" sz="600" b="1">
                <a:solidFill>
                  <a:schemeClr val="tx1"/>
                </a:solidFill>
              </a:rPr>
              <a:pPr algn="r"/>
              <a:t>Rental</a:t>
            </a:fld>
            <a:endParaRPr lang="en-US" sz="600" b="1">
              <a:solidFill>
                <a:schemeClr val="tx1"/>
              </a:solidFill>
            </a:endParaRPr>
          </a:p>
        </p:txBody>
      </p:sp>
      <p:sp>
        <p:nvSpPr>
          <p:cNvPr id="356" name="Rectangle 355">
            <a:extLst>
              <a:ext uri="{FF2B5EF4-FFF2-40B4-BE49-F238E27FC236}">
                <a16:creationId xmlns:a16="http://schemas.microsoft.com/office/drawing/2014/main" id="{B60375C9-B31A-4D77-BB3F-6D72380D2C8C}"/>
              </a:ext>
            </a:extLst>
          </p:cNvPr>
          <p:cNvSpPr/>
          <p:nvPr>
            <p:custDataLst>
              <p:tags r:id="rId49"/>
            </p:custDataLst>
          </p:nvPr>
        </p:nvSpPr>
        <p:spPr bwMode="auto">
          <a:xfrm>
            <a:off x="10736580" y="5383530"/>
            <a:ext cx="91440" cy="51054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fld id="{EEF7EF70-A6D4-4A88-BF17-C3B16B0862B2}" type="datetime'''''Va''''''''''l''i''''dat''''io''n'' ''E''Q'''''''">
              <a:rPr lang="en-US" altLang="en-US" sz="600" b="1">
                <a:solidFill>
                  <a:schemeClr val="tx1"/>
                </a:solidFill>
              </a:rPr>
              <a:pPr algn="r"/>
              <a:t>Validation EQ</a:t>
            </a:fld>
            <a:endParaRPr lang="en-US" sz="600" b="1">
              <a:solidFill>
                <a:schemeClr val="tx1"/>
              </a:solidFill>
            </a:endParaRPr>
          </a:p>
        </p:txBody>
      </p:sp>
    </p:spTree>
    <p:extLst>
      <p:ext uri="{BB962C8B-B14F-4D97-AF65-F5344CB8AC3E}">
        <p14:creationId xmlns:p14="http://schemas.microsoft.com/office/powerpoint/2010/main" val="4762102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1C854-A903-4BF4-AB0E-0FB5E79D7007}"/>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05D1C854-A903-4BF4-AB0E-0FB5E79D7007}"/>
                          </a:ext>
                        </a:extLst>
                      </p:cNvPr>
                      <p:cNvPicPr/>
                      <p:nvPr/>
                    </p:nvPicPr>
                    <p:blipFill>
                      <a:blip r:embed="rId4"/>
                      <a:stretch>
                        <a:fillRect/>
                      </a:stretch>
                    </p:blipFill>
                    <p:spPr>
                      <a:xfrm>
                        <a:off x="611505" y="1905"/>
                        <a:ext cx="1906" cy="1906"/>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0EE4990-AE8D-1DC8-ED3B-34A5C6BA314C}"/>
              </a:ext>
            </a:extLst>
          </p:cNvPr>
          <p:cNvSpPr>
            <a:spLocks noGrp="1"/>
          </p:cNvSpPr>
          <p:nvPr>
            <p:ph type="body" sz="half" idx="10"/>
          </p:nvPr>
        </p:nvSpPr>
        <p:spPr/>
        <p:txBody>
          <a:bodyPr/>
          <a:lstStyle/>
          <a:p>
            <a:endParaRPr lang="en-US"/>
          </a:p>
        </p:txBody>
      </p:sp>
      <p:sp>
        <p:nvSpPr>
          <p:cNvPr id="6" name="Title 5">
            <a:extLst>
              <a:ext uri="{FF2B5EF4-FFF2-40B4-BE49-F238E27FC236}">
                <a16:creationId xmlns:a16="http://schemas.microsoft.com/office/drawing/2014/main" id="{58081F4A-6718-480D-A7A7-B99A3178D0BC}"/>
              </a:ext>
            </a:extLst>
          </p:cNvPr>
          <p:cNvSpPr>
            <a:spLocks noGrp="1"/>
          </p:cNvSpPr>
          <p:nvPr>
            <p:ph type="title"/>
          </p:nvPr>
        </p:nvSpPr>
        <p:spPr/>
        <p:txBody>
          <a:bodyPr vert="horz"/>
          <a:lstStyle/>
          <a:p>
            <a:r>
              <a:rPr lang="en-US" sz="2400" dirty="0"/>
              <a:t>Along with customer all the way- Detailing the needs </a:t>
            </a:r>
          </a:p>
        </p:txBody>
      </p:sp>
      <p:sp>
        <p:nvSpPr>
          <p:cNvPr id="2" name="Text Placeholder 1">
            <a:extLst>
              <a:ext uri="{FF2B5EF4-FFF2-40B4-BE49-F238E27FC236}">
                <a16:creationId xmlns:a16="http://schemas.microsoft.com/office/drawing/2014/main" id="{06F5160E-3394-B009-4F6F-BE36BDEB8A4E}"/>
              </a:ext>
            </a:extLst>
          </p:cNvPr>
          <p:cNvSpPr>
            <a:spLocks noGrp="1"/>
          </p:cNvSpPr>
          <p:nvPr>
            <p:ph type="body" sz="half" idx="2"/>
          </p:nvPr>
        </p:nvSpPr>
        <p:spPr/>
        <p:txBody>
          <a:bodyPr/>
          <a:lstStyle/>
          <a:p>
            <a:endParaRPr lang="en-US"/>
          </a:p>
        </p:txBody>
      </p:sp>
      <p:cxnSp>
        <p:nvCxnSpPr>
          <p:cNvPr id="67" name="Straight Connector 66">
            <a:extLst>
              <a:ext uri="{FF2B5EF4-FFF2-40B4-BE49-F238E27FC236}">
                <a16:creationId xmlns:a16="http://schemas.microsoft.com/office/drawing/2014/main" id="{42CEA287-6BCC-418C-BD48-B397600020E7}"/>
              </a:ext>
            </a:extLst>
          </p:cNvPr>
          <p:cNvCxnSpPr>
            <a:cxnSpLocks/>
          </p:cNvCxnSpPr>
          <p:nvPr/>
        </p:nvCxnSpPr>
        <p:spPr>
          <a:xfrm>
            <a:off x="3562524" y="2329816"/>
            <a:ext cx="0" cy="373380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DC75A5D-E64A-473D-ACE8-1A6FE2882381}"/>
              </a:ext>
            </a:extLst>
          </p:cNvPr>
          <p:cNvCxnSpPr>
            <a:cxnSpLocks/>
          </p:cNvCxnSpPr>
          <p:nvPr/>
        </p:nvCxnSpPr>
        <p:spPr>
          <a:xfrm>
            <a:off x="6075566" y="2329816"/>
            <a:ext cx="0" cy="373380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929EC80-3DFB-452F-900F-AAF2999F43E3}"/>
              </a:ext>
            </a:extLst>
          </p:cNvPr>
          <p:cNvCxnSpPr>
            <a:cxnSpLocks/>
          </p:cNvCxnSpPr>
          <p:nvPr/>
        </p:nvCxnSpPr>
        <p:spPr>
          <a:xfrm>
            <a:off x="8569284" y="2329816"/>
            <a:ext cx="0" cy="373380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Arrow: Chevron 20">
            <a:extLst>
              <a:ext uri="{FF2B5EF4-FFF2-40B4-BE49-F238E27FC236}">
                <a16:creationId xmlns:a16="http://schemas.microsoft.com/office/drawing/2014/main" id="{F57C15D2-B555-4F38-AAF9-9EBA126AD610}"/>
              </a:ext>
            </a:extLst>
          </p:cNvPr>
          <p:cNvSpPr/>
          <p:nvPr/>
        </p:nvSpPr>
        <p:spPr>
          <a:xfrm>
            <a:off x="3633235" y="1804036"/>
            <a:ext cx="2470978" cy="432436"/>
          </a:xfrm>
          <a:prstGeom prst="chevron">
            <a:avLst/>
          </a:prstGeom>
          <a:solidFill>
            <a:schemeClr val="tx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algn="ctr"/>
            <a:r>
              <a:rPr lang="en-US" sz="960" b="1">
                <a:solidFill>
                  <a:schemeClr val="bg1"/>
                </a:solidFill>
              </a:rPr>
              <a:t>EARLY-MID STAGE CLINICAL DEVELOPMENT</a:t>
            </a:r>
            <a:endParaRPr lang="en-GB" sz="960" b="1">
              <a:solidFill>
                <a:schemeClr val="bg1"/>
              </a:solidFill>
            </a:endParaRPr>
          </a:p>
        </p:txBody>
      </p:sp>
      <p:sp>
        <p:nvSpPr>
          <p:cNvPr id="22" name="Arrow: Chevron 21">
            <a:extLst>
              <a:ext uri="{FF2B5EF4-FFF2-40B4-BE49-F238E27FC236}">
                <a16:creationId xmlns:a16="http://schemas.microsoft.com/office/drawing/2014/main" id="{440E61EC-546B-4513-99FC-84D3E057767A}"/>
              </a:ext>
            </a:extLst>
          </p:cNvPr>
          <p:cNvSpPr/>
          <p:nvPr/>
        </p:nvSpPr>
        <p:spPr>
          <a:xfrm>
            <a:off x="6098306" y="1804036"/>
            <a:ext cx="2470978" cy="432436"/>
          </a:xfrm>
          <a:prstGeom prst="chevron">
            <a:avLst/>
          </a:prstGeom>
          <a:solidFill>
            <a:schemeClr val="tx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algn="ctr"/>
            <a:r>
              <a:rPr lang="en-US" sz="960" b="1">
                <a:solidFill>
                  <a:schemeClr val="bg1"/>
                </a:solidFill>
              </a:rPr>
              <a:t>LATE-STAGE CLINICAL DEVELOPMENT</a:t>
            </a:r>
            <a:endParaRPr lang="en-GB" sz="960" b="1">
              <a:solidFill>
                <a:schemeClr val="bg1"/>
              </a:solidFill>
            </a:endParaRPr>
          </a:p>
        </p:txBody>
      </p:sp>
      <p:sp>
        <p:nvSpPr>
          <p:cNvPr id="23" name="Arrow: Pentagon 22">
            <a:extLst>
              <a:ext uri="{FF2B5EF4-FFF2-40B4-BE49-F238E27FC236}">
                <a16:creationId xmlns:a16="http://schemas.microsoft.com/office/drawing/2014/main" id="{C15D73A4-3C54-4FAE-96A1-118421EF7D34}"/>
              </a:ext>
            </a:extLst>
          </p:cNvPr>
          <p:cNvSpPr/>
          <p:nvPr/>
        </p:nvSpPr>
        <p:spPr>
          <a:xfrm>
            <a:off x="1162257" y="1804036"/>
            <a:ext cx="2470978" cy="432436"/>
          </a:xfrm>
          <a:prstGeom prst="homePlate">
            <a:avLst/>
          </a:prstGeom>
          <a:solidFill>
            <a:schemeClr val="tx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algn="ctr"/>
            <a:r>
              <a:rPr lang="en-US" sz="960" b="1">
                <a:solidFill>
                  <a:srgbClr val="FFFFFF"/>
                </a:solidFill>
              </a:rPr>
              <a:t>R&amp;D</a:t>
            </a:r>
            <a:endParaRPr lang="en-GB" sz="960" b="1"/>
          </a:p>
        </p:txBody>
      </p:sp>
      <p:sp>
        <p:nvSpPr>
          <p:cNvPr id="24" name="Arrow: Chevron 23">
            <a:extLst>
              <a:ext uri="{FF2B5EF4-FFF2-40B4-BE49-F238E27FC236}">
                <a16:creationId xmlns:a16="http://schemas.microsoft.com/office/drawing/2014/main" id="{01EA495F-F667-43F5-BE13-FBB83858F479}"/>
              </a:ext>
            </a:extLst>
          </p:cNvPr>
          <p:cNvSpPr/>
          <p:nvPr/>
        </p:nvSpPr>
        <p:spPr>
          <a:xfrm>
            <a:off x="8569284" y="1804036"/>
            <a:ext cx="2470978" cy="432436"/>
          </a:xfrm>
          <a:prstGeom prst="chevron">
            <a:avLst/>
          </a:prstGeom>
          <a:solidFill>
            <a:schemeClr val="tx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algn="ctr"/>
            <a:r>
              <a:rPr lang="en-US" sz="960" b="1">
                <a:solidFill>
                  <a:schemeClr val="bg1"/>
                </a:solidFill>
              </a:rPr>
              <a:t>COMMERCIAL MANUFACTURING</a:t>
            </a:r>
            <a:endParaRPr lang="en-GB" sz="960" b="1">
              <a:solidFill>
                <a:schemeClr val="bg1"/>
              </a:solidFill>
            </a:endParaRPr>
          </a:p>
        </p:txBody>
      </p:sp>
      <p:sp>
        <p:nvSpPr>
          <p:cNvPr id="94" name="TextBox 93">
            <a:extLst>
              <a:ext uri="{FF2B5EF4-FFF2-40B4-BE49-F238E27FC236}">
                <a16:creationId xmlns:a16="http://schemas.microsoft.com/office/drawing/2014/main" id="{7518FCD6-08DA-4827-8EFF-1FCE4F8814A4}"/>
              </a:ext>
            </a:extLst>
          </p:cNvPr>
          <p:cNvSpPr txBox="1"/>
          <p:nvPr/>
        </p:nvSpPr>
        <p:spPr>
          <a:xfrm>
            <a:off x="1162258" y="2403910"/>
            <a:ext cx="2329631" cy="3194721"/>
          </a:xfrm>
          <a:prstGeom prst="rect">
            <a:avLst/>
          </a:prstGeom>
          <a:noFill/>
        </p:spPr>
        <p:txBody>
          <a:bodyPr wrap="square">
            <a:spAutoFit/>
          </a:bodyPr>
          <a:lstStyle/>
          <a:p>
            <a:pPr algn="l"/>
            <a:r>
              <a:rPr lang="en-US" sz="720" b="1">
                <a:solidFill>
                  <a:srgbClr val="242424"/>
                </a:solidFill>
                <a:latin typeface="+mn-lt"/>
              </a:rPr>
              <a:t>Consulting: </a:t>
            </a:r>
            <a:r>
              <a:rPr lang="en-US" sz="720">
                <a:solidFill>
                  <a:srgbClr val="242424"/>
                </a:solidFill>
                <a:latin typeface="+mn-lt"/>
              </a:rPr>
              <a:t>Need help with starting up and scaling up</a:t>
            </a:r>
          </a:p>
          <a:p>
            <a:pPr algn="l"/>
            <a:endParaRPr lang="en-US" sz="720">
              <a:solidFill>
                <a:srgbClr val="242424"/>
              </a:solidFill>
              <a:latin typeface="+mn-lt"/>
            </a:endParaRPr>
          </a:p>
          <a:p>
            <a:pPr algn="l"/>
            <a:r>
              <a:rPr lang="en-US" sz="720" b="1">
                <a:solidFill>
                  <a:srgbClr val="242424"/>
                </a:solidFill>
                <a:latin typeface="+mn-lt"/>
              </a:rPr>
              <a:t>Monitoring EQ</a:t>
            </a:r>
            <a:r>
              <a:rPr lang="en-US" sz="720">
                <a:solidFill>
                  <a:srgbClr val="242424"/>
                </a:solidFill>
                <a:latin typeface="+mn-lt"/>
              </a:rPr>
              <a:t>: Will be needing a small-scale monitoring system. We are competing against non-part 11 systems (non-validated) in this early stage, but if we can get in with a small system, we can continue growing with them as they face increasing compliance requirements. </a:t>
            </a:r>
          </a:p>
          <a:p>
            <a:pPr algn="l"/>
            <a:endParaRPr lang="en-US" sz="720">
              <a:solidFill>
                <a:srgbClr val="242424"/>
              </a:solidFill>
              <a:latin typeface="+mn-lt"/>
            </a:endParaRPr>
          </a:p>
          <a:p>
            <a:pPr algn="l"/>
            <a:r>
              <a:rPr lang="en-US" sz="720">
                <a:solidFill>
                  <a:srgbClr val="242424"/>
                </a:solidFill>
                <a:latin typeface="+mn-lt"/>
              </a:rPr>
              <a:t>If they go with another system that cannot meet requirements (part 11), we will have another opportunity later.</a:t>
            </a:r>
          </a:p>
          <a:p>
            <a:pPr algn="l"/>
            <a:endParaRPr lang="en-US" sz="720">
              <a:solidFill>
                <a:srgbClr val="242424"/>
              </a:solidFill>
              <a:latin typeface="+mn-lt"/>
            </a:endParaRPr>
          </a:p>
          <a:p>
            <a:pPr algn="l"/>
            <a:r>
              <a:rPr lang="en-US" sz="720" b="1">
                <a:solidFill>
                  <a:srgbClr val="242424"/>
                </a:solidFill>
                <a:latin typeface="+mn-lt"/>
              </a:rPr>
              <a:t>Field Calibration</a:t>
            </a:r>
            <a:r>
              <a:rPr lang="en-US" sz="720">
                <a:solidFill>
                  <a:srgbClr val="242424"/>
                </a:solidFill>
                <a:latin typeface="+mn-lt"/>
              </a:rPr>
              <a:t>: If they are going to monitor, then they will likely calibrate</a:t>
            </a:r>
          </a:p>
          <a:p>
            <a:pPr algn="l"/>
            <a:endParaRPr lang="en-US" sz="720">
              <a:solidFill>
                <a:srgbClr val="242424"/>
              </a:solidFill>
              <a:latin typeface="+mn-lt"/>
            </a:endParaRPr>
          </a:p>
          <a:p>
            <a:pPr algn="l"/>
            <a:r>
              <a:rPr lang="en-US" sz="720" b="1">
                <a:solidFill>
                  <a:srgbClr val="242424"/>
                </a:solidFill>
                <a:latin typeface="+mn-lt"/>
              </a:rPr>
              <a:t>CQV: </a:t>
            </a:r>
            <a:r>
              <a:rPr lang="en-US" sz="720">
                <a:solidFill>
                  <a:srgbClr val="242424"/>
                </a:solidFill>
                <a:latin typeface="+mn-lt"/>
              </a:rPr>
              <a:t>Very small likelihood we will do this work for them at this stage - unless they are part of a larger corporation in which they decide to apply the quality system down this far into the process</a:t>
            </a:r>
          </a:p>
          <a:p>
            <a:pPr algn="l"/>
            <a:endParaRPr lang="en-US" sz="720">
              <a:solidFill>
                <a:srgbClr val="242424"/>
              </a:solidFill>
              <a:latin typeface="+mn-lt"/>
            </a:endParaRPr>
          </a:p>
          <a:p>
            <a:pPr algn="l"/>
            <a:r>
              <a:rPr lang="en-US" sz="720" b="1">
                <a:solidFill>
                  <a:srgbClr val="242424"/>
                </a:solidFill>
                <a:latin typeface="+mn-lt"/>
              </a:rPr>
              <a:t>Rental: </a:t>
            </a:r>
            <a:r>
              <a:rPr lang="en-US" sz="720">
                <a:solidFill>
                  <a:srgbClr val="242424"/>
                </a:solidFill>
                <a:latin typeface="+mn-lt"/>
              </a:rPr>
              <a:t>Same rational as CQV - smaller companies may rent to do the work or have someone else do the work as a turn-key</a:t>
            </a:r>
          </a:p>
          <a:p>
            <a:pPr algn="l"/>
            <a:endParaRPr lang="en-US" sz="720">
              <a:solidFill>
                <a:srgbClr val="242424"/>
              </a:solidFill>
              <a:latin typeface="+mn-lt"/>
            </a:endParaRPr>
          </a:p>
          <a:p>
            <a:pPr algn="l"/>
            <a:r>
              <a:rPr lang="en-US" sz="720" b="1">
                <a:solidFill>
                  <a:srgbClr val="242424"/>
                </a:solidFill>
                <a:latin typeface="+mn-lt"/>
              </a:rPr>
              <a:t>Validation EQ: </a:t>
            </a:r>
            <a:r>
              <a:rPr lang="en-US" sz="720">
                <a:solidFill>
                  <a:srgbClr val="242424"/>
                </a:solidFill>
                <a:latin typeface="+mn-lt"/>
              </a:rPr>
              <a:t>Not many companies are willing to make that investment at this point</a:t>
            </a:r>
            <a:endParaRPr lang="en-US" sz="720" b="1">
              <a:solidFill>
                <a:srgbClr val="242424"/>
              </a:solidFill>
              <a:latin typeface="+mn-lt"/>
            </a:endParaRPr>
          </a:p>
        </p:txBody>
      </p:sp>
      <p:grpSp>
        <p:nvGrpSpPr>
          <p:cNvPr id="95" name="Groupe 398">
            <a:extLst>
              <a:ext uri="{FF2B5EF4-FFF2-40B4-BE49-F238E27FC236}">
                <a16:creationId xmlns:a16="http://schemas.microsoft.com/office/drawing/2014/main" id="{5607CC68-20B0-46C5-96E3-0A452E6F679F}"/>
              </a:ext>
            </a:extLst>
          </p:cNvPr>
          <p:cNvGrpSpPr/>
          <p:nvPr/>
        </p:nvGrpSpPr>
        <p:grpSpPr>
          <a:xfrm>
            <a:off x="4440240" y="6024499"/>
            <a:ext cx="396139" cy="223393"/>
            <a:chOff x="4000501" y="5414963"/>
            <a:chExt cx="695325" cy="392112"/>
          </a:xfrm>
        </p:grpSpPr>
        <p:sp>
          <p:nvSpPr>
            <p:cNvPr id="96" name="Freeform 155">
              <a:extLst>
                <a:ext uri="{FF2B5EF4-FFF2-40B4-BE49-F238E27FC236}">
                  <a16:creationId xmlns:a16="http://schemas.microsoft.com/office/drawing/2014/main" id="{D63A1758-3CF9-4DFA-90AF-E48197D52D7F}"/>
                </a:ext>
              </a:extLst>
            </p:cNvPr>
            <p:cNvSpPr>
              <a:spLocks/>
            </p:cNvSpPr>
            <p:nvPr/>
          </p:nvSpPr>
          <p:spPr bwMode="auto">
            <a:xfrm>
              <a:off x="4000501" y="5414963"/>
              <a:ext cx="339725" cy="392112"/>
            </a:xfrm>
            <a:custGeom>
              <a:avLst/>
              <a:gdLst/>
              <a:ahLst/>
              <a:cxnLst>
                <a:cxn ang="0">
                  <a:pos x="134" y="101"/>
                </a:cxn>
                <a:cxn ang="0">
                  <a:pos x="113" y="80"/>
                </a:cxn>
                <a:cxn ang="0">
                  <a:pos x="134" y="59"/>
                </a:cxn>
                <a:cxn ang="0">
                  <a:pos x="135" y="59"/>
                </a:cxn>
                <a:cxn ang="0">
                  <a:pos x="135" y="55"/>
                </a:cxn>
                <a:cxn ang="0">
                  <a:pos x="119" y="39"/>
                </a:cxn>
                <a:cxn ang="0">
                  <a:pos x="96" y="39"/>
                </a:cxn>
                <a:cxn ang="0">
                  <a:pos x="96" y="36"/>
                </a:cxn>
                <a:cxn ang="0">
                  <a:pos x="96" y="34"/>
                </a:cxn>
                <a:cxn ang="0">
                  <a:pos x="107" y="18"/>
                </a:cxn>
                <a:cxn ang="0">
                  <a:pos x="89" y="0"/>
                </a:cxn>
                <a:cxn ang="0">
                  <a:pos x="71" y="18"/>
                </a:cxn>
                <a:cxn ang="0">
                  <a:pos x="80" y="33"/>
                </a:cxn>
                <a:cxn ang="0">
                  <a:pos x="79" y="36"/>
                </a:cxn>
                <a:cxn ang="0">
                  <a:pos x="79" y="39"/>
                </a:cxn>
                <a:cxn ang="0">
                  <a:pos x="54" y="39"/>
                </a:cxn>
                <a:cxn ang="0">
                  <a:pos x="39" y="55"/>
                </a:cxn>
                <a:cxn ang="0">
                  <a:pos x="39" y="67"/>
                </a:cxn>
                <a:cxn ang="0">
                  <a:pos x="36" y="67"/>
                </a:cxn>
                <a:cxn ang="0">
                  <a:pos x="35" y="67"/>
                </a:cxn>
                <a:cxn ang="0">
                  <a:pos x="18" y="56"/>
                </a:cxn>
                <a:cxn ang="0">
                  <a:pos x="0" y="74"/>
                </a:cxn>
                <a:cxn ang="0">
                  <a:pos x="18" y="92"/>
                </a:cxn>
                <a:cxn ang="0">
                  <a:pos x="34" y="83"/>
                </a:cxn>
                <a:cxn ang="0">
                  <a:pos x="36" y="84"/>
                </a:cxn>
                <a:cxn ang="0">
                  <a:pos x="39" y="84"/>
                </a:cxn>
                <a:cxn ang="0">
                  <a:pos x="39" y="101"/>
                </a:cxn>
                <a:cxn ang="0">
                  <a:pos x="54" y="117"/>
                </a:cxn>
                <a:cxn ang="0">
                  <a:pos x="100" y="117"/>
                </a:cxn>
                <a:cxn ang="0">
                  <a:pos x="100" y="119"/>
                </a:cxn>
                <a:cxn ang="0">
                  <a:pos x="100" y="120"/>
                </a:cxn>
                <a:cxn ang="0">
                  <a:pos x="89" y="137"/>
                </a:cxn>
                <a:cxn ang="0">
                  <a:pos x="107" y="155"/>
                </a:cxn>
                <a:cxn ang="0">
                  <a:pos x="125" y="137"/>
                </a:cxn>
                <a:cxn ang="0">
                  <a:pos x="116" y="121"/>
                </a:cxn>
                <a:cxn ang="0">
                  <a:pos x="117" y="119"/>
                </a:cxn>
                <a:cxn ang="0">
                  <a:pos x="117" y="117"/>
                </a:cxn>
                <a:cxn ang="0">
                  <a:pos x="119" y="117"/>
                </a:cxn>
                <a:cxn ang="0">
                  <a:pos x="135" y="101"/>
                </a:cxn>
                <a:cxn ang="0">
                  <a:pos x="135" y="101"/>
                </a:cxn>
                <a:cxn ang="0">
                  <a:pos x="134" y="101"/>
                </a:cxn>
              </a:cxnLst>
              <a:rect l="0" t="0" r="r" b="b"/>
              <a:pathLst>
                <a:path w="135" h="155">
                  <a:moveTo>
                    <a:pt x="134" y="101"/>
                  </a:moveTo>
                  <a:cubicBezTo>
                    <a:pt x="122" y="101"/>
                    <a:pt x="113" y="91"/>
                    <a:pt x="113" y="80"/>
                  </a:cubicBezTo>
                  <a:cubicBezTo>
                    <a:pt x="113" y="68"/>
                    <a:pt x="122" y="59"/>
                    <a:pt x="134" y="59"/>
                  </a:cubicBezTo>
                  <a:cubicBezTo>
                    <a:pt x="134" y="59"/>
                    <a:pt x="135" y="59"/>
                    <a:pt x="135" y="59"/>
                  </a:cubicBezTo>
                  <a:cubicBezTo>
                    <a:pt x="135" y="55"/>
                    <a:pt x="135" y="55"/>
                    <a:pt x="135" y="55"/>
                  </a:cubicBezTo>
                  <a:cubicBezTo>
                    <a:pt x="135" y="46"/>
                    <a:pt x="128" y="39"/>
                    <a:pt x="119" y="39"/>
                  </a:cubicBezTo>
                  <a:cubicBezTo>
                    <a:pt x="96" y="39"/>
                    <a:pt x="96" y="39"/>
                    <a:pt x="96" y="39"/>
                  </a:cubicBezTo>
                  <a:cubicBezTo>
                    <a:pt x="96" y="36"/>
                    <a:pt x="96" y="36"/>
                    <a:pt x="96" y="36"/>
                  </a:cubicBezTo>
                  <a:cubicBezTo>
                    <a:pt x="96" y="35"/>
                    <a:pt x="96" y="35"/>
                    <a:pt x="96" y="34"/>
                  </a:cubicBezTo>
                  <a:cubicBezTo>
                    <a:pt x="102" y="32"/>
                    <a:pt x="107" y="25"/>
                    <a:pt x="107" y="18"/>
                  </a:cubicBezTo>
                  <a:cubicBezTo>
                    <a:pt x="107" y="8"/>
                    <a:pt x="99" y="0"/>
                    <a:pt x="89" y="0"/>
                  </a:cubicBezTo>
                  <a:cubicBezTo>
                    <a:pt x="79" y="0"/>
                    <a:pt x="71" y="8"/>
                    <a:pt x="71" y="18"/>
                  </a:cubicBezTo>
                  <a:cubicBezTo>
                    <a:pt x="71" y="24"/>
                    <a:pt x="74" y="30"/>
                    <a:pt x="80" y="33"/>
                  </a:cubicBezTo>
                  <a:cubicBezTo>
                    <a:pt x="80" y="34"/>
                    <a:pt x="79" y="35"/>
                    <a:pt x="79" y="36"/>
                  </a:cubicBezTo>
                  <a:cubicBezTo>
                    <a:pt x="79" y="39"/>
                    <a:pt x="79" y="39"/>
                    <a:pt x="79" y="39"/>
                  </a:cubicBezTo>
                  <a:cubicBezTo>
                    <a:pt x="54" y="39"/>
                    <a:pt x="54" y="39"/>
                    <a:pt x="54" y="39"/>
                  </a:cubicBezTo>
                  <a:cubicBezTo>
                    <a:pt x="46" y="39"/>
                    <a:pt x="39" y="46"/>
                    <a:pt x="39" y="55"/>
                  </a:cubicBezTo>
                  <a:cubicBezTo>
                    <a:pt x="39" y="67"/>
                    <a:pt x="39" y="67"/>
                    <a:pt x="39" y="67"/>
                  </a:cubicBezTo>
                  <a:cubicBezTo>
                    <a:pt x="36" y="67"/>
                    <a:pt x="36" y="67"/>
                    <a:pt x="36" y="67"/>
                  </a:cubicBezTo>
                  <a:cubicBezTo>
                    <a:pt x="36" y="67"/>
                    <a:pt x="35" y="67"/>
                    <a:pt x="35" y="67"/>
                  </a:cubicBezTo>
                  <a:cubicBezTo>
                    <a:pt x="32" y="61"/>
                    <a:pt x="25" y="56"/>
                    <a:pt x="18" y="56"/>
                  </a:cubicBezTo>
                  <a:cubicBezTo>
                    <a:pt x="8" y="56"/>
                    <a:pt x="0" y="64"/>
                    <a:pt x="0" y="74"/>
                  </a:cubicBezTo>
                  <a:cubicBezTo>
                    <a:pt x="0" y="84"/>
                    <a:pt x="8" y="92"/>
                    <a:pt x="18" y="92"/>
                  </a:cubicBezTo>
                  <a:cubicBezTo>
                    <a:pt x="25" y="92"/>
                    <a:pt x="30" y="89"/>
                    <a:pt x="34" y="83"/>
                  </a:cubicBezTo>
                  <a:cubicBezTo>
                    <a:pt x="34" y="83"/>
                    <a:pt x="35" y="84"/>
                    <a:pt x="36" y="84"/>
                  </a:cubicBezTo>
                  <a:cubicBezTo>
                    <a:pt x="39" y="84"/>
                    <a:pt x="39" y="84"/>
                    <a:pt x="39" y="84"/>
                  </a:cubicBezTo>
                  <a:cubicBezTo>
                    <a:pt x="39" y="101"/>
                    <a:pt x="39" y="101"/>
                    <a:pt x="39" y="101"/>
                  </a:cubicBezTo>
                  <a:cubicBezTo>
                    <a:pt x="39" y="110"/>
                    <a:pt x="46" y="117"/>
                    <a:pt x="54" y="117"/>
                  </a:cubicBezTo>
                  <a:cubicBezTo>
                    <a:pt x="100" y="117"/>
                    <a:pt x="100" y="117"/>
                    <a:pt x="100" y="117"/>
                  </a:cubicBezTo>
                  <a:cubicBezTo>
                    <a:pt x="100" y="119"/>
                    <a:pt x="100" y="119"/>
                    <a:pt x="100" y="119"/>
                  </a:cubicBezTo>
                  <a:cubicBezTo>
                    <a:pt x="100" y="119"/>
                    <a:pt x="100" y="120"/>
                    <a:pt x="100" y="120"/>
                  </a:cubicBezTo>
                  <a:cubicBezTo>
                    <a:pt x="94" y="123"/>
                    <a:pt x="89" y="129"/>
                    <a:pt x="89" y="137"/>
                  </a:cubicBezTo>
                  <a:cubicBezTo>
                    <a:pt x="89" y="147"/>
                    <a:pt x="97" y="155"/>
                    <a:pt x="107" y="155"/>
                  </a:cubicBezTo>
                  <a:cubicBezTo>
                    <a:pt x="117" y="155"/>
                    <a:pt x="125" y="147"/>
                    <a:pt x="125" y="137"/>
                  </a:cubicBezTo>
                  <a:cubicBezTo>
                    <a:pt x="125" y="130"/>
                    <a:pt x="122" y="124"/>
                    <a:pt x="116" y="121"/>
                  </a:cubicBezTo>
                  <a:cubicBezTo>
                    <a:pt x="117" y="121"/>
                    <a:pt x="117" y="120"/>
                    <a:pt x="117" y="119"/>
                  </a:cubicBezTo>
                  <a:cubicBezTo>
                    <a:pt x="117" y="117"/>
                    <a:pt x="117" y="117"/>
                    <a:pt x="117" y="117"/>
                  </a:cubicBezTo>
                  <a:cubicBezTo>
                    <a:pt x="119" y="117"/>
                    <a:pt x="119" y="117"/>
                    <a:pt x="119" y="117"/>
                  </a:cubicBezTo>
                  <a:cubicBezTo>
                    <a:pt x="128" y="117"/>
                    <a:pt x="135" y="110"/>
                    <a:pt x="135" y="101"/>
                  </a:cubicBezTo>
                  <a:cubicBezTo>
                    <a:pt x="135" y="101"/>
                    <a:pt x="135" y="101"/>
                    <a:pt x="135" y="101"/>
                  </a:cubicBezTo>
                  <a:cubicBezTo>
                    <a:pt x="135" y="101"/>
                    <a:pt x="134" y="101"/>
                    <a:pt x="134" y="101"/>
                  </a:cubicBezTo>
                  <a:close/>
                </a:path>
              </a:pathLst>
            </a:custGeom>
            <a:noFill/>
            <a:ln w="9525" cap="rnd">
              <a:solidFill>
                <a:schemeClr val="accent2"/>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sp>
          <p:nvSpPr>
            <p:cNvPr id="97" name="Freeform 156">
              <a:extLst>
                <a:ext uri="{FF2B5EF4-FFF2-40B4-BE49-F238E27FC236}">
                  <a16:creationId xmlns:a16="http://schemas.microsoft.com/office/drawing/2014/main" id="{D5A39661-793D-4F75-AEE4-F585E73266C2}"/>
                </a:ext>
              </a:extLst>
            </p:cNvPr>
            <p:cNvSpPr>
              <a:spLocks/>
            </p:cNvSpPr>
            <p:nvPr/>
          </p:nvSpPr>
          <p:spPr bwMode="auto">
            <a:xfrm>
              <a:off x="4357688" y="5429250"/>
              <a:ext cx="338138" cy="296862"/>
            </a:xfrm>
            <a:custGeom>
              <a:avLst/>
              <a:gdLst/>
              <a:ahLst/>
              <a:cxnLst>
                <a:cxn ang="0">
                  <a:pos x="119" y="39"/>
                </a:cxn>
                <a:cxn ang="0">
                  <a:pos x="96" y="39"/>
                </a:cxn>
                <a:cxn ang="0">
                  <a:pos x="96" y="36"/>
                </a:cxn>
                <a:cxn ang="0">
                  <a:pos x="96" y="34"/>
                </a:cxn>
                <a:cxn ang="0">
                  <a:pos x="107" y="18"/>
                </a:cxn>
                <a:cxn ang="0">
                  <a:pos x="89" y="0"/>
                </a:cxn>
                <a:cxn ang="0">
                  <a:pos x="71" y="18"/>
                </a:cxn>
                <a:cxn ang="0">
                  <a:pos x="80" y="33"/>
                </a:cxn>
                <a:cxn ang="0">
                  <a:pos x="79" y="36"/>
                </a:cxn>
                <a:cxn ang="0">
                  <a:pos x="79" y="39"/>
                </a:cxn>
                <a:cxn ang="0">
                  <a:pos x="54" y="39"/>
                </a:cxn>
                <a:cxn ang="0">
                  <a:pos x="39" y="54"/>
                </a:cxn>
                <a:cxn ang="0">
                  <a:pos x="39" y="67"/>
                </a:cxn>
                <a:cxn ang="0">
                  <a:pos x="36" y="67"/>
                </a:cxn>
                <a:cxn ang="0">
                  <a:pos x="35" y="67"/>
                </a:cxn>
                <a:cxn ang="0">
                  <a:pos x="18" y="56"/>
                </a:cxn>
                <a:cxn ang="0">
                  <a:pos x="0" y="74"/>
                </a:cxn>
                <a:cxn ang="0">
                  <a:pos x="18" y="92"/>
                </a:cxn>
                <a:cxn ang="0">
                  <a:pos x="34" y="83"/>
                </a:cxn>
                <a:cxn ang="0">
                  <a:pos x="36" y="84"/>
                </a:cxn>
                <a:cxn ang="0">
                  <a:pos x="39" y="84"/>
                </a:cxn>
                <a:cxn ang="0">
                  <a:pos x="39" y="101"/>
                </a:cxn>
                <a:cxn ang="0">
                  <a:pos x="54" y="117"/>
                </a:cxn>
                <a:cxn ang="0">
                  <a:pos x="58" y="117"/>
                </a:cxn>
                <a:cxn ang="0">
                  <a:pos x="54" y="104"/>
                </a:cxn>
                <a:cxn ang="0">
                  <a:pos x="75" y="83"/>
                </a:cxn>
                <a:cxn ang="0">
                  <a:pos x="97" y="104"/>
                </a:cxn>
                <a:cxn ang="0">
                  <a:pos x="93" y="117"/>
                </a:cxn>
                <a:cxn ang="0">
                  <a:pos x="119" y="117"/>
                </a:cxn>
                <a:cxn ang="0">
                  <a:pos x="135" y="101"/>
                </a:cxn>
                <a:cxn ang="0">
                  <a:pos x="135" y="54"/>
                </a:cxn>
                <a:cxn ang="0">
                  <a:pos x="119" y="39"/>
                </a:cxn>
              </a:cxnLst>
              <a:rect l="0" t="0" r="r" b="b"/>
              <a:pathLst>
                <a:path w="135" h="117">
                  <a:moveTo>
                    <a:pt x="119" y="39"/>
                  </a:moveTo>
                  <a:cubicBezTo>
                    <a:pt x="96" y="39"/>
                    <a:pt x="96" y="39"/>
                    <a:pt x="96" y="39"/>
                  </a:cubicBezTo>
                  <a:cubicBezTo>
                    <a:pt x="96" y="36"/>
                    <a:pt x="96" y="36"/>
                    <a:pt x="96" y="36"/>
                  </a:cubicBezTo>
                  <a:cubicBezTo>
                    <a:pt x="96" y="35"/>
                    <a:pt x="96" y="35"/>
                    <a:pt x="96" y="34"/>
                  </a:cubicBezTo>
                  <a:cubicBezTo>
                    <a:pt x="102" y="32"/>
                    <a:pt x="107" y="25"/>
                    <a:pt x="107" y="18"/>
                  </a:cubicBezTo>
                  <a:cubicBezTo>
                    <a:pt x="107" y="8"/>
                    <a:pt x="99" y="0"/>
                    <a:pt x="89" y="0"/>
                  </a:cubicBezTo>
                  <a:cubicBezTo>
                    <a:pt x="79" y="0"/>
                    <a:pt x="71" y="8"/>
                    <a:pt x="71" y="18"/>
                  </a:cubicBezTo>
                  <a:cubicBezTo>
                    <a:pt x="71" y="24"/>
                    <a:pt x="75" y="30"/>
                    <a:pt x="80" y="33"/>
                  </a:cubicBezTo>
                  <a:cubicBezTo>
                    <a:pt x="80" y="34"/>
                    <a:pt x="79" y="35"/>
                    <a:pt x="79" y="36"/>
                  </a:cubicBezTo>
                  <a:cubicBezTo>
                    <a:pt x="79" y="39"/>
                    <a:pt x="79" y="39"/>
                    <a:pt x="79" y="39"/>
                  </a:cubicBezTo>
                  <a:cubicBezTo>
                    <a:pt x="54" y="39"/>
                    <a:pt x="54" y="39"/>
                    <a:pt x="54" y="39"/>
                  </a:cubicBezTo>
                  <a:cubicBezTo>
                    <a:pt x="46" y="39"/>
                    <a:pt x="39" y="46"/>
                    <a:pt x="39" y="54"/>
                  </a:cubicBezTo>
                  <a:cubicBezTo>
                    <a:pt x="39" y="67"/>
                    <a:pt x="39" y="67"/>
                    <a:pt x="39" y="67"/>
                  </a:cubicBezTo>
                  <a:cubicBezTo>
                    <a:pt x="36" y="67"/>
                    <a:pt x="36" y="67"/>
                    <a:pt x="36" y="67"/>
                  </a:cubicBezTo>
                  <a:cubicBezTo>
                    <a:pt x="36" y="67"/>
                    <a:pt x="35" y="67"/>
                    <a:pt x="35" y="67"/>
                  </a:cubicBezTo>
                  <a:cubicBezTo>
                    <a:pt x="32" y="61"/>
                    <a:pt x="26" y="56"/>
                    <a:pt x="18" y="56"/>
                  </a:cubicBezTo>
                  <a:cubicBezTo>
                    <a:pt x="8" y="56"/>
                    <a:pt x="0" y="64"/>
                    <a:pt x="0" y="74"/>
                  </a:cubicBezTo>
                  <a:cubicBezTo>
                    <a:pt x="0" y="84"/>
                    <a:pt x="8" y="92"/>
                    <a:pt x="18" y="92"/>
                  </a:cubicBezTo>
                  <a:cubicBezTo>
                    <a:pt x="25" y="92"/>
                    <a:pt x="31" y="88"/>
                    <a:pt x="34" y="83"/>
                  </a:cubicBezTo>
                  <a:cubicBezTo>
                    <a:pt x="34" y="83"/>
                    <a:pt x="35" y="84"/>
                    <a:pt x="36" y="84"/>
                  </a:cubicBezTo>
                  <a:cubicBezTo>
                    <a:pt x="39" y="84"/>
                    <a:pt x="39" y="84"/>
                    <a:pt x="39" y="84"/>
                  </a:cubicBezTo>
                  <a:cubicBezTo>
                    <a:pt x="39" y="101"/>
                    <a:pt x="39" y="101"/>
                    <a:pt x="39" y="101"/>
                  </a:cubicBezTo>
                  <a:cubicBezTo>
                    <a:pt x="39" y="110"/>
                    <a:pt x="46" y="117"/>
                    <a:pt x="54" y="117"/>
                  </a:cubicBezTo>
                  <a:cubicBezTo>
                    <a:pt x="58" y="117"/>
                    <a:pt x="58" y="117"/>
                    <a:pt x="58" y="117"/>
                  </a:cubicBezTo>
                  <a:cubicBezTo>
                    <a:pt x="56" y="113"/>
                    <a:pt x="54" y="109"/>
                    <a:pt x="54" y="104"/>
                  </a:cubicBezTo>
                  <a:cubicBezTo>
                    <a:pt x="54" y="93"/>
                    <a:pt x="64" y="83"/>
                    <a:pt x="75" y="83"/>
                  </a:cubicBezTo>
                  <a:cubicBezTo>
                    <a:pt x="87" y="83"/>
                    <a:pt x="97" y="93"/>
                    <a:pt x="97" y="104"/>
                  </a:cubicBezTo>
                  <a:cubicBezTo>
                    <a:pt x="97" y="109"/>
                    <a:pt x="95" y="113"/>
                    <a:pt x="93" y="117"/>
                  </a:cubicBezTo>
                  <a:cubicBezTo>
                    <a:pt x="119" y="117"/>
                    <a:pt x="119" y="117"/>
                    <a:pt x="119" y="117"/>
                  </a:cubicBezTo>
                  <a:cubicBezTo>
                    <a:pt x="128" y="117"/>
                    <a:pt x="135" y="110"/>
                    <a:pt x="135" y="101"/>
                  </a:cubicBezTo>
                  <a:cubicBezTo>
                    <a:pt x="135" y="54"/>
                    <a:pt x="135" y="54"/>
                    <a:pt x="135" y="54"/>
                  </a:cubicBezTo>
                  <a:cubicBezTo>
                    <a:pt x="135" y="46"/>
                    <a:pt x="128" y="39"/>
                    <a:pt x="119" y="39"/>
                  </a:cubicBezTo>
                  <a:close/>
                </a:path>
              </a:pathLst>
            </a:custGeom>
            <a:noFill/>
            <a:ln w="9525" cap="rnd">
              <a:solidFill>
                <a:schemeClr val="accent2"/>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endParaRPr>
            </a:p>
          </p:txBody>
        </p:sp>
      </p:grpSp>
      <p:pic>
        <p:nvPicPr>
          <p:cNvPr id="98" name="Picture 97">
            <a:extLst>
              <a:ext uri="{FF2B5EF4-FFF2-40B4-BE49-F238E27FC236}">
                <a16:creationId xmlns:a16="http://schemas.microsoft.com/office/drawing/2014/main" id="{2CDFA545-FDE0-4D4A-999A-86CE3246A7D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51073" y="5998944"/>
            <a:ext cx="304938" cy="300925"/>
          </a:xfrm>
          <a:prstGeom prst="rect">
            <a:avLst/>
          </a:prstGeom>
        </p:spPr>
      </p:pic>
      <p:pic>
        <p:nvPicPr>
          <p:cNvPr id="99" name="Picture 98">
            <a:extLst>
              <a:ext uri="{FF2B5EF4-FFF2-40B4-BE49-F238E27FC236}">
                <a16:creationId xmlns:a16="http://schemas.microsoft.com/office/drawing/2014/main" id="{1911EEDF-21D1-42C7-B603-B0C938EF0DC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22276" y="5966739"/>
            <a:ext cx="379880" cy="300925"/>
          </a:xfrm>
          <a:prstGeom prst="rect">
            <a:avLst/>
          </a:prstGeom>
        </p:spPr>
      </p:pic>
      <p:pic>
        <p:nvPicPr>
          <p:cNvPr id="100" name="Picture 99">
            <a:extLst>
              <a:ext uri="{FF2B5EF4-FFF2-40B4-BE49-F238E27FC236}">
                <a16:creationId xmlns:a16="http://schemas.microsoft.com/office/drawing/2014/main" id="{C519ABFF-C0E0-4934-A1A7-D08F29C9F8D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22258" y="6021917"/>
            <a:ext cx="365560" cy="290573"/>
          </a:xfrm>
          <a:prstGeom prst="rect">
            <a:avLst/>
          </a:prstGeom>
        </p:spPr>
      </p:pic>
      <p:grpSp>
        <p:nvGrpSpPr>
          <p:cNvPr id="101" name="Groupe 565">
            <a:extLst>
              <a:ext uri="{FF2B5EF4-FFF2-40B4-BE49-F238E27FC236}">
                <a16:creationId xmlns:a16="http://schemas.microsoft.com/office/drawing/2014/main" id="{9C1C9386-2498-4251-A7D6-ED6269E1D730}"/>
              </a:ext>
            </a:extLst>
          </p:cNvPr>
          <p:cNvGrpSpPr/>
          <p:nvPr/>
        </p:nvGrpSpPr>
        <p:grpSpPr>
          <a:xfrm>
            <a:off x="5656577" y="5990953"/>
            <a:ext cx="293675" cy="290483"/>
            <a:chOff x="2373314" y="950913"/>
            <a:chExt cx="292100" cy="288925"/>
          </a:xfrm>
        </p:grpSpPr>
        <p:sp>
          <p:nvSpPr>
            <p:cNvPr id="102" name="Freeform 119">
              <a:extLst>
                <a:ext uri="{FF2B5EF4-FFF2-40B4-BE49-F238E27FC236}">
                  <a16:creationId xmlns:a16="http://schemas.microsoft.com/office/drawing/2014/main" id="{4AC48DB7-8654-4869-88B4-E3E074C38140}"/>
                </a:ext>
              </a:extLst>
            </p:cNvPr>
            <p:cNvSpPr>
              <a:spLocks/>
            </p:cNvSpPr>
            <p:nvPr/>
          </p:nvSpPr>
          <p:spPr bwMode="auto">
            <a:xfrm>
              <a:off x="2373314" y="950913"/>
              <a:ext cx="292100" cy="288925"/>
            </a:xfrm>
            <a:custGeom>
              <a:avLst/>
              <a:gdLst/>
              <a:ahLst/>
              <a:cxnLst>
                <a:cxn ang="0">
                  <a:pos x="113" y="69"/>
                </a:cxn>
                <a:cxn ang="0">
                  <a:pos x="118" y="68"/>
                </a:cxn>
                <a:cxn ang="0">
                  <a:pos x="136" y="75"/>
                </a:cxn>
                <a:cxn ang="0">
                  <a:pos x="133" y="56"/>
                </a:cxn>
                <a:cxn ang="0">
                  <a:pos x="151" y="50"/>
                </a:cxn>
                <a:cxn ang="0">
                  <a:pos x="137" y="38"/>
                </a:cxn>
                <a:cxn ang="0">
                  <a:pos x="147" y="22"/>
                </a:cxn>
                <a:cxn ang="0">
                  <a:pos x="128" y="21"/>
                </a:cxn>
                <a:cxn ang="0">
                  <a:pos x="126" y="3"/>
                </a:cxn>
                <a:cxn ang="0">
                  <a:pos x="111" y="14"/>
                </a:cxn>
                <a:cxn ang="0">
                  <a:pos x="97" y="1"/>
                </a:cxn>
                <a:cxn ang="0">
                  <a:pos x="93" y="20"/>
                </a:cxn>
                <a:cxn ang="0">
                  <a:pos x="74" y="19"/>
                </a:cxn>
                <a:cxn ang="0">
                  <a:pos x="83" y="36"/>
                </a:cxn>
                <a:cxn ang="0">
                  <a:pos x="68" y="47"/>
                </a:cxn>
                <a:cxn ang="0">
                  <a:pos x="85" y="54"/>
                </a:cxn>
                <a:cxn ang="0">
                  <a:pos x="80" y="72"/>
                </a:cxn>
                <a:cxn ang="0">
                  <a:pos x="99" y="75"/>
                </a:cxn>
                <a:cxn ang="0">
                  <a:pos x="89" y="90"/>
                </a:cxn>
                <a:cxn ang="0">
                  <a:pos x="104" y="101"/>
                </a:cxn>
                <a:cxn ang="0">
                  <a:pos x="87" y="110"/>
                </a:cxn>
                <a:cxn ang="0">
                  <a:pos x="95" y="126"/>
                </a:cxn>
                <a:cxn ang="0">
                  <a:pos x="76" y="126"/>
                </a:cxn>
                <a:cxn ang="0">
                  <a:pos x="74" y="144"/>
                </a:cxn>
                <a:cxn ang="0">
                  <a:pos x="58" y="134"/>
                </a:cxn>
                <a:cxn ang="0">
                  <a:pos x="47" y="149"/>
                </a:cxn>
                <a:cxn ang="0">
                  <a:pos x="39" y="132"/>
                </a:cxn>
                <a:cxn ang="0">
                  <a:pos x="22" y="140"/>
                </a:cxn>
                <a:cxn ang="0">
                  <a:pos x="23" y="121"/>
                </a:cxn>
                <a:cxn ang="0">
                  <a:pos x="5" y="119"/>
                </a:cxn>
                <a:cxn ang="0">
                  <a:pos x="15" y="104"/>
                </a:cxn>
                <a:cxn ang="0">
                  <a:pos x="0" y="93"/>
                </a:cxn>
                <a:cxn ang="0">
                  <a:pos x="16" y="84"/>
                </a:cxn>
                <a:cxn ang="0">
                  <a:pos x="9" y="67"/>
                </a:cxn>
                <a:cxn ang="0">
                  <a:pos x="27" y="68"/>
                </a:cxn>
                <a:cxn ang="0">
                  <a:pos x="29" y="50"/>
                </a:cxn>
                <a:cxn ang="0">
                  <a:pos x="45" y="60"/>
                </a:cxn>
                <a:cxn ang="0">
                  <a:pos x="56" y="45"/>
                </a:cxn>
                <a:cxn ang="0">
                  <a:pos x="64" y="61"/>
                </a:cxn>
              </a:cxnLst>
              <a:rect l="0" t="0" r="r" b="b"/>
              <a:pathLst>
                <a:path w="151" h="149">
                  <a:moveTo>
                    <a:pt x="108" y="84"/>
                  </a:moveTo>
                  <a:cubicBezTo>
                    <a:pt x="113" y="69"/>
                    <a:pt x="113" y="69"/>
                    <a:pt x="113" y="69"/>
                  </a:cubicBezTo>
                  <a:cubicBezTo>
                    <a:pt x="114" y="69"/>
                    <a:pt x="115" y="69"/>
                    <a:pt x="116" y="68"/>
                  </a:cubicBezTo>
                  <a:cubicBezTo>
                    <a:pt x="116" y="68"/>
                    <a:pt x="117" y="68"/>
                    <a:pt x="118" y="68"/>
                  </a:cubicBezTo>
                  <a:cubicBezTo>
                    <a:pt x="129" y="79"/>
                    <a:pt x="129" y="79"/>
                    <a:pt x="129" y="79"/>
                  </a:cubicBezTo>
                  <a:cubicBezTo>
                    <a:pt x="136" y="75"/>
                    <a:pt x="136" y="75"/>
                    <a:pt x="136" y="75"/>
                  </a:cubicBezTo>
                  <a:cubicBezTo>
                    <a:pt x="130" y="60"/>
                    <a:pt x="130" y="60"/>
                    <a:pt x="130" y="60"/>
                  </a:cubicBezTo>
                  <a:cubicBezTo>
                    <a:pt x="131" y="59"/>
                    <a:pt x="132" y="58"/>
                    <a:pt x="133" y="56"/>
                  </a:cubicBezTo>
                  <a:cubicBezTo>
                    <a:pt x="148" y="58"/>
                    <a:pt x="148" y="58"/>
                    <a:pt x="148" y="58"/>
                  </a:cubicBezTo>
                  <a:cubicBezTo>
                    <a:pt x="151" y="50"/>
                    <a:pt x="151" y="50"/>
                    <a:pt x="151" y="50"/>
                  </a:cubicBezTo>
                  <a:cubicBezTo>
                    <a:pt x="137" y="43"/>
                    <a:pt x="137" y="43"/>
                    <a:pt x="137" y="43"/>
                  </a:cubicBezTo>
                  <a:cubicBezTo>
                    <a:pt x="137" y="41"/>
                    <a:pt x="137" y="40"/>
                    <a:pt x="137" y="38"/>
                  </a:cubicBezTo>
                  <a:cubicBezTo>
                    <a:pt x="150" y="30"/>
                    <a:pt x="150" y="30"/>
                    <a:pt x="150" y="30"/>
                  </a:cubicBezTo>
                  <a:cubicBezTo>
                    <a:pt x="147" y="22"/>
                    <a:pt x="147" y="22"/>
                    <a:pt x="147" y="22"/>
                  </a:cubicBezTo>
                  <a:cubicBezTo>
                    <a:pt x="132" y="25"/>
                    <a:pt x="132" y="25"/>
                    <a:pt x="132" y="25"/>
                  </a:cubicBezTo>
                  <a:cubicBezTo>
                    <a:pt x="131" y="24"/>
                    <a:pt x="130" y="23"/>
                    <a:pt x="128" y="21"/>
                  </a:cubicBezTo>
                  <a:cubicBezTo>
                    <a:pt x="133" y="6"/>
                    <a:pt x="133" y="6"/>
                    <a:pt x="133" y="6"/>
                  </a:cubicBezTo>
                  <a:cubicBezTo>
                    <a:pt x="126" y="3"/>
                    <a:pt x="126" y="3"/>
                    <a:pt x="126" y="3"/>
                  </a:cubicBezTo>
                  <a:cubicBezTo>
                    <a:pt x="116" y="15"/>
                    <a:pt x="116" y="15"/>
                    <a:pt x="116" y="15"/>
                  </a:cubicBezTo>
                  <a:cubicBezTo>
                    <a:pt x="114" y="14"/>
                    <a:pt x="113" y="14"/>
                    <a:pt x="111" y="14"/>
                  </a:cubicBezTo>
                  <a:cubicBezTo>
                    <a:pt x="105" y="0"/>
                    <a:pt x="105" y="0"/>
                    <a:pt x="105" y="0"/>
                  </a:cubicBezTo>
                  <a:cubicBezTo>
                    <a:pt x="97" y="1"/>
                    <a:pt x="97" y="1"/>
                    <a:pt x="97" y="1"/>
                  </a:cubicBezTo>
                  <a:cubicBezTo>
                    <a:pt x="97" y="17"/>
                    <a:pt x="97" y="17"/>
                    <a:pt x="97" y="17"/>
                  </a:cubicBezTo>
                  <a:cubicBezTo>
                    <a:pt x="96" y="18"/>
                    <a:pt x="94" y="19"/>
                    <a:pt x="93" y="20"/>
                  </a:cubicBezTo>
                  <a:cubicBezTo>
                    <a:pt x="79" y="13"/>
                    <a:pt x="79" y="13"/>
                    <a:pt x="79" y="13"/>
                  </a:cubicBezTo>
                  <a:cubicBezTo>
                    <a:pt x="74" y="19"/>
                    <a:pt x="74" y="19"/>
                    <a:pt x="74" y="19"/>
                  </a:cubicBezTo>
                  <a:cubicBezTo>
                    <a:pt x="85" y="31"/>
                    <a:pt x="85" y="31"/>
                    <a:pt x="85" y="31"/>
                  </a:cubicBezTo>
                  <a:cubicBezTo>
                    <a:pt x="84" y="32"/>
                    <a:pt x="83" y="34"/>
                    <a:pt x="83" y="36"/>
                  </a:cubicBezTo>
                  <a:cubicBezTo>
                    <a:pt x="68" y="39"/>
                    <a:pt x="68" y="39"/>
                    <a:pt x="68" y="39"/>
                  </a:cubicBezTo>
                  <a:cubicBezTo>
                    <a:pt x="68" y="47"/>
                    <a:pt x="68" y="47"/>
                    <a:pt x="68" y="47"/>
                  </a:cubicBezTo>
                  <a:cubicBezTo>
                    <a:pt x="84" y="49"/>
                    <a:pt x="84" y="49"/>
                    <a:pt x="84" y="49"/>
                  </a:cubicBezTo>
                  <a:cubicBezTo>
                    <a:pt x="84" y="51"/>
                    <a:pt x="85" y="53"/>
                    <a:pt x="85" y="54"/>
                  </a:cubicBezTo>
                  <a:cubicBezTo>
                    <a:pt x="77" y="67"/>
                    <a:pt x="77" y="67"/>
                    <a:pt x="77" y="67"/>
                  </a:cubicBezTo>
                  <a:cubicBezTo>
                    <a:pt x="80" y="72"/>
                    <a:pt x="80" y="72"/>
                    <a:pt x="80" y="72"/>
                  </a:cubicBezTo>
                  <a:cubicBezTo>
                    <a:pt x="95" y="67"/>
                    <a:pt x="95" y="67"/>
                    <a:pt x="95" y="67"/>
                  </a:cubicBezTo>
                  <a:cubicBezTo>
                    <a:pt x="99" y="75"/>
                    <a:pt x="99" y="75"/>
                    <a:pt x="99" y="75"/>
                  </a:cubicBezTo>
                  <a:cubicBezTo>
                    <a:pt x="87" y="84"/>
                    <a:pt x="87" y="84"/>
                    <a:pt x="87" y="84"/>
                  </a:cubicBezTo>
                  <a:cubicBezTo>
                    <a:pt x="88" y="86"/>
                    <a:pt x="88" y="88"/>
                    <a:pt x="89" y="90"/>
                  </a:cubicBezTo>
                  <a:cubicBezTo>
                    <a:pt x="104" y="93"/>
                    <a:pt x="104" y="93"/>
                    <a:pt x="104" y="93"/>
                  </a:cubicBezTo>
                  <a:cubicBezTo>
                    <a:pt x="104" y="101"/>
                    <a:pt x="104" y="101"/>
                    <a:pt x="104" y="101"/>
                  </a:cubicBezTo>
                  <a:cubicBezTo>
                    <a:pt x="89" y="104"/>
                    <a:pt x="89" y="104"/>
                    <a:pt x="89" y="104"/>
                  </a:cubicBezTo>
                  <a:cubicBezTo>
                    <a:pt x="88" y="106"/>
                    <a:pt x="88" y="108"/>
                    <a:pt x="87" y="110"/>
                  </a:cubicBezTo>
                  <a:cubicBezTo>
                    <a:pt x="99" y="119"/>
                    <a:pt x="99" y="119"/>
                    <a:pt x="99" y="119"/>
                  </a:cubicBezTo>
                  <a:cubicBezTo>
                    <a:pt x="95" y="126"/>
                    <a:pt x="95" y="126"/>
                    <a:pt x="95" y="126"/>
                  </a:cubicBezTo>
                  <a:cubicBezTo>
                    <a:pt x="80" y="121"/>
                    <a:pt x="80" y="121"/>
                    <a:pt x="80" y="121"/>
                  </a:cubicBezTo>
                  <a:cubicBezTo>
                    <a:pt x="79" y="123"/>
                    <a:pt x="78" y="124"/>
                    <a:pt x="76" y="126"/>
                  </a:cubicBezTo>
                  <a:cubicBezTo>
                    <a:pt x="81" y="140"/>
                    <a:pt x="81" y="140"/>
                    <a:pt x="81" y="140"/>
                  </a:cubicBezTo>
                  <a:cubicBezTo>
                    <a:pt x="74" y="144"/>
                    <a:pt x="74" y="144"/>
                    <a:pt x="74" y="144"/>
                  </a:cubicBezTo>
                  <a:cubicBezTo>
                    <a:pt x="64" y="132"/>
                    <a:pt x="64" y="132"/>
                    <a:pt x="64" y="132"/>
                  </a:cubicBezTo>
                  <a:cubicBezTo>
                    <a:pt x="62" y="133"/>
                    <a:pt x="60" y="134"/>
                    <a:pt x="58" y="134"/>
                  </a:cubicBezTo>
                  <a:cubicBezTo>
                    <a:pt x="56" y="149"/>
                    <a:pt x="56" y="149"/>
                    <a:pt x="56" y="149"/>
                  </a:cubicBezTo>
                  <a:cubicBezTo>
                    <a:pt x="47" y="149"/>
                    <a:pt x="47" y="149"/>
                    <a:pt x="47" y="149"/>
                  </a:cubicBezTo>
                  <a:cubicBezTo>
                    <a:pt x="45" y="134"/>
                    <a:pt x="45" y="134"/>
                    <a:pt x="45" y="134"/>
                  </a:cubicBezTo>
                  <a:cubicBezTo>
                    <a:pt x="43" y="134"/>
                    <a:pt x="41" y="133"/>
                    <a:pt x="39" y="132"/>
                  </a:cubicBezTo>
                  <a:cubicBezTo>
                    <a:pt x="29" y="144"/>
                    <a:pt x="29" y="144"/>
                    <a:pt x="29" y="144"/>
                  </a:cubicBezTo>
                  <a:cubicBezTo>
                    <a:pt x="22" y="140"/>
                    <a:pt x="22" y="140"/>
                    <a:pt x="22" y="140"/>
                  </a:cubicBezTo>
                  <a:cubicBezTo>
                    <a:pt x="27" y="126"/>
                    <a:pt x="27" y="126"/>
                    <a:pt x="27" y="126"/>
                  </a:cubicBezTo>
                  <a:cubicBezTo>
                    <a:pt x="26" y="124"/>
                    <a:pt x="24" y="123"/>
                    <a:pt x="23" y="121"/>
                  </a:cubicBezTo>
                  <a:cubicBezTo>
                    <a:pt x="9" y="126"/>
                    <a:pt x="9" y="126"/>
                    <a:pt x="9" y="126"/>
                  </a:cubicBezTo>
                  <a:cubicBezTo>
                    <a:pt x="5" y="119"/>
                    <a:pt x="5" y="119"/>
                    <a:pt x="5" y="119"/>
                  </a:cubicBezTo>
                  <a:cubicBezTo>
                    <a:pt x="16" y="110"/>
                    <a:pt x="16" y="110"/>
                    <a:pt x="16" y="110"/>
                  </a:cubicBezTo>
                  <a:cubicBezTo>
                    <a:pt x="15" y="108"/>
                    <a:pt x="15" y="106"/>
                    <a:pt x="15" y="104"/>
                  </a:cubicBezTo>
                  <a:cubicBezTo>
                    <a:pt x="0" y="101"/>
                    <a:pt x="0" y="101"/>
                    <a:pt x="0" y="101"/>
                  </a:cubicBezTo>
                  <a:cubicBezTo>
                    <a:pt x="0" y="93"/>
                    <a:pt x="0" y="93"/>
                    <a:pt x="0" y="93"/>
                  </a:cubicBezTo>
                  <a:cubicBezTo>
                    <a:pt x="15" y="90"/>
                    <a:pt x="15" y="90"/>
                    <a:pt x="15" y="90"/>
                  </a:cubicBezTo>
                  <a:cubicBezTo>
                    <a:pt x="15" y="88"/>
                    <a:pt x="15" y="86"/>
                    <a:pt x="16" y="84"/>
                  </a:cubicBezTo>
                  <a:cubicBezTo>
                    <a:pt x="5" y="75"/>
                    <a:pt x="5" y="75"/>
                    <a:pt x="5" y="75"/>
                  </a:cubicBezTo>
                  <a:cubicBezTo>
                    <a:pt x="9" y="67"/>
                    <a:pt x="9" y="67"/>
                    <a:pt x="9" y="67"/>
                  </a:cubicBezTo>
                  <a:cubicBezTo>
                    <a:pt x="23" y="72"/>
                    <a:pt x="23" y="72"/>
                    <a:pt x="23" y="72"/>
                  </a:cubicBezTo>
                  <a:cubicBezTo>
                    <a:pt x="24" y="71"/>
                    <a:pt x="26" y="69"/>
                    <a:pt x="27" y="68"/>
                  </a:cubicBezTo>
                  <a:cubicBezTo>
                    <a:pt x="22" y="54"/>
                    <a:pt x="22" y="54"/>
                    <a:pt x="22" y="54"/>
                  </a:cubicBezTo>
                  <a:cubicBezTo>
                    <a:pt x="29" y="50"/>
                    <a:pt x="29" y="50"/>
                    <a:pt x="29" y="50"/>
                  </a:cubicBezTo>
                  <a:cubicBezTo>
                    <a:pt x="39" y="61"/>
                    <a:pt x="39" y="61"/>
                    <a:pt x="39" y="61"/>
                  </a:cubicBezTo>
                  <a:cubicBezTo>
                    <a:pt x="41" y="61"/>
                    <a:pt x="43" y="60"/>
                    <a:pt x="45" y="60"/>
                  </a:cubicBezTo>
                  <a:cubicBezTo>
                    <a:pt x="47" y="45"/>
                    <a:pt x="47" y="45"/>
                    <a:pt x="47" y="45"/>
                  </a:cubicBezTo>
                  <a:cubicBezTo>
                    <a:pt x="56" y="45"/>
                    <a:pt x="56" y="45"/>
                    <a:pt x="56" y="45"/>
                  </a:cubicBezTo>
                  <a:cubicBezTo>
                    <a:pt x="58" y="60"/>
                    <a:pt x="58" y="60"/>
                    <a:pt x="58" y="60"/>
                  </a:cubicBezTo>
                  <a:cubicBezTo>
                    <a:pt x="60" y="60"/>
                    <a:pt x="62" y="61"/>
                    <a:pt x="64" y="61"/>
                  </a:cubicBezTo>
                </a:path>
              </a:pathLst>
            </a:custGeom>
            <a:noFill/>
            <a:ln w="9525"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cs typeface="Arial" pitchFamily="34" charset="0"/>
              </a:endParaRPr>
            </a:p>
          </p:txBody>
        </p:sp>
        <p:sp>
          <p:nvSpPr>
            <p:cNvPr id="103" name="Oval 120">
              <a:extLst>
                <a:ext uri="{FF2B5EF4-FFF2-40B4-BE49-F238E27FC236}">
                  <a16:creationId xmlns:a16="http://schemas.microsoft.com/office/drawing/2014/main" id="{B39B9DC4-18BF-49B2-84D0-0DFD80908C5B}"/>
                </a:ext>
              </a:extLst>
            </p:cNvPr>
            <p:cNvSpPr>
              <a:spLocks noChangeArrowheads="1"/>
            </p:cNvSpPr>
            <p:nvPr/>
          </p:nvSpPr>
          <p:spPr bwMode="auto">
            <a:xfrm>
              <a:off x="2444751" y="1109663"/>
              <a:ext cx="57150" cy="58738"/>
            </a:xfrm>
            <a:prstGeom prst="ellipse">
              <a:avLst/>
            </a:prstGeom>
            <a:noFill/>
            <a:ln w="9525"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cs typeface="Arial" pitchFamily="34" charset="0"/>
              </a:endParaRPr>
            </a:p>
          </p:txBody>
        </p:sp>
        <p:sp>
          <p:nvSpPr>
            <p:cNvPr id="104" name="Oval 121">
              <a:extLst>
                <a:ext uri="{FF2B5EF4-FFF2-40B4-BE49-F238E27FC236}">
                  <a16:creationId xmlns:a16="http://schemas.microsoft.com/office/drawing/2014/main" id="{E58F6D5B-3239-4136-BE72-1A3BF76B9030}"/>
                </a:ext>
              </a:extLst>
            </p:cNvPr>
            <p:cNvSpPr>
              <a:spLocks noChangeArrowheads="1"/>
            </p:cNvSpPr>
            <p:nvPr/>
          </p:nvSpPr>
          <p:spPr bwMode="auto">
            <a:xfrm>
              <a:off x="2559051" y="1004888"/>
              <a:ext cx="52388" cy="52388"/>
            </a:xfrm>
            <a:prstGeom prst="ellipse">
              <a:avLst/>
            </a:prstGeom>
            <a:noFill/>
            <a:ln w="9525" cap="rnd">
              <a:solidFill>
                <a:schemeClr val="tx1"/>
              </a:solidFill>
              <a:prstDash val="solid"/>
              <a:round/>
              <a:headEnd/>
              <a:tailEnd/>
            </a:ln>
          </p:spPr>
          <p:txBody>
            <a:bodyPr vert="horz" wrap="square" lIns="109728" tIns="54864" rIns="109728" bIns="54864" numCol="1" anchor="t" anchorCtr="0" compatLnSpc="1">
              <a:prstTxWarp prst="textNoShape">
                <a:avLst/>
              </a:prstTxWarp>
            </a:bodyPr>
            <a:lstStyle/>
            <a:p>
              <a:pPr defTabSz="548640">
                <a:defRPr/>
              </a:pPr>
              <a:endParaRPr lang="en-GB" sz="840">
                <a:solidFill>
                  <a:srgbClr val="1F6898"/>
                </a:solidFill>
                <a:latin typeface="Avenir Next LT Pro Demi"/>
                <a:cs typeface="Arial" pitchFamily="34" charset="0"/>
              </a:endParaRPr>
            </a:p>
          </p:txBody>
        </p:sp>
      </p:grpSp>
      <p:pic>
        <p:nvPicPr>
          <p:cNvPr id="105" name="Picture 104">
            <a:extLst>
              <a:ext uri="{FF2B5EF4-FFF2-40B4-BE49-F238E27FC236}">
                <a16:creationId xmlns:a16="http://schemas.microsoft.com/office/drawing/2014/main" id="{3AFE86BA-FAAF-4681-80CC-D1065BED959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54064" y="5979220"/>
            <a:ext cx="380971" cy="275960"/>
          </a:xfrm>
          <a:prstGeom prst="rect">
            <a:avLst/>
          </a:prstGeom>
        </p:spPr>
      </p:pic>
      <p:sp>
        <p:nvSpPr>
          <p:cNvPr id="107" name="TextBox 106">
            <a:extLst>
              <a:ext uri="{FF2B5EF4-FFF2-40B4-BE49-F238E27FC236}">
                <a16:creationId xmlns:a16="http://schemas.microsoft.com/office/drawing/2014/main" id="{1C019D75-80EA-487A-B923-C2DA02C3D3CF}"/>
              </a:ext>
            </a:extLst>
          </p:cNvPr>
          <p:cNvSpPr txBox="1"/>
          <p:nvPr/>
        </p:nvSpPr>
        <p:spPr>
          <a:xfrm>
            <a:off x="3641588" y="2403910"/>
            <a:ext cx="2329631" cy="2529923"/>
          </a:xfrm>
          <a:prstGeom prst="rect">
            <a:avLst/>
          </a:prstGeom>
          <a:noFill/>
        </p:spPr>
        <p:txBody>
          <a:bodyPr wrap="square">
            <a:spAutoFit/>
          </a:bodyPr>
          <a:lstStyle/>
          <a:p>
            <a:pPr algn="l"/>
            <a:r>
              <a:rPr lang="en-US" sz="720" b="1">
                <a:solidFill>
                  <a:srgbClr val="242424"/>
                </a:solidFill>
                <a:latin typeface="+mn-lt"/>
              </a:rPr>
              <a:t>Consulting: </a:t>
            </a:r>
            <a:r>
              <a:rPr lang="en-US" sz="720">
                <a:solidFill>
                  <a:srgbClr val="242424"/>
                </a:solidFill>
                <a:latin typeface="+mn-lt"/>
              </a:rPr>
              <a:t>Need help with starting up and scaling up</a:t>
            </a:r>
          </a:p>
          <a:p>
            <a:pPr algn="l"/>
            <a:endParaRPr lang="en-US" sz="720">
              <a:solidFill>
                <a:srgbClr val="242424"/>
              </a:solidFill>
              <a:latin typeface="+mn-lt"/>
            </a:endParaRPr>
          </a:p>
          <a:p>
            <a:pPr algn="l"/>
            <a:r>
              <a:rPr lang="en-US" sz="720" b="1">
                <a:solidFill>
                  <a:srgbClr val="242424"/>
                </a:solidFill>
                <a:latin typeface="+mn-lt"/>
              </a:rPr>
              <a:t>Monitoring EQ</a:t>
            </a:r>
            <a:r>
              <a:rPr lang="en-US" sz="720">
                <a:solidFill>
                  <a:srgbClr val="242424"/>
                </a:solidFill>
                <a:latin typeface="+mn-lt"/>
              </a:rPr>
              <a:t>: Moving towards increasing compliance requirements (part 11), which improves our likelihood with clients that has not yet purchased a validated monitoring system</a:t>
            </a:r>
          </a:p>
          <a:p>
            <a:pPr algn="l"/>
            <a:endParaRPr lang="en-US" sz="720">
              <a:solidFill>
                <a:srgbClr val="242424"/>
              </a:solidFill>
              <a:latin typeface="+mn-lt"/>
            </a:endParaRPr>
          </a:p>
          <a:p>
            <a:pPr algn="l"/>
            <a:r>
              <a:rPr lang="en-US" sz="720" b="1">
                <a:solidFill>
                  <a:srgbClr val="242424"/>
                </a:solidFill>
                <a:latin typeface="+mn-lt"/>
              </a:rPr>
              <a:t>Field Calibration</a:t>
            </a:r>
            <a:r>
              <a:rPr lang="en-US" sz="720">
                <a:solidFill>
                  <a:srgbClr val="242424"/>
                </a:solidFill>
                <a:latin typeface="+mn-lt"/>
              </a:rPr>
              <a:t>: If they are going to monitor, then they will likely calibrate</a:t>
            </a:r>
          </a:p>
          <a:p>
            <a:pPr algn="l"/>
            <a:endParaRPr lang="en-US" sz="720">
              <a:solidFill>
                <a:srgbClr val="242424"/>
              </a:solidFill>
              <a:latin typeface="+mn-lt"/>
            </a:endParaRPr>
          </a:p>
          <a:p>
            <a:pPr algn="l"/>
            <a:r>
              <a:rPr lang="en-US" sz="720" b="1">
                <a:solidFill>
                  <a:srgbClr val="242424"/>
                </a:solidFill>
                <a:latin typeface="+mn-lt"/>
              </a:rPr>
              <a:t>CQV: </a:t>
            </a:r>
            <a:r>
              <a:rPr lang="en-US" sz="720">
                <a:solidFill>
                  <a:srgbClr val="242424"/>
                </a:solidFill>
                <a:latin typeface="+mn-lt"/>
              </a:rPr>
              <a:t>They may not be qualifying at this point, but if they are, they typically do not have an internal team to do the work</a:t>
            </a:r>
          </a:p>
          <a:p>
            <a:pPr algn="l"/>
            <a:endParaRPr lang="en-US" sz="720">
              <a:solidFill>
                <a:srgbClr val="242424"/>
              </a:solidFill>
              <a:latin typeface="+mn-lt"/>
            </a:endParaRPr>
          </a:p>
          <a:p>
            <a:pPr algn="l"/>
            <a:r>
              <a:rPr lang="en-US" sz="720" b="1">
                <a:solidFill>
                  <a:srgbClr val="242424"/>
                </a:solidFill>
                <a:latin typeface="+mn-lt"/>
              </a:rPr>
              <a:t>Rental: </a:t>
            </a:r>
            <a:r>
              <a:rPr lang="en-US" sz="720">
                <a:solidFill>
                  <a:srgbClr val="242424"/>
                </a:solidFill>
                <a:latin typeface="+mn-lt"/>
              </a:rPr>
              <a:t>If they do have an internal team qualifying, they might have a need for renting equipment</a:t>
            </a:r>
          </a:p>
          <a:p>
            <a:pPr algn="l"/>
            <a:endParaRPr lang="en-US" sz="720">
              <a:solidFill>
                <a:srgbClr val="242424"/>
              </a:solidFill>
              <a:latin typeface="+mn-lt"/>
            </a:endParaRPr>
          </a:p>
          <a:p>
            <a:pPr algn="l"/>
            <a:r>
              <a:rPr lang="en-US" sz="720" b="1">
                <a:solidFill>
                  <a:srgbClr val="242424"/>
                </a:solidFill>
                <a:latin typeface="+mn-lt"/>
              </a:rPr>
              <a:t>Validation EQ: </a:t>
            </a:r>
            <a:r>
              <a:rPr lang="en-US" sz="720">
                <a:solidFill>
                  <a:srgbClr val="242424"/>
                </a:solidFill>
                <a:latin typeface="+mn-lt"/>
              </a:rPr>
              <a:t>Usually not ready to make the investment at this time, and usually not looking for a premier system if they are</a:t>
            </a:r>
            <a:endParaRPr lang="en-US" sz="720" b="1">
              <a:solidFill>
                <a:srgbClr val="242424"/>
              </a:solidFill>
              <a:latin typeface="+mn-lt"/>
            </a:endParaRPr>
          </a:p>
        </p:txBody>
      </p:sp>
      <p:sp>
        <p:nvSpPr>
          <p:cNvPr id="108" name="TextBox 107">
            <a:extLst>
              <a:ext uri="{FF2B5EF4-FFF2-40B4-BE49-F238E27FC236}">
                <a16:creationId xmlns:a16="http://schemas.microsoft.com/office/drawing/2014/main" id="{09F26CE0-F8FF-442B-887C-15512A1CEC5A}"/>
              </a:ext>
            </a:extLst>
          </p:cNvPr>
          <p:cNvSpPr txBox="1"/>
          <p:nvPr/>
        </p:nvSpPr>
        <p:spPr>
          <a:xfrm>
            <a:off x="6179125" y="2403910"/>
            <a:ext cx="2329631" cy="2529923"/>
          </a:xfrm>
          <a:prstGeom prst="rect">
            <a:avLst/>
          </a:prstGeom>
          <a:noFill/>
        </p:spPr>
        <p:txBody>
          <a:bodyPr wrap="square">
            <a:spAutoFit/>
          </a:bodyPr>
          <a:lstStyle/>
          <a:p>
            <a:pPr algn="l"/>
            <a:r>
              <a:rPr lang="en-US" sz="720" b="1" dirty="0">
                <a:solidFill>
                  <a:srgbClr val="242424"/>
                </a:solidFill>
                <a:latin typeface="+mn-lt"/>
              </a:rPr>
              <a:t>Consulting: TBD</a:t>
            </a:r>
          </a:p>
          <a:p>
            <a:pPr algn="l"/>
            <a:endParaRPr lang="en-US" sz="720" dirty="0">
              <a:solidFill>
                <a:srgbClr val="242424"/>
              </a:solidFill>
              <a:latin typeface="+mn-lt"/>
            </a:endParaRPr>
          </a:p>
          <a:p>
            <a:pPr algn="l"/>
            <a:r>
              <a:rPr lang="en-US" sz="720" b="1" dirty="0">
                <a:solidFill>
                  <a:srgbClr val="242424"/>
                </a:solidFill>
                <a:latin typeface="+mn-lt"/>
              </a:rPr>
              <a:t>Monitoring EQ</a:t>
            </a:r>
            <a:r>
              <a:rPr lang="en-US" sz="720" dirty="0">
                <a:solidFill>
                  <a:srgbClr val="242424"/>
                </a:solidFill>
                <a:latin typeface="+mn-lt"/>
              </a:rPr>
              <a:t>: Part 11 is now a firm requirement for data integrity and audit trails. Having robust validation documentation package is necessary. Potentially replacing chart recorders or competitor CMS at this stage.</a:t>
            </a:r>
          </a:p>
          <a:p>
            <a:pPr algn="l"/>
            <a:endParaRPr lang="en-US" sz="720" dirty="0">
              <a:solidFill>
                <a:srgbClr val="242424"/>
              </a:solidFill>
              <a:latin typeface="+mn-lt"/>
            </a:endParaRPr>
          </a:p>
          <a:p>
            <a:r>
              <a:rPr lang="en-US" sz="720" b="1" dirty="0">
                <a:solidFill>
                  <a:srgbClr val="242424"/>
                </a:solidFill>
                <a:latin typeface="+mn-lt"/>
              </a:rPr>
              <a:t>Field Calibration</a:t>
            </a:r>
            <a:r>
              <a:rPr lang="en-US" sz="720" dirty="0">
                <a:solidFill>
                  <a:srgbClr val="242424"/>
                </a:solidFill>
                <a:latin typeface="+mn-lt"/>
              </a:rPr>
              <a:t>: Their need will depend on how much variety of calibrations they would want us to perform</a:t>
            </a:r>
          </a:p>
          <a:p>
            <a:pPr algn="l"/>
            <a:endParaRPr lang="en-US" sz="720" dirty="0">
              <a:solidFill>
                <a:srgbClr val="242424"/>
              </a:solidFill>
              <a:latin typeface="+mn-lt"/>
            </a:endParaRPr>
          </a:p>
          <a:p>
            <a:r>
              <a:rPr lang="en-US" sz="720" b="1" dirty="0">
                <a:solidFill>
                  <a:srgbClr val="242424"/>
                </a:solidFill>
                <a:latin typeface="+mn-lt"/>
              </a:rPr>
              <a:t>CQV &amp; Rental: </a:t>
            </a:r>
            <a:r>
              <a:rPr lang="en-US" sz="720" dirty="0">
                <a:solidFill>
                  <a:srgbClr val="242424"/>
                </a:solidFill>
                <a:latin typeface="+mn-lt"/>
              </a:rPr>
              <a:t>This is when they are scaling up and will either get hourly support and rent equipment or utilize our turn-key support. If we can get in for both hourly staffing and rental equipment that is a double bonus</a:t>
            </a:r>
            <a:endParaRPr lang="en-US" sz="720" b="1" dirty="0">
              <a:solidFill>
                <a:srgbClr val="242424"/>
              </a:solidFill>
              <a:latin typeface="+mn-lt"/>
            </a:endParaRPr>
          </a:p>
          <a:p>
            <a:pPr algn="l"/>
            <a:endParaRPr lang="en-US" sz="720" dirty="0">
              <a:solidFill>
                <a:srgbClr val="242424"/>
              </a:solidFill>
              <a:latin typeface="+mn-lt"/>
            </a:endParaRPr>
          </a:p>
          <a:p>
            <a:pPr algn="l"/>
            <a:r>
              <a:rPr lang="en-US" sz="720" b="1" dirty="0">
                <a:solidFill>
                  <a:srgbClr val="242424"/>
                </a:solidFill>
                <a:latin typeface="+mn-lt"/>
              </a:rPr>
              <a:t>Validation EQ: </a:t>
            </a:r>
            <a:r>
              <a:rPr lang="en-US" sz="720" dirty="0">
                <a:solidFill>
                  <a:srgbClr val="242424"/>
                </a:solidFill>
                <a:latin typeface="+mn-lt"/>
              </a:rPr>
              <a:t>Now more likely willing to make an investment in equipment as they realize that mapping will be happening more frequently</a:t>
            </a:r>
            <a:endParaRPr lang="en-US" sz="720" b="1" dirty="0">
              <a:solidFill>
                <a:srgbClr val="242424"/>
              </a:solidFill>
              <a:latin typeface="+mn-lt"/>
            </a:endParaRPr>
          </a:p>
          <a:p>
            <a:pPr algn="l"/>
            <a:endParaRPr lang="en-US" sz="720" b="1" dirty="0">
              <a:solidFill>
                <a:srgbClr val="242424"/>
              </a:solidFill>
              <a:latin typeface="+mn-lt"/>
            </a:endParaRPr>
          </a:p>
        </p:txBody>
      </p:sp>
      <p:sp>
        <p:nvSpPr>
          <p:cNvPr id="113" name="TextBox 112">
            <a:extLst>
              <a:ext uri="{FF2B5EF4-FFF2-40B4-BE49-F238E27FC236}">
                <a16:creationId xmlns:a16="http://schemas.microsoft.com/office/drawing/2014/main" id="{B094CC5C-1BCE-4A09-B558-26F948729FE2}"/>
              </a:ext>
            </a:extLst>
          </p:cNvPr>
          <p:cNvSpPr txBox="1"/>
          <p:nvPr/>
        </p:nvSpPr>
        <p:spPr>
          <a:xfrm>
            <a:off x="8617285" y="2403909"/>
            <a:ext cx="2329631" cy="3305520"/>
          </a:xfrm>
          <a:prstGeom prst="rect">
            <a:avLst/>
          </a:prstGeom>
          <a:noFill/>
        </p:spPr>
        <p:txBody>
          <a:bodyPr wrap="square">
            <a:spAutoFit/>
          </a:bodyPr>
          <a:lstStyle/>
          <a:p>
            <a:pPr algn="l"/>
            <a:r>
              <a:rPr lang="en-US" sz="720" b="1" dirty="0">
                <a:solidFill>
                  <a:srgbClr val="242424"/>
                </a:solidFill>
                <a:latin typeface="+mn-lt"/>
              </a:rPr>
              <a:t>Consulting: TBD</a:t>
            </a:r>
          </a:p>
          <a:p>
            <a:pPr algn="l"/>
            <a:endParaRPr lang="en-US" sz="720" dirty="0">
              <a:solidFill>
                <a:srgbClr val="242424"/>
              </a:solidFill>
              <a:latin typeface="+mn-lt"/>
            </a:endParaRPr>
          </a:p>
          <a:p>
            <a:r>
              <a:rPr lang="en-US" sz="720" b="1" dirty="0">
                <a:solidFill>
                  <a:srgbClr val="242424"/>
                </a:solidFill>
                <a:latin typeface="+mn-lt"/>
              </a:rPr>
              <a:t>Monitoring EQ</a:t>
            </a:r>
            <a:r>
              <a:rPr lang="en-US" sz="720" dirty="0">
                <a:solidFill>
                  <a:srgbClr val="242424"/>
                </a:solidFill>
                <a:latin typeface="+mn-lt"/>
              </a:rPr>
              <a:t>: Now competing with other monitoring companies and building management systems (BMS). If they are utilizing BMS, we do have the opportunity to be the redundant system in place. </a:t>
            </a:r>
          </a:p>
          <a:p>
            <a:pPr algn="l"/>
            <a:endParaRPr lang="en-US" sz="720" dirty="0">
              <a:solidFill>
                <a:srgbClr val="242424"/>
              </a:solidFill>
              <a:latin typeface="+mn-lt"/>
            </a:endParaRPr>
          </a:p>
          <a:p>
            <a:r>
              <a:rPr lang="en-US" sz="720" b="1" dirty="0">
                <a:solidFill>
                  <a:srgbClr val="242424"/>
                </a:solidFill>
                <a:latin typeface="+mn-lt"/>
              </a:rPr>
              <a:t>Field Calibration</a:t>
            </a:r>
            <a:r>
              <a:rPr lang="en-US" sz="720" dirty="0">
                <a:solidFill>
                  <a:srgbClr val="242424"/>
                </a:solidFill>
                <a:latin typeface="+mn-lt"/>
              </a:rPr>
              <a:t>: At this point, larger companies are likely to be developing this capability in-house rather than outsource.  </a:t>
            </a:r>
          </a:p>
          <a:p>
            <a:endParaRPr lang="en-US" sz="720" dirty="0">
              <a:solidFill>
                <a:srgbClr val="242424"/>
              </a:solidFill>
              <a:latin typeface="+mn-lt"/>
            </a:endParaRPr>
          </a:p>
          <a:p>
            <a:r>
              <a:rPr lang="en-US" sz="720" dirty="0">
                <a:solidFill>
                  <a:srgbClr val="242424"/>
                </a:solidFill>
                <a:latin typeface="+mn-lt"/>
              </a:rPr>
              <a:t>Small and mid-size companies might still outsource this activity or have a calibration house that can do all their calibrations and perform the work separately from CQV</a:t>
            </a:r>
          </a:p>
          <a:p>
            <a:endParaRPr lang="en-US" sz="720" dirty="0">
              <a:solidFill>
                <a:srgbClr val="242424"/>
              </a:solidFill>
              <a:latin typeface="+mn-lt"/>
            </a:endParaRPr>
          </a:p>
          <a:p>
            <a:r>
              <a:rPr lang="en-US" sz="720" b="1" dirty="0">
                <a:solidFill>
                  <a:srgbClr val="242424"/>
                </a:solidFill>
                <a:latin typeface="+mn-lt"/>
              </a:rPr>
              <a:t>CQV: </a:t>
            </a:r>
            <a:r>
              <a:rPr lang="en-US" sz="720" dirty="0">
                <a:solidFill>
                  <a:srgbClr val="242424"/>
                </a:solidFill>
                <a:latin typeface="+mn-lt"/>
              </a:rPr>
              <a:t>The need for CQV support is more often utilized during larger projects to support the staff they likely have on-site. This often opens up more opportunities for hourly/staffing type roles in conjunction with turn-key support</a:t>
            </a:r>
          </a:p>
          <a:p>
            <a:endParaRPr lang="en-US" sz="720" b="1" dirty="0">
              <a:solidFill>
                <a:srgbClr val="242424"/>
              </a:solidFill>
              <a:latin typeface="+mn-lt"/>
            </a:endParaRPr>
          </a:p>
          <a:p>
            <a:r>
              <a:rPr lang="en-US" sz="720" b="1" dirty="0">
                <a:solidFill>
                  <a:srgbClr val="242424"/>
                </a:solidFill>
                <a:latin typeface="+mn-lt"/>
              </a:rPr>
              <a:t>Rental: </a:t>
            </a:r>
            <a:r>
              <a:rPr lang="en-US" sz="720" dirty="0">
                <a:solidFill>
                  <a:srgbClr val="242424"/>
                </a:solidFill>
                <a:latin typeface="+mn-lt"/>
              </a:rPr>
              <a:t>Client may decide to rent the equipment if they have adequate staffing</a:t>
            </a:r>
            <a:endParaRPr lang="en-US" sz="720" b="1" dirty="0">
              <a:solidFill>
                <a:srgbClr val="242424"/>
              </a:solidFill>
              <a:latin typeface="+mn-lt"/>
            </a:endParaRPr>
          </a:p>
          <a:p>
            <a:pPr algn="l"/>
            <a:endParaRPr lang="en-US" sz="720" dirty="0">
              <a:solidFill>
                <a:srgbClr val="242424"/>
              </a:solidFill>
              <a:latin typeface="+mn-lt"/>
            </a:endParaRPr>
          </a:p>
          <a:p>
            <a:pPr algn="l"/>
            <a:r>
              <a:rPr lang="en-US" sz="720" b="1" dirty="0">
                <a:solidFill>
                  <a:srgbClr val="242424"/>
                </a:solidFill>
                <a:latin typeface="+mn-lt"/>
              </a:rPr>
              <a:t>Validation EQ:</a:t>
            </a:r>
            <a:r>
              <a:rPr lang="en-US" sz="720" dirty="0">
                <a:solidFill>
                  <a:srgbClr val="242424"/>
                </a:solidFill>
                <a:latin typeface="+mn-lt"/>
              </a:rPr>
              <a:t> Now have more capital to make investments in the best equipment to support their processes</a:t>
            </a:r>
            <a:endParaRPr lang="en-US" sz="720" b="1" dirty="0">
              <a:solidFill>
                <a:srgbClr val="242424"/>
              </a:solidFill>
              <a:latin typeface="+mn-lt"/>
            </a:endParaRPr>
          </a:p>
        </p:txBody>
      </p:sp>
    </p:spTree>
    <p:extLst>
      <p:ext uri="{BB962C8B-B14F-4D97-AF65-F5344CB8AC3E}">
        <p14:creationId xmlns:p14="http://schemas.microsoft.com/office/powerpoint/2010/main" val="41928469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5D571A3A-C10F-D8B7-C3D9-47DC0DCAB5B0}"/>
              </a:ext>
            </a:extLst>
          </p:cNvPr>
          <p:cNvSpPr/>
          <p:nvPr/>
        </p:nvSpPr>
        <p:spPr>
          <a:xfrm>
            <a:off x="870857" y="-664099"/>
            <a:ext cx="13267495" cy="9255377"/>
          </a:xfrm>
          <a:prstGeom prst="ellipse">
            <a:avLst/>
          </a:prstGeom>
          <a:gradFill>
            <a:gsLst>
              <a:gs pos="77000">
                <a:schemeClr val="accent1">
                  <a:lumMod val="5000"/>
                  <a:lumOff val="95000"/>
                  <a:alpha val="0"/>
                </a:schemeClr>
              </a:gs>
              <a:gs pos="0">
                <a:schemeClr val="accent5"/>
              </a:gs>
            </a:gsLst>
            <a:path path="circle">
              <a:fillToRect l="50000" t="50000" r="50000" b="50000"/>
            </a:path>
          </a:gradFill>
          <a:ln>
            <a:noFill/>
          </a:ln>
          <a:effectLst>
            <a:softEdge rad="1270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A white train on a black background&#10;&#10;AI-generated content may be incorrect.">
            <a:extLst>
              <a:ext uri="{FF2B5EF4-FFF2-40B4-BE49-F238E27FC236}">
                <a16:creationId xmlns:a16="http://schemas.microsoft.com/office/drawing/2014/main" id="{9083B54C-2477-B8BE-4463-FA8C2CDA5519}"/>
              </a:ext>
            </a:extLst>
          </p:cNvPr>
          <p:cNvPicPr>
            <a:picLocks noChangeAspect="1"/>
          </p:cNvPicPr>
          <p:nvPr/>
        </p:nvPicPr>
        <p:blipFill>
          <a:blip r:embed="rId3"/>
          <a:stretch>
            <a:fillRect/>
          </a:stretch>
        </p:blipFill>
        <p:spPr>
          <a:xfrm>
            <a:off x="18255" y="-495300"/>
            <a:ext cx="12192000" cy="8128000"/>
          </a:xfrm>
          <a:prstGeom prst="rect">
            <a:avLst/>
          </a:prstGeom>
        </p:spPr>
      </p:pic>
      <p:sp>
        <p:nvSpPr>
          <p:cNvPr id="2" name="Title 1">
            <a:extLst>
              <a:ext uri="{FF2B5EF4-FFF2-40B4-BE49-F238E27FC236}">
                <a16:creationId xmlns:a16="http://schemas.microsoft.com/office/drawing/2014/main" id="{F22CC43F-6757-BCC3-5DC6-540B0F7EDFD6}"/>
              </a:ext>
            </a:extLst>
          </p:cNvPr>
          <p:cNvSpPr>
            <a:spLocks noGrp="1"/>
          </p:cNvSpPr>
          <p:nvPr>
            <p:ph type="title"/>
          </p:nvPr>
        </p:nvSpPr>
        <p:spPr>
          <a:xfrm>
            <a:off x="371474" y="4211638"/>
            <a:ext cx="11497038" cy="1198562"/>
          </a:xfrm>
          <a:noFill/>
        </p:spPr>
        <p:txBody>
          <a:bodyPr anchor="ctr"/>
          <a:lstStyle/>
          <a:p>
            <a:pPr>
              <a:lnSpc>
                <a:spcPct val="90000"/>
              </a:lnSpc>
              <a:spcBef>
                <a:spcPct val="0"/>
              </a:spcBef>
              <a:spcAft>
                <a:spcPct val="0"/>
              </a:spcAft>
            </a:pPr>
            <a:r>
              <a:rPr lang="sv-SE" sz="3840" dirty="0">
                <a:solidFill>
                  <a:schemeClr val="accent1"/>
                </a:solidFill>
              </a:rPr>
              <a:t>Future</a:t>
            </a:r>
            <a:r>
              <a:rPr lang="sv-SE" sz="3840" dirty="0"/>
              <a:t> </a:t>
            </a:r>
            <a:r>
              <a:rPr lang="sv-SE" sz="3840" dirty="0" err="1"/>
              <a:t>of</a:t>
            </a:r>
            <a:r>
              <a:rPr lang="sv-SE" sz="3840" dirty="0"/>
              <a:t> </a:t>
            </a:r>
            <a:br>
              <a:rPr lang="sv-SE" sz="3840" dirty="0"/>
            </a:br>
            <a:r>
              <a:rPr lang="sv-SE" sz="3840" dirty="0"/>
              <a:t>Ellab Sales</a:t>
            </a:r>
            <a:endParaRPr lang="en-SG" sz="3840" dirty="0"/>
          </a:p>
        </p:txBody>
      </p:sp>
    </p:spTree>
    <p:extLst>
      <p:ext uri="{BB962C8B-B14F-4D97-AF65-F5344CB8AC3E}">
        <p14:creationId xmlns:p14="http://schemas.microsoft.com/office/powerpoint/2010/main" val="40887361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1FC14CB-1FF8-D7B8-CDCB-B8FCB27E62F7}"/>
              </a:ext>
            </a:extLst>
          </p:cNvPr>
          <p:cNvSpPr>
            <a:spLocks noGrp="1"/>
          </p:cNvSpPr>
          <p:nvPr>
            <p:ph type="body" sz="half" idx="10"/>
          </p:nvPr>
        </p:nvSpPr>
        <p:spPr/>
        <p:txBody>
          <a:bodyPr/>
          <a:lstStyle/>
          <a:p>
            <a:endParaRPr lang="en-US"/>
          </a:p>
        </p:txBody>
      </p:sp>
      <p:sp>
        <p:nvSpPr>
          <p:cNvPr id="4" name="Text Placeholder 3">
            <a:extLst>
              <a:ext uri="{FF2B5EF4-FFF2-40B4-BE49-F238E27FC236}">
                <a16:creationId xmlns:a16="http://schemas.microsoft.com/office/drawing/2014/main" id="{6363EFE8-0892-8DC9-42CD-A28DB2C16BB0}"/>
              </a:ext>
            </a:extLst>
          </p:cNvPr>
          <p:cNvSpPr>
            <a:spLocks noGrp="1"/>
          </p:cNvSpPr>
          <p:nvPr>
            <p:ph type="body" sz="half" idx="2"/>
          </p:nvPr>
        </p:nvSpPr>
        <p:spPr/>
        <p:txBody>
          <a:bodyPr/>
          <a:lstStyle/>
          <a:p>
            <a:endParaRPr lang="en-US"/>
          </a:p>
        </p:txBody>
      </p:sp>
      <p:sp>
        <p:nvSpPr>
          <p:cNvPr id="8" name="Title 7">
            <a:extLst>
              <a:ext uri="{FF2B5EF4-FFF2-40B4-BE49-F238E27FC236}">
                <a16:creationId xmlns:a16="http://schemas.microsoft.com/office/drawing/2014/main" id="{D5FC0416-C121-5FCE-3280-CCE1F89CC67F}"/>
              </a:ext>
            </a:extLst>
          </p:cNvPr>
          <p:cNvSpPr>
            <a:spLocks noGrp="1"/>
          </p:cNvSpPr>
          <p:nvPr>
            <p:ph type="title"/>
          </p:nvPr>
        </p:nvSpPr>
        <p:spPr>
          <a:xfrm>
            <a:off x="359999" y="1728000"/>
            <a:ext cx="4248577" cy="551433"/>
          </a:xfrm>
        </p:spPr>
        <p:txBody>
          <a:bodyPr/>
          <a:lstStyle/>
          <a:p>
            <a:r>
              <a:rPr lang="en-GB" dirty="0"/>
              <a:t>Participant Intro</a:t>
            </a:r>
            <a:endParaRPr lang="en-DK" dirty="0"/>
          </a:p>
        </p:txBody>
      </p:sp>
    </p:spTree>
    <p:extLst>
      <p:ext uri="{BB962C8B-B14F-4D97-AF65-F5344CB8AC3E}">
        <p14:creationId xmlns:p14="http://schemas.microsoft.com/office/powerpoint/2010/main" val="24039928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87BBF7-694C-49B8-A966-5D6CB6D94B51}"/>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8E87BBF7-694C-49B8-A966-5D6CB6D94B51}"/>
                          </a:ext>
                        </a:extLst>
                      </p:cNvPr>
                      <p:cNvPicPr/>
                      <p:nvPr/>
                    </p:nvPicPr>
                    <p:blipFill>
                      <a:blip r:embed="rId4"/>
                      <a:stretch>
                        <a:fillRect/>
                      </a:stretch>
                    </p:blipFill>
                    <p:spPr>
                      <a:xfrm>
                        <a:off x="611505" y="1905"/>
                        <a:ext cx="1906" cy="1906"/>
                      </a:xfrm>
                      <a:prstGeom prst="rect">
                        <a:avLst/>
                      </a:prstGeom>
                    </p:spPr>
                  </p:pic>
                </p:oleObj>
              </mc:Fallback>
            </mc:AlternateContent>
          </a:graphicData>
        </a:graphic>
      </p:graphicFrame>
      <p:sp>
        <p:nvSpPr>
          <p:cNvPr id="31" name="Title 30">
            <a:extLst>
              <a:ext uri="{FF2B5EF4-FFF2-40B4-BE49-F238E27FC236}">
                <a16:creationId xmlns:a16="http://schemas.microsoft.com/office/drawing/2014/main" id="{52C3165B-6782-8742-9E0B-EA0290C2CEF0}"/>
              </a:ext>
            </a:extLst>
          </p:cNvPr>
          <p:cNvSpPr>
            <a:spLocks noGrp="1"/>
          </p:cNvSpPr>
          <p:nvPr>
            <p:ph type="title"/>
          </p:nvPr>
        </p:nvSpPr>
        <p:spPr>
          <a:xfrm>
            <a:off x="7199697" y="4852200"/>
            <a:ext cx="4836728" cy="1701000"/>
          </a:xfrm>
        </p:spPr>
        <p:txBody>
          <a:bodyPr/>
          <a:lstStyle/>
          <a:p>
            <a:r>
              <a:rPr lang="en-US" dirty="0"/>
              <a:t>Ellab </a:t>
            </a:r>
            <a:r>
              <a:rPr lang="en-US" dirty="0" err="1"/>
              <a:t>ValSuite</a:t>
            </a:r>
            <a:r>
              <a:rPr lang="en-US" dirty="0"/>
              <a:t> software – selling strategies</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8D770-1C47-3D37-203A-22F1262619FE}"/>
            </a:ext>
          </a:extLst>
        </p:cNvPr>
        <p:cNvGrpSpPr/>
        <p:nvPr/>
      </p:nvGrpSpPr>
      <p:grpSpPr>
        <a:xfrm>
          <a:off x="0" y="0"/>
          <a:ext cx="0" cy="0"/>
          <a:chOff x="0" y="0"/>
          <a:chExt cx="0" cy="0"/>
        </a:xfrm>
      </p:grpSpPr>
      <p:sp>
        <p:nvSpPr>
          <p:cNvPr id="10" name="Oval 9">
            <a:extLst>
              <a:ext uri="{FF2B5EF4-FFF2-40B4-BE49-F238E27FC236}">
                <a16:creationId xmlns:a16="http://schemas.microsoft.com/office/drawing/2014/main" id="{AB986E39-E679-F2CB-BA9F-C84E47E8A741}"/>
              </a:ext>
            </a:extLst>
          </p:cNvPr>
          <p:cNvSpPr/>
          <p:nvPr/>
        </p:nvSpPr>
        <p:spPr>
          <a:xfrm>
            <a:off x="-1990011" y="-939374"/>
            <a:ext cx="10136115" cy="9255377"/>
          </a:xfrm>
          <a:prstGeom prst="ellipse">
            <a:avLst/>
          </a:prstGeom>
          <a:gradFill>
            <a:gsLst>
              <a:gs pos="77000">
                <a:schemeClr val="accent1">
                  <a:lumMod val="5000"/>
                  <a:lumOff val="95000"/>
                  <a:alpha val="0"/>
                </a:schemeClr>
              </a:gs>
              <a:gs pos="0">
                <a:schemeClr val="accent6"/>
              </a:gs>
            </a:gsLst>
            <a:path path="circle">
              <a:fillToRect l="50000" t="50000" r="50000" b="50000"/>
            </a:path>
          </a:gradFill>
          <a:ln>
            <a:noFill/>
          </a:ln>
          <a:effectLst>
            <a:softEdge rad="1270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train with smoke coming out of it&#10;&#10;AI-generated content may be incorrect.">
            <a:extLst>
              <a:ext uri="{FF2B5EF4-FFF2-40B4-BE49-F238E27FC236}">
                <a16:creationId xmlns:a16="http://schemas.microsoft.com/office/drawing/2014/main" id="{2FA45986-6236-724E-FDCD-333F68A0D83C}"/>
              </a:ext>
            </a:extLst>
          </p:cNvPr>
          <p:cNvPicPr>
            <a:picLocks noChangeAspect="1"/>
          </p:cNvPicPr>
          <p:nvPr/>
        </p:nvPicPr>
        <p:blipFill>
          <a:blip r:embed="rId3"/>
          <a:stretch>
            <a:fillRect/>
          </a:stretch>
        </p:blipFill>
        <p:spPr>
          <a:xfrm>
            <a:off x="-1541679" y="-737785"/>
            <a:ext cx="8330659" cy="8330659"/>
          </a:xfrm>
          <a:prstGeom prst="rect">
            <a:avLst/>
          </a:prstGeom>
        </p:spPr>
      </p:pic>
      <p:sp>
        <p:nvSpPr>
          <p:cNvPr id="2" name="Title 1">
            <a:extLst>
              <a:ext uri="{FF2B5EF4-FFF2-40B4-BE49-F238E27FC236}">
                <a16:creationId xmlns:a16="http://schemas.microsoft.com/office/drawing/2014/main" id="{EF9FC079-8A98-8A1B-E7BA-8E6DF397822A}"/>
              </a:ext>
            </a:extLst>
          </p:cNvPr>
          <p:cNvSpPr>
            <a:spLocks noGrp="1"/>
          </p:cNvSpPr>
          <p:nvPr>
            <p:ph type="title"/>
          </p:nvPr>
        </p:nvSpPr>
        <p:spPr>
          <a:noFill/>
        </p:spPr>
        <p:txBody>
          <a:bodyPr anchor="ctr"/>
          <a:lstStyle/>
          <a:p>
            <a:pPr>
              <a:lnSpc>
                <a:spcPct val="90000"/>
              </a:lnSpc>
              <a:spcBef>
                <a:spcPct val="0"/>
              </a:spcBef>
              <a:spcAft>
                <a:spcPct val="0"/>
              </a:spcAft>
            </a:pPr>
            <a:r>
              <a:rPr lang="sv-SE" sz="3840" dirty="0"/>
              <a:t>Practical Steps Towards </a:t>
            </a:r>
            <a:r>
              <a:rPr lang="sv-SE" sz="3840" dirty="0">
                <a:solidFill>
                  <a:schemeClr val="accent1"/>
                </a:solidFill>
              </a:rPr>
              <a:t>Value</a:t>
            </a:r>
            <a:r>
              <a:rPr lang="sv-SE" sz="3840" dirty="0">
                <a:solidFill>
                  <a:schemeClr val="bg2"/>
                </a:solidFill>
              </a:rPr>
              <a:t> </a:t>
            </a:r>
            <a:r>
              <a:rPr lang="sv-SE" sz="3840" dirty="0">
                <a:solidFill>
                  <a:schemeClr val="accent1"/>
                </a:solidFill>
              </a:rPr>
              <a:t>Sales</a:t>
            </a:r>
            <a:endParaRPr lang="en-SG" sz="3840" dirty="0">
              <a:solidFill>
                <a:schemeClr val="accent1"/>
              </a:solidFill>
            </a:endParaRPr>
          </a:p>
        </p:txBody>
      </p:sp>
      <p:sp>
        <p:nvSpPr>
          <p:cNvPr id="4" name="TextBox 3">
            <a:extLst>
              <a:ext uri="{FF2B5EF4-FFF2-40B4-BE49-F238E27FC236}">
                <a16:creationId xmlns:a16="http://schemas.microsoft.com/office/drawing/2014/main" id="{587ADC5B-917C-D795-8DD5-A4894856BD91}"/>
              </a:ext>
            </a:extLst>
          </p:cNvPr>
          <p:cNvSpPr txBox="1"/>
          <p:nvPr/>
        </p:nvSpPr>
        <p:spPr>
          <a:xfrm>
            <a:off x="6096002" y="1935831"/>
            <a:ext cx="5546477" cy="523220"/>
          </a:xfrm>
          <a:prstGeom prst="rect">
            <a:avLst/>
          </a:prstGeom>
          <a:noFill/>
        </p:spPr>
        <p:txBody>
          <a:bodyPr wrap="square" rtlCol="0">
            <a:spAutoFit/>
          </a:bodyPr>
          <a:lstStyle/>
          <a:p>
            <a:pPr marL="457200" indent="-457200" eaLnBrk="1" fontAlgn="auto" hangingPunct="1">
              <a:spcBef>
                <a:spcPts val="0"/>
              </a:spcBef>
              <a:spcAft>
                <a:spcPts val="0"/>
              </a:spcAft>
              <a:buClr>
                <a:schemeClr val="accent1"/>
              </a:buClr>
              <a:buSzPct val="110000"/>
              <a:buFont typeface="Arial" panose="020B0604020202020204" pitchFamily="34" charset="0"/>
              <a:buChar char="•"/>
            </a:pPr>
            <a:r>
              <a:rPr lang="sv-SE" sz="2800" dirty="0">
                <a:solidFill>
                  <a:schemeClr val="tx2"/>
                </a:solidFill>
                <a:latin typeface="+mn-lt"/>
              </a:rPr>
              <a:t>Prepare</a:t>
            </a:r>
            <a:endParaRPr lang="en-SG" sz="2800" dirty="0">
              <a:solidFill>
                <a:schemeClr val="tx2"/>
              </a:solidFill>
              <a:latin typeface="+mn-lt"/>
            </a:endParaRPr>
          </a:p>
        </p:txBody>
      </p:sp>
      <p:sp>
        <p:nvSpPr>
          <p:cNvPr id="5" name="TextBox 4">
            <a:extLst>
              <a:ext uri="{FF2B5EF4-FFF2-40B4-BE49-F238E27FC236}">
                <a16:creationId xmlns:a16="http://schemas.microsoft.com/office/drawing/2014/main" id="{ED422CE7-945C-EF2D-69EE-86E7806AF956}"/>
              </a:ext>
            </a:extLst>
          </p:cNvPr>
          <p:cNvSpPr txBox="1"/>
          <p:nvPr/>
        </p:nvSpPr>
        <p:spPr>
          <a:xfrm>
            <a:off x="6096001" y="2646466"/>
            <a:ext cx="5546477" cy="523220"/>
          </a:xfrm>
          <a:prstGeom prst="rect">
            <a:avLst/>
          </a:prstGeom>
          <a:noFill/>
        </p:spPr>
        <p:txBody>
          <a:bodyPr wrap="square" rtlCol="0">
            <a:spAutoFit/>
          </a:bodyPr>
          <a:lstStyle/>
          <a:p>
            <a:pPr marL="457200" indent="-457200" eaLnBrk="1" fontAlgn="auto" hangingPunct="1">
              <a:spcBef>
                <a:spcPts val="0"/>
              </a:spcBef>
              <a:spcAft>
                <a:spcPts val="0"/>
              </a:spcAft>
              <a:buClr>
                <a:schemeClr val="accent1"/>
              </a:buClr>
              <a:buSzPct val="110000"/>
              <a:buFont typeface="Arial" panose="020B0604020202020204" pitchFamily="34" charset="0"/>
              <a:buChar char="•"/>
            </a:pPr>
            <a:r>
              <a:rPr lang="sv-SE" sz="2800" dirty="0">
                <a:solidFill>
                  <a:schemeClr val="tx2"/>
                </a:solidFill>
                <a:latin typeface="+mn-lt"/>
              </a:rPr>
              <a:t>Stay updated in the industry</a:t>
            </a:r>
            <a:endParaRPr lang="en-SG" sz="2800" dirty="0">
              <a:solidFill>
                <a:schemeClr val="tx2"/>
              </a:solidFill>
              <a:latin typeface="+mn-lt"/>
            </a:endParaRPr>
          </a:p>
        </p:txBody>
      </p:sp>
      <p:sp>
        <p:nvSpPr>
          <p:cNvPr id="6" name="TextBox 5">
            <a:extLst>
              <a:ext uri="{FF2B5EF4-FFF2-40B4-BE49-F238E27FC236}">
                <a16:creationId xmlns:a16="http://schemas.microsoft.com/office/drawing/2014/main" id="{03D30A8F-74A9-2068-10A3-37D979BEF8B5}"/>
              </a:ext>
            </a:extLst>
          </p:cNvPr>
          <p:cNvSpPr txBox="1"/>
          <p:nvPr/>
        </p:nvSpPr>
        <p:spPr>
          <a:xfrm>
            <a:off x="6096001" y="3398403"/>
            <a:ext cx="5546477" cy="523220"/>
          </a:xfrm>
          <a:prstGeom prst="rect">
            <a:avLst/>
          </a:prstGeom>
          <a:noFill/>
        </p:spPr>
        <p:txBody>
          <a:bodyPr wrap="square" rtlCol="0">
            <a:spAutoFit/>
          </a:bodyPr>
          <a:lstStyle/>
          <a:p>
            <a:pPr marL="457200" indent="-457200" eaLnBrk="1" fontAlgn="auto" hangingPunct="1">
              <a:spcBef>
                <a:spcPts val="0"/>
              </a:spcBef>
              <a:spcAft>
                <a:spcPts val="0"/>
              </a:spcAft>
              <a:buClr>
                <a:schemeClr val="accent1"/>
              </a:buClr>
              <a:buSzPct val="110000"/>
              <a:buFont typeface="Arial" panose="020B0604020202020204" pitchFamily="34" charset="0"/>
              <a:buChar char="•"/>
            </a:pPr>
            <a:r>
              <a:rPr lang="sv-SE" sz="2800" dirty="0">
                <a:solidFill>
                  <a:schemeClr val="tx2"/>
                </a:solidFill>
                <a:latin typeface="+mn-lt"/>
              </a:rPr>
              <a:t>Listen more than you talk</a:t>
            </a:r>
            <a:endParaRPr lang="en-SG" sz="2800" dirty="0">
              <a:solidFill>
                <a:schemeClr val="tx2"/>
              </a:solidFill>
              <a:latin typeface="+mn-lt"/>
            </a:endParaRPr>
          </a:p>
        </p:txBody>
      </p:sp>
      <p:sp>
        <p:nvSpPr>
          <p:cNvPr id="7" name="TextBox 6">
            <a:extLst>
              <a:ext uri="{FF2B5EF4-FFF2-40B4-BE49-F238E27FC236}">
                <a16:creationId xmlns:a16="http://schemas.microsoft.com/office/drawing/2014/main" id="{B27A9548-D08D-DFB4-B487-B0AFC2B66339}"/>
              </a:ext>
            </a:extLst>
          </p:cNvPr>
          <p:cNvSpPr txBox="1"/>
          <p:nvPr/>
        </p:nvSpPr>
        <p:spPr>
          <a:xfrm>
            <a:off x="6107476" y="4152275"/>
            <a:ext cx="6273210" cy="523220"/>
          </a:xfrm>
          <a:prstGeom prst="rect">
            <a:avLst/>
          </a:prstGeom>
          <a:noFill/>
        </p:spPr>
        <p:txBody>
          <a:bodyPr wrap="square" rtlCol="0">
            <a:spAutoFit/>
          </a:bodyPr>
          <a:lstStyle/>
          <a:p>
            <a:pPr marL="457200" indent="-457200" eaLnBrk="1" fontAlgn="auto" hangingPunct="1">
              <a:spcBef>
                <a:spcPts val="0"/>
              </a:spcBef>
              <a:spcAft>
                <a:spcPts val="0"/>
              </a:spcAft>
              <a:buClr>
                <a:schemeClr val="accent1"/>
              </a:buClr>
              <a:buSzPct val="110000"/>
              <a:buFont typeface="Arial" panose="020B0604020202020204" pitchFamily="34" charset="0"/>
              <a:buChar char="•"/>
            </a:pPr>
            <a:r>
              <a:rPr lang="sv-SE" sz="2800" dirty="0">
                <a:solidFill>
                  <a:schemeClr val="tx2"/>
                </a:solidFill>
                <a:latin typeface="+mn-lt"/>
              </a:rPr>
              <a:t>Practice using open questions</a:t>
            </a:r>
            <a:endParaRPr lang="en-SG" sz="2800" dirty="0">
              <a:solidFill>
                <a:schemeClr val="tx2"/>
              </a:solidFill>
              <a:latin typeface="+mn-lt"/>
            </a:endParaRPr>
          </a:p>
        </p:txBody>
      </p:sp>
      <p:sp>
        <p:nvSpPr>
          <p:cNvPr id="8" name="TextBox 7">
            <a:extLst>
              <a:ext uri="{FF2B5EF4-FFF2-40B4-BE49-F238E27FC236}">
                <a16:creationId xmlns:a16="http://schemas.microsoft.com/office/drawing/2014/main" id="{50C74123-6D6E-7E67-DE50-EC6CBE00EADA}"/>
              </a:ext>
            </a:extLst>
          </p:cNvPr>
          <p:cNvSpPr txBox="1"/>
          <p:nvPr/>
        </p:nvSpPr>
        <p:spPr>
          <a:xfrm>
            <a:off x="6096000" y="4862910"/>
            <a:ext cx="5268686" cy="954107"/>
          </a:xfrm>
          <a:prstGeom prst="rect">
            <a:avLst/>
          </a:prstGeom>
          <a:noFill/>
        </p:spPr>
        <p:txBody>
          <a:bodyPr wrap="square" rtlCol="0">
            <a:spAutoFit/>
          </a:bodyPr>
          <a:lstStyle/>
          <a:p>
            <a:pPr marL="457200" indent="-457200" eaLnBrk="1" fontAlgn="auto" hangingPunct="1">
              <a:spcBef>
                <a:spcPts val="0"/>
              </a:spcBef>
              <a:spcAft>
                <a:spcPts val="0"/>
              </a:spcAft>
              <a:buClr>
                <a:schemeClr val="accent1"/>
              </a:buClr>
              <a:buSzPct val="110000"/>
              <a:buFont typeface="Arial" panose="020B0604020202020204" pitchFamily="34" charset="0"/>
              <a:buChar char="•"/>
            </a:pPr>
            <a:r>
              <a:rPr lang="sv-SE" sz="2800" dirty="0">
                <a:solidFill>
                  <a:schemeClr val="tx2"/>
                </a:solidFill>
                <a:latin typeface="+mn-lt"/>
              </a:rPr>
              <a:t>Put yourself in the customer’s shoes</a:t>
            </a:r>
            <a:endParaRPr lang="en-SG" sz="2800" dirty="0">
              <a:solidFill>
                <a:schemeClr val="tx2"/>
              </a:solidFill>
              <a:latin typeface="+mn-lt"/>
            </a:endParaRPr>
          </a:p>
        </p:txBody>
      </p:sp>
    </p:spTree>
    <p:extLst>
      <p:ext uri="{BB962C8B-B14F-4D97-AF65-F5344CB8AC3E}">
        <p14:creationId xmlns:p14="http://schemas.microsoft.com/office/powerpoint/2010/main" val="104830555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Microphone on stage in front of red curtain">
            <a:extLst>
              <a:ext uri="{FF2B5EF4-FFF2-40B4-BE49-F238E27FC236}">
                <a16:creationId xmlns:a16="http://schemas.microsoft.com/office/drawing/2014/main" id="{7861006B-E520-508C-828B-D9296DB5987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812800"/>
            <a:ext cx="12192000" cy="8128000"/>
          </a:xfrm>
          <a:prstGeom prst="rect">
            <a:avLst/>
          </a:prstGeom>
        </p:spPr>
      </p:pic>
      <p:sp>
        <p:nvSpPr>
          <p:cNvPr id="3" name="Text Placeholder 2">
            <a:extLst>
              <a:ext uri="{FF2B5EF4-FFF2-40B4-BE49-F238E27FC236}">
                <a16:creationId xmlns:a16="http://schemas.microsoft.com/office/drawing/2014/main" id="{6D8B32F8-9BA3-EA6C-56B9-B771049F7311}"/>
              </a:ext>
            </a:extLst>
          </p:cNvPr>
          <p:cNvSpPr>
            <a:spLocks noGrp="1"/>
          </p:cNvSpPr>
          <p:nvPr>
            <p:ph type="body" sz="half" idx="10"/>
          </p:nvPr>
        </p:nvSpPr>
        <p:spPr/>
        <p:txBody>
          <a:bodyPr/>
          <a:lstStyle/>
          <a:p>
            <a:endParaRPr lang="en-US"/>
          </a:p>
        </p:txBody>
      </p:sp>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a:xfrm>
            <a:off x="360000" y="936001"/>
            <a:ext cx="3979771" cy="365126"/>
          </a:xfrm>
        </p:spPr>
        <p:txBody>
          <a:bodyPr/>
          <a:lstStyle/>
          <a:p>
            <a:r>
              <a:rPr lang="en-US" dirty="0">
                <a:solidFill>
                  <a:schemeClr val="bg2"/>
                </a:solidFill>
              </a:rPr>
              <a:t>What is the Best Way to Show Ellab Equipment?</a:t>
            </a:r>
          </a:p>
        </p:txBody>
      </p:sp>
      <p:sp>
        <p:nvSpPr>
          <p:cNvPr id="2" name="Text Placeholder 1">
            <a:extLst>
              <a:ext uri="{FF2B5EF4-FFF2-40B4-BE49-F238E27FC236}">
                <a16:creationId xmlns:a16="http://schemas.microsoft.com/office/drawing/2014/main" id="{9808B1EF-96F9-F819-44DD-DD05280D5C41}"/>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14774647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2B25275B-4F9C-8E1C-0A6A-25C3424B7CF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057792" y="1849448"/>
            <a:ext cx="3947623" cy="2467265"/>
          </a:xfrm>
          <a:prstGeom prst="rect">
            <a:avLst/>
          </a:prstGeom>
          <a:ln w="28575">
            <a:solidFill>
              <a:schemeClr val="accent2"/>
            </a:solidFill>
          </a:ln>
        </p:spPr>
      </p:pic>
      <p:sp>
        <p:nvSpPr>
          <p:cNvPr id="8" name="Text Placeholder 7">
            <a:extLst>
              <a:ext uri="{FF2B5EF4-FFF2-40B4-BE49-F238E27FC236}">
                <a16:creationId xmlns:a16="http://schemas.microsoft.com/office/drawing/2014/main" id="{D1A47CD9-B6F2-922D-52C6-8ED196BAA852}"/>
              </a:ext>
            </a:extLst>
          </p:cNvPr>
          <p:cNvSpPr>
            <a:spLocks noGrp="1"/>
          </p:cNvSpPr>
          <p:nvPr>
            <p:ph type="body" sz="half" idx="10"/>
          </p:nvPr>
        </p:nvSpPr>
        <p:spPr/>
        <p:txBody>
          <a:bodyPr/>
          <a:lstStyle/>
          <a:p>
            <a:pPr marL="548640" indent="-548640">
              <a:buFontTx/>
              <a:buChar char="-"/>
            </a:pPr>
            <a:r>
              <a:rPr lang="en-US" sz="1440" dirty="0"/>
              <a:t>Research the equipment to validate (Ask questions to customer)</a:t>
            </a:r>
          </a:p>
          <a:p>
            <a:pPr marL="548640" indent="-548640">
              <a:buFontTx/>
              <a:buChar char="-"/>
            </a:pPr>
            <a:r>
              <a:rPr lang="en-US" sz="1440" dirty="0"/>
              <a:t>Look into the application notes at Ellab.com </a:t>
            </a:r>
          </a:p>
          <a:p>
            <a:pPr marL="548640" indent="-548640">
              <a:buFontTx/>
              <a:buChar char="-"/>
            </a:pPr>
            <a:r>
              <a:rPr lang="en-US" sz="1440" dirty="0"/>
              <a:t>Be familiar with the challenges of the application. (But ask questions to customer)</a:t>
            </a:r>
          </a:p>
          <a:p>
            <a:pPr marL="548640" indent="-548640">
              <a:buFontTx/>
              <a:buChar char="-"/>
            </a:pPr>
            <a:r>
              <a:rPr lang="en-US" sz="1440" dirty="0"/>
              <a:t>Have a relevant report at hand.</a:t>
            </a:r>
          </a:p>
          <a:p>
            <a:pPr marL="548640" indent="-548640">
              <a:buFontTx/>
              <a:buChar char="-"/>
            </a:pPr>
            <a:r>
              <a:rPr lang="en-US" sz="1440" dirty="0"/>
              <a:t>Explain the report and how easy it is.</a:t>
            </a:r>
          </a:p>
          <a:p>
            <a:pPr marL="548640" indent="-548640">
              <a:buFontTx/>
              <a:buChar char="-"/>
            </a:pPr>
            <a:r>
              <a:rPr lang="en-US" sz="1440" dirty="0"/>
              <a:t>The report is a value adder!</a:t>
            </a:r>
          </a:p>
        </p:txBody>
      </p:sp>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p:txBody>
          <a:bodyPr/>
          <a:lstStyle/>
          <a:p>
            <a:r>
              <a:rPr lang="en-US" dirty="0"/>
              <a:t>What is the best way to present </a:t>
            </a:r>
            <a:r>
              <a:rPr lang="en-US" dirty="0" err="1"/>
              <a:t>Valsuite</a:t>
            </a:r>
            <a:endParaRPr lang="en-US" dirty="0"/>
          </a:p>
        </p:txBody>
      </p:sp>
      <p:sp>
        <p:nvSpPr>
          <p:cNvPr id="2" name="Text Placeholder 1">
            <a:extLst>
              <a:ext uri="{FF2B5EF4-FFF2-40B4-BE49-F238E27FC236}">
                <a16:creationId xmlns:a16="http://schemas.microsoft.com/office/drawing/2014/main" id="{D973EF7F-6131-73A7-1FD1-5DCA810D94E5}"/>
              </a:ext>
            </a:extLst>
          </p:cNvPr>
          <p:cNvSpPr>
            <a:spLocks noGrp="1"/>
          </p:cNvSpPr>
          <p:nvPr>
            <p:ph type="body" sz="half" idx="2"/>
          </p:nvPr>
        </p:nvSpPr>
        <p:spPr/>
        <p:txBody>
          <a:bodyPr/>
          <a:lstStyle/>
          <a:p>
            <a:endParaRPr lang="en-US"/>
          </a:p>
        </p:txBody>
      </p:sp>
      <p:pic>
        <p:nvPicPr>
          <p:cNvPr id="20" name="Picture 19">
            <a:extLst>
              <a:ext uri="{FF2B5EF4-FFF2-40B4-BE49-F238E27FC236}">
                <a16:creationId xmlns:a16="http://schemas.microsoft.com/office/drawing/2014/main" id="{0451CBF5-D7DB-E33E-5F7C-E0AE68A402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30871" y="2713146"/>
            <a:ext cx="3947623" cy="2467265"/>
          </a:xfrm>
          <a:prstGeom prst="rect">
            <a:avLst/>
          </a:prstGeom>
          <a:ln w="28575">
            <a:solidFill>
              <a:schemeClr val="accent2"/>
            </a:solidFill>
          </a:ln>
        </p:spPr>
      </p:pic>
      <p:pic>
        <p:nvPicPr>
          <p:cNvPr id="24" name="Picture 23">
            <a:extLst>
              <a:ext uri="{FF2B5EF4-FFF2-40B4-BE49-F238E27FC236}">
                <a16:creationId xmlns:a16="http://schemas.microsoft.com/office/drawing/2014/main" id="{9CA098B2-BC7F-B9A1-3207-70EA317CA58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1098" y="3676183"/>
            <a:ext cx="4010474" cy="2367924"/>
          </a:xfrm>
          <a:prstGeom prst="rect">
            <a:avLst/>
          </a:prstGeom>
          <a:ln w="28575">
            <a:solidFill>
              <a:schemeClr val="accent2"/>
            </a:solidFill>
          </a:ln>
        </p:spPr>
      </p:pic>
    </p:spTree>
    <p:extLst>
      <p:ext uri="{BB962C8B-B14F-4D97-AF65-F5344CB8AC3E}">
        <p14:creationId xmlns:p14="http://schemas.microsoft.com/office/powerpoint/2010/main" val="21124462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1A47CD9-B6F2-922D-52C6-8ED196BAA852}"/>
              </a:ext>
            </a:extLst>
          </p:cNvPr>
          <p:cNvSpPr>
            <a:spLocks noGrp="1"/>
          </p:cNvSpPr>
          <p:nvPr>
            <p:ph type="body" sz="half" idx="10"/>
          </p:nvPr>
        </p:nvSpPr>
        <p:spPr/>
        <p:txBody>
          <a:bodyPr/>
          <a:lstStyle/>
          <a:p>
            <a:endParaRPr lang="en-US" sz="2880" dirty="0">
              <a:solidFill>
                <a:schemeClr val="accent2"/>
              </a:solidFill>
            </a:endParaRPr>
          </a:p>
          <a:p>
            <a:endParaRPr lang="en-US" sz="2880" b="1" dirty="0">
              <a:solidFill>
                <a:schemeClr val="accent1"/>
              </a:solidFill>
            </a:endParaRPr>
          </a:p>
          <a:p>
            <a:r>
              <a:rPr lang="en-US" sz="3120" b="1" dirty="0">
                <a:solidFill>
                  <a:schemeClr val="accent1"/>
                </a:solidFill>
              </a:rPr>
              <a:t>ValSuite</a:t>
            </a:r>
            <a:r>
              <a:rPr lang="en-US" sz="3120" b="1" dirty="0"/>
              <a:t> Software</a:t>
            </a:r>
          </a:p>
        </p:txBody>
      </p:sp>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a:xfrm>
            <a:off x="360000" y="936001"/>
            <a:ext cx="4107225" cy="365126"/>
          </a:xfrm>
        </p:spPr>
        <p:txBody>
          <a:bodyPr/>
          <a:lstStyle/>
          <a:p>
            <a:r>
              <a:rPr lang="en-US" dirty="0"/>
              <a:t>What is The Best Way to Show Ellab Equipment?</a:t>
            </a:r>
          </a:p>
        </p:txBody>
      </p:sp>
      <p:pic>
        <p:nvPicPr>
          <p:cNvPr id="10" name="Picture 9">
            <a:extLst>
              <a:ext uri="{FF2B5EF4-FFF2-40B4-BE49-F238E27FC236}">
                <a16:creationId xmlns:a16="http://schemas.microsoft.com/office/drawing/2014/main" id="{877C9A56-0F59-2972-A001-84BD99DEB40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807219" y="1381125"/>
            <a:ext cx="6537884" cy="3810292"/>
          </a:xfrm>
          <a:prstGeom prst="rect">
            <a:avLst/>
          </a:prstGeom>
          <a:ln w="28575">
            <a:noFill/>
          </a:ln>
        </p:spPr>
      </p:pic>
    </p:spTree>
    <p:extLst>
      <p:ext uri="{BB962C8B-B14F-4D97-AF65-F5344CB8AC3E}">
        <p14:creationId xmlns:p14="http://schemas.microsoft.com/office/powerpoint/2010/main" val="237305659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3F5DED08-AE9A-B8BF-0CB3-4915121A758D}"/>
              </a:ext>
            </a:extLst>
          </p:cNvPr>
          <p:cNvSpPr/>
          <p:nvPr/>
        </p:nvSpPr>
        <p:spPr>
          <a:xfrm>
            <a:off x="3853371" y="736600"/>
            <a:ext cx="9202229" cy="9255377"/>
          </a:xfrm>
          <a:prstGeom prst="ellipse">
            <a:avLst/>
          </a:prstGeom>
          <a:gradFill>
            <a:gsLst>
              <a:gs pos="77000">
                <a:schemeClr val="accent1">
                  <a:lumMod val="5000"/>
                  <a:lumOff val="95000"/>
                  <a:alpha val="0"/>
                </a:schemeClr>
              </a:gs>
              <a:gs pos="0">
                <a:schemeClr val="accent1">
                  <a:alpha val="97000"/>
                </a:schemeClr>
              </a:gs>
            </a:gsLst>
            <a:path path="circle">
              <a:fillToRect l="50000" t="50000" r="50000" b="50000"/>
            </a:path>
          </a:gradFill>
          <a:ln>
            <a:noFill/>
          </a:ln>
          <a:effectLst>
            <a:softEdge rad="1270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8F211CE2-CA45-8AB3-C4ED-81220B71B230}"/>
              </a:ext>
            </a:extLst>
          </p:cNvPr>
          <p:cNvSpPr>
            <a:spLocks noGrp="1"/>
          </p:cNvSpPr>
          <p:nvPr>
            <p:ph type="body" sz="half" idx="10"/>
          </p:nvPr>
        </p:nvSpPr>
        <p:spPr/>
        <p:txBody>
          <a:bodyPr/>
          <a:lstStyle/>
          <a:p>
            <a:endParaRPr lang="en-US"/>
          </a:p>
        </p:txBody>
      </p:sp>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a:xfrm>
            <a:off x="360000" y="936001"/>
            <a:ext cx="5990000" cy="365126"/>
          </a:xfrm>
        </p:spPr>
        <p:txBody>
          <a:bodyPr/>
          <a:lstStyle/>
          <a:p>
            <a:r>
              <a:rPr lang="en-US" dirty="0"/>
              <a:t>What is the best way to show </a:t>
            </a:r>
            <a:r>
              <a:rPr lang="en-US" dirty="0" err="1"/>
              <a:t>Valsuite</a:t>
            </a:r>
            <a:r>
              <a:rPr lang="en-US" dirty="0"/>
              <a:t>?</a:t>
            </a:r>
          </a:p>
        </p:txBody>
      </p:sp>
      <p:pic>
        <p:nvPicPr>
          <p:cNvPr id="3" name="Picture 2" descr="A person in a yellow sweater&#10;&#10;AI-generated content may be incorrect.">
            <a:extLst>
              <a:ext uri="{FF2B5EF4-FFF2-40B4-BE49-F238E27FC236}">
                <a16:creationId xmlns:a16="http://schemas.microsoft.com/office/drawing/2014/main" id="{92F81820-D29F-1F18-4223-E93E1111B02B}"/>
              </a:ext>
            </a:extLst>
          </p:cNvPr>
          <p:cNvPicPr>
            <a:picLocks noChangeAspect="1"/>
          </p:cNvPicPr>
          <p:nvPr/>
        </p:nvPicPr>
        <p:blipFill>
          <a:blip r:embed="rId2"/>
          <a:stretch>
            <a:fillRect/>
          </a:stretch>
        </p:blipFill>
        <p:spPr>
          <a:xfrm>
            <a:off x="4415250" y="603507"/>
            <a:ext cx="9371138" cy="6254493"/>
          </a:xfrm>
          <a:prstGeom prst="rect">
            <a:avLst/>
          </a:prstGeom>
        </p:spPr>
      </p:pic>
    </p:spTree>
    <p:extLst>
      <p:ext uri="{BB962C8B-B14F-4D97-AF65-F5344CB8AC3E}">
        <p14:creationId xmlns:p14="http://schemas.microsoft.com/office/powerpoint/2010/main" val="25814998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ig yellow arrow opposite small white arrows">
            <a:extLst>
              <a:ext uri="{FF2B5EF4-FFF2-40B4-BE49-F238E27FC236}">
                <a16:creationId xmlns:a16="http://schemas.microsoft.com/office/drawing/2014/main" id="{CA1553E2-50AB-96C2-FCA4-B4D710F9E65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890525"/>
            <a:ext cx="12192000" cy="8128001"/>
          </a:xfrm>
          <a:prstGeom prst="rect">
            <a:avLst/>
          </a:prstGeom>
        </p:spPr>
      </p:pic>
      <p:sp>
        <p:nvSpPr>
          <p:cNvPr id="7" name="Text Placeholder 6">
            <a:extLst>
              <a:ext uri="{FF2B5EF4-FFF2-40B4-BE49-F238E27FC236}">
                <a16:creationId xmlns:a16="http://schemas.microsoft.com/office/drawing/2014/main" id="{94E029B1-49E8-47D4-5EB2-38FD7A6F8510}"/>
              </a:ext>
            </a:extLst>
          </p:cNvPr>
          <p:cNvSpPr>
            <a:spLocks noGrp="1"/>
          </p:cNvSpPr>
          <p:nvPr>
            <p:ph type="body" sz="quarter" idx="10"/>
          </p:nvPr>
        </p:nvSpPr>
        <p:spPr/>
        <p:txBody>
          <a:bodyPr/>
          <a:lstStyle/>
          <a:p>
            <a:endParaRPr lang="en-US"/>
          </a:p>
        </p:txBody>
      </p:sp>
      <p:sp>
        <p:nvSpPr>
          <p:cNvPr id="5" name="Title 4">
            <a:extLst>
              <a:ext uri="{FF2B5EF4-FFF2-40B4-BE49-F238E27FC236}">
                <a16:creationId xmlns:a16="http://schemas.microsoft.com/office/drawing/2014/main" id="{BEED7710-DC0D-1A27-6880-8C3D2C0DFE13}"/>
              </a:ext>
            </a:extLst>
          </p:cNvPr>
          <p:cNvSpPr>
            <a:spLocks noGrp="1"/>
          </p:cNvSpPr>
          <p:nvPr>
            <p:ph type="title"/>
          </p:nvPr>
        </p:nvSpPr>
        <p:spPr/>
        <p:txBody>
          <a:bodyPr/>
          <a:lstStyle/>
          <a:p>
            <a:endParaRPr lang="en-US"/>
          </a:p>
        </p:txBody>
      </p:sp>
      <p:sp>
        <p:nvSpPr>
          <p:cNvPr id="13" name="Text Placeholder 7">
            <a:extLst>
              <a:ext uri="{FF2B5EF4-FFF2-40B4-BE49-F238E27FC236}">
                <a16:creationId xmlns:a16="http://schemas.microsoft.com/office/drawing/2014/main" id="{31F9B972-34B7-51AA-FE9D-6F687612B6C2}"/>
              </a:ext>
            </a:extLst>
          </p:cNvPr>
          <p:cNvSpPr>
            <a:spLocks noGrp="1"/>
          </p:cNvSpPr>
          <p:nvPr>
            <p:ph type="body" sz="quarter" idx="11"/>
          </p:nvPr>
        </p:nvSpPr>
        <p:spPr>
          <a:xfrm>
            <a:off x="813781" y="1420428"/>
            <a:ext cx="6576446" cy="4801444"/>
          </a:xfrm>
        </p:spPr>
        <p:txBody>
          <a:bodyPr/>
          <a:lstStyle/>
          <a:p>
            <a:pPr>
              <a:lnSpc>
                <a:spcPct val="100000"/>
              </a:lnSpc>
            </a:pPr>
            <a:endParaRPr lang="en-US" sz="2880" dirty="0">
              <a:solidFill>
                <a:schemeClr val="accent2"/>
              </a:solidFill>
            </a:endParaRPr>
          </a:p>
          <a:p>
            <a:pPr>
              <a:lnSpc>
                <a:spcPct val="100000"/>
              </a:lnSpc>
            </a:pPr>
            <a:endParaRPr lang="en-US" sz="2880" dirty="0">
              <a:solidFill>
                <a:schemeClr val="accent2"/>
              </a:solidFill>
            </a:endParaRPr>
          </a:p>
          <a:p>
            <a:pPr>
              <a:lnSpc>
                <a:spcPct val="100000"/>
              </a:lnSpc>
            </a:pPr>
            <a:endParaRPr lang="en-US" sz="2880" dirty="0">
              <a:solidFill>
                <a:schemeClr val="accent2"/>
              </a:solidFill>
            </a:endParaRPr>
          </a:p>
          <a:p>
            <a:pPr>
              <a:lnSpc>
                <a:spcPct val="100000"/>
              </a:lnSpc>
            </a:pPr>
            <a:r>
              <a:rPr lang="en-US" sz="4400" dirty="0">
                <a:solidFill>
                  <a:schemeClr val="bg1"/>
                </a:solidFill>
              </a:rPr>
              <a:t>Start from the end</a:t>
            </a:r>
          </a:p>
        </p:txBody>
      </p:sp>
    </p:spTree>
    <p:extLst>
      <p:ext uri="{BB962C8B-B14F-4D97-AF65-F5344CB8AC3E}">
        <p14:creationId xmlns:p14="http://schemas.microsoft.com/office/powerpoint/2010/main" val="391672297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917693-C1A7-7F2E-7B3E-A631AC51B352}"/>
              </a:ext>
            </a:extLst>
          </p:cNvPr>
          <p:cNvSpPr>
            <a:spLocks noGrp="1"/>
          </p:cNvSpPr>
          <p:nvPr>
            <p:ph type="body" sz="half" idx="2"/>
          </p:nvPr>
        </p:nvSpPr>
        <p:spPr>
          <a:xfrm>
            <a:off x="371476" y="2526447"/>
            <a:ext cx="11485562" cy="720000"/>
          </a:xfrm>
        </p:spPr>
        <p:txBody>
          <a:bodyPr/>
          <a:lstStyle/>
          <a:p>
            <a:r>
              <a:rPr lang="en-US" dirty="0"/>
              <a:t>ValSuite Report</a:t>
            </a:r>
          </a:p>
        </p:txBody>
      </p:sp>
      <p:sp>
        <p:nvSpPr>
          <p:cNvPr id="9" name="Oval 8">
            <a:extLst>
              <a:ext uri="{FF2B5EF4-FFF2-40B4-BE49-F238E27FC236}">
                <a16:creationId xmlns:a16="http://schemas.microsoft.com/office/drawing/2014/main" id="{33EE7B5E-3ACB-05D8-F3E0-06795597A945}"/>
              </a:ext>
            </a:extLst>
          </p:cNvPr>
          <p:cNvSpPr/>
          <p:nvPr/>
        </p:nvSpPr>
        <p:spPr>
          <a:xfrm>
            <a:off x="-1018471" y="6285422"/>
            <a:ext cx="6292563" cy="508000"/>
          </a:xfrm>
          <a:prstGeom prst="ellipse">
            <a:avLst/>
          </a:prstGeom>
          <a:gradFill>
            <a:gsLst>
              <a:gs pos="86000">
                <a:schemeClr val="accent1">
                  <a:lumMod val="5000"/>
                  <a:lumOff val="95000"/>
                  <a:alpha val="0"/>
                </a:schemeClr>
              </a:gs>
              <a:gs pos="0">
                <a:schemeClr val="tx1">
                  <a:alpha val="28000"/>
                </a:schemeClr>
              </a:gs>
            </a:gsLst>
            <a:path path="circle">
              <a:fillToRect l="50000" t="50000" r="50000" b="50000"/>
            </a:path>
          </a:gradFill>
          <a:ln>
            <a:noFill/>
          </a:ln>
          <a:effectLst>
            <a:softEdge rad="215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2904F9F6-0FBD-8B0D-3483-E18DD6AFD1D6}"/>
              </a:ext>
            </a:extLst>
          </p:cNvPr>
          <p:cNvSpPr/>
          <p:nvPr/>
        </p:nvSpPr>
        <p:spPr>
          <a:xfrm>
            <a:off x="467429" y="5938031"/>
            <a:ext cx="6292563" cy="508000"/>
          </a:xfrm>
          <a:prstGeom prst="ellipse">
            <a:avLst/>
          </a:prstGeom>
          <a:gradFill>
            <a:gsLst>
              <a:gs pos="86000">
                <a:schemeClr val="accent1">
                  <a:lumMod val="5000"/>
                  <a:lumOff val="95000"/>
                  <a:alpha val="0"/>
                </a:schemeClr>
              </a:gs>
              <a:gs pos="0">
                <a:schemeClr val="tx1">
                  <a:alpha val="28000"/>
                </a:schemeClr>
              </a:gs>
            </a:gsLst>
            <a:path path="circle">
              <a:fillToRect l="50000" t="50000" r="50000" b="50000"/>
            </a:path>
          </a:gradFill>
          <a:ln>
            <a:noFill/>
          </a:ln>
          <a:effectLst>
            <a:softEdge rad="215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F6A7F021-05C2-3315-ACD4-5BE3F5F8776C}"/>
              </a:ext>
            </a:extLst>
          </p:cNvPr>
          <p:cNvSpPr/>
          <p:nvPr/>
        </p:nvSpPr>
        <p:spPr>
          <a:xfrm>
            <a:off x="2250540" y="5586201"/>
            <a:ext cx="6292563" cy="508000"/>
          </a:xfrm>
          <a:prstGeom prst="ellipse">
            <a:avLst/>
          </a:prstGeom>
          <a:gradFill>
            <a:gsLst>
              <a:gs pos="86000">
                <a:schemeClr val="accent1">
                  <a:lumMod val="5000"/>
                  <a:lumOff val="95000"/>
                  <a:alpha val="0"/>
                </a:schemeClr>
              </a:gs>
              <a:gs pos="0">
                <a:schemeClr val="tx1">
                  <a:alpha val="28000"/>
                </a:schemeClr>
              </a:gs>
            </a:gsLst>
            <a:path path="circle">
              <a:fillToRect l="50000" t="50000" r="50000" b="50000"/>
            </a:path>
          </a:gradFill>
          <a:ln>
            <a:noFill/>
          </a:ln>
          <a:effectLst>
            <a:softEdge rad="215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517573E9-57B1-0220-233B-977B34420746}"/>
              </a:ext>
            </a:extLst>
          </p:cNvPr>
          <p:cNvSpPr/>
          <p:nvPr/>
        </p:nvSpPr>
        <p:spPr>
          <a:xfrm>
            <a:off x="3937654" y="5262741"/>
            <a:ext cx="6292563" cy="508000"/>
          </a:xfrm>
          <a:prstGeom prst="ellipse">
            <a:avLst/>
          </a:prstGeom>
          <a:gradFill>
            <a:gsLst>
              <a:gs pos="86000">
                <a:schemeClr val="accent1">
                  <a:lumMod val="5000"/>
                  <a:lumOff val="95000"/>
                  <a:alpha val="0"/>
                </a:schemeClr>
              </a:gs>
              <a:gs pos="0">
                <a:schemeClr val="tx1">
                  <a:alpha val="16000"/>
                </a:schemeClr>
              </a:gs>
            </a:gsLst>
            <a:path path="circle">
              <a:fillToRect l="50000" t="50000" r="50000" b="50000"/>
            </a:path>
          </a:gradFill>
          <a:ln>
            <a:noFill/>
          </a:ln>
          <a:effectLst>
            <a:softEdge rad="215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78783EFD-FE59-C53D-87E7-769CA8021F6D}"/>
              </a:ext>
            </a:extLst>
          </p:cNvPr>
          <p:cNvSpPr/>
          <p:nvPr/>
        </p:nvSpPr>
        <p:spPr>
          <a:xfrm>
            <a:off x="5389936" y="4951591"/>
            <a:ext cx="6292563" cy="508000"/>
          </a:xfrm>
          <a:prstGeom prst="ellipse">
            <a:avLst/>
          </a:prstGeom>
          <a:gradFill>
            <a:gsLst>
              <a:gs pos="86000">
                <a:schemeClr val="accent1">
                  <a:lumMod val="5000"/>
                  <a:lumOff val="95000"/>
                  <a:alpha val="0"/>
                </a:schemeClr>
              </a:gs>
              <a:gs pos="0">
                <a:schemeClr val="tx1">
                  <a:alpha val="16000"/>
                </a:schemeClr>
              </a:gs>
            </a:gsLst>
            <a:path path="circle">
              <a:fillToRect l="50000" t="50000" r="50000" b="50000"/>
            </a:path>
          </a:gradFill>
          <a:ln>
            <a:noFill/>
          </a:ln>
          <a:effectLst>
            <a:softEdge rad="215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A9D618D1-3AE3-079D-225E-D5138B4DB8A8}"/>
              </a:ext>
            </a:extLst>
          </p:cNvPr>
          <p:cNvSpPr/>
          <p:nvPr/>
        </p:nvSpPr>
        <p:spPr>
          <a:xfrm>
            <a:off x="6903193" y="4561879"/>
            <a:ext cx="6292563" cy="508000"/>
          </a:xfrm>
          <a:prstGeom prst="ellipse">
            <a:avLst/>
          </a:prstGeom>
          <a:gradFill>
            <a:gsLst>
              <a:gs pos="86000">
                <a:schemeClr val="accent1">
                  <a:lumMod val="5000"/>
                  <a:lumOff val="95000"/>
                  <a:alpha val="0"/>
                </a:schemeClr>
              </a:gs>
              <a:gs pos="0">
                <a:schemeClr val="tx1">
                  <a:alpha val="16000"/>
                </a:schemeClr>
              </a:gs>
            </a:gsLst>
            <a:path path="circle">
              <a:fillToRect l="50000" t="50000" r="50000" b="50000"/>
            </a:path>
          </a:gradFill>
          <a:ln>
            <a:noFill/>
          </a:ln>
          <a:effectLst>
            <a:softEdge rad="215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7A77D771-C3D9-29FB-ABE4-A875EA0691A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108050" y="1555637"/>
            <a:ext cx="2131913" cy="3016364"/>
          </a:xfrm>
          <a:prstGeom prst="rect">
            <a:avLst/>
          </a:prstGeom>
          <a:ln w="28575">
            <a:solidFill>
              <a:schemeClr val="accent1"/>
            </a:solidFill>
          </a:ln>
        </p:spPr>
      </p:pic>
      <p:pic>
        <p:nvPicPr>
          <p:cNvPr id="15" name="Picture 14">
            <a:extLst>
              <a:ext uri="{FF2B5EF4-FFF2-40B4-BE49-F238E27FC236}">
                <a16:creationId xmlns:a16="http://schemas.microsoft.com/office/drawing/2014/main" id="{0511D61F-EB86-0263-F5FF-B6464186F12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04208" y="1926905"/>
            <a:ext cx="2131913" cy="3016364"/>
          </a:xfrm>
          <a:prstGeom prst="rect">
            <a:avLst/>
          </a:prstGeom>
          <a:ln w="28575">
            <a:solidFill>
              <a:schemeClr val="tx2"/>
            </a:solidFill>
          </a:ln>
        </p:spPr>
      </p:pic>
      <p:pic>
        <p:nvPicPr>
          <p:cNvPr id="17" name="Picture 16">
            <a:extLst>
              <a:ext uri="{FF2B5EF4-FFF2-40B4-BE49-F238E27FC236}">
                <a16:creationId xmlns:a16="http://schemas.microsoft.com/office/drawing/2014/main" id="{ED54CEE3-43B2-CEBC-FB7A-006D977007D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00366" y="2298171"/>
            <a:ext cx="2089948" cy="3016366"/>
          </a:xfrm>
          <a:prstGeom prst="rect">
            <a:avLst/>
          </a:prstGeom>
          <a:ln w="28575">
            <a:solidFill>
              <a:schemeClr val="accent1"/>
            </a:solidFill>
          </a:ln>
        </p:spPr>
      </p:pic>
      <p:pic>
        <p:nvPicPr>
          <p:cNvPr id="11" name="Picture 10">
            <a:extLst>
              <a:ext uri="{FF2B5EF4-FFF2-40B4-BE49-F238E27FC236}">
                <a16:creationId xmlns:a16="http://schemas.microsoft.com/office/drawing/2014/main" id="{C6CB0B7F-9A07-5C52-8E86-0DEEC64B6D6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532488" y="2640412"/>
            <a:ext cx="2131914" cy="3016364"/>
          </a:xfrm>
          <a:prstGeom prst="rect">
            <a:avLst/>
          </a:prstGeom>
          <a:ln w="28575">
            <a:solidFill>
              <a:schemeClr val="tx2"/>
            </a:solidFill>
          </a:ln>
        </p:spPr>
      </p:pic>
      <p:pic>
        <p:nvPicPr>
          <p:cNvPr id="5" name="Picture 4">
            <a:extLst>
              <a:ext uri="{FF2B5EF4-FFF2-40B4-BE49-F238E27FC236}">
                <a16:creationId xmlns:a16="http://schemas.microsoft.com/office/drawing/2014/main" id="{5E8381BC-7970-3AA3-A441-207A7BF495F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845548" y="2945615"/>
            <a:ext cx="2131916" cy="3076937"/>
          </a:xfrm>
          <a:prstGeom prst="rect">
            <a:avLst/>
          </a:prstGeom>
          <a:ln w="28575">
            <a:solidFill>
              <a:schemeClr val="accent1"/>
            </a:solidFill>
          </a:ln>
        </p:spPr>
      </p:pic>
      <p:pic>
        <p:nvPicPr>
          <p:cNvPr id="3" name="Picture 2">
            <a:extLst>
              <a:ext uri="{FF2B5EF4-FFF2-40B4-BE49-F238E27FC236}">
                <a16:creationId xmlns:a16="http://schemas.microsoft.com/office/drawing/2014/main" id="{64A264B8-10B5-7F76-26DE-D4F1AB06E81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61854" y="3287451"/>
            <a:ext cx="2131915" cy="3040304"/>
          </a:xfrm>
          <a:prstGeom prst="rect">
            <a:avLst/>
          </a:prstGeom>
          <a:ln w="28575">
            <a:solidFill>
              <a:schemeClr val="tx2"/>
            </a:solidFill>
          </a:ln>
        </p:spPr>
      </p:pic>
      <p:sp>
        <p:nvSpPr>
          <p:cNvPr id="19" name="Title 5">
            <a:extLst>
              <a:ext uri="{FF2B5EF4-FFF2-40B4-BE49-F238E27FC236}">
                <a16:creationId xmlns:a16="http://schemas.microsoft.com/office/drawing/2014/main" id="{09554147-58FE-FBA9-768B-0A9BF5678D80}"/>
              </a:ext>
            </a:extLst>
          </p:cNvPr>
          <p:cNvSpPr txBox="1">
            <a:spLocks/>
          </p:cNvSpPr>
          <p:nvPr/>
        </p:nvSpPr>
        <p:spPr bwMode="auto">
          <a:xfrm>
            <a:off x="360000" y="936001"/>
            <a:ext cx="4116750" cy="36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r>
              <a:rPr lang="en-US" dirty="0"/>
              <a:t>What is the Best Way to Present </a:t>
            </a:r>
            <a:r>
              <a:rPr lang="en-US" dirty="0">
                <a:solidFill>
                  <a:schemeClr val="accent1"/>
                </a:solidFill>
              </a:rPr>
              <a:t>ValSuite</a:t>
            </a:r>
            <a:r>
              <a:rPr lang="en-US" dirty="0"/>
              <a:t>?</a:t>
            </a:r>
          </a:p>
        </p:txBody>
      </p:sp>
    </p:spTree>
    <p:extLst>
      <p:ext uri="{BB962C8B-B14F-4D97-AF65-F5344CB8AC3E}">
        <p14:creationId xmlns:p14="http://schemas.microsoft.com/office/powerpoint/2010/main" val="1979471839"/>
      </p:ext>
    </p:extLst>
  </p:cSld>
  <p:clrMapOvr>
    <a:masterClrMapping/>
  </p:clrMapOvr>
  <p:transition spd="slow">
    <p:push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287D09-616E-820F-A7D9-6C2D2E6E2DDD}"/>
            </a:ext>
          </a:extLst>
        </p:cNvPr>
        <p:cNvGrpSpPr/>
        <p:nvPr/>
      </p:nvGrpSpPr>
      <p:grpSpPr>
        <a:xfrm>
          <a:off x="0" y="0"/>
          <a:ext cx="0" cy="0"/>
          <a:chOff x="0" y="0"/>
          <a:chExt cx="0" cy="0"/>
        </a:xfrm>
      </p:grpSpPr>
      <p:sp>
        <p:nvSpPr>
          <p:cNvPr id="13" name="Oval 12">
            <a:extLst>
              <a:ext uri="{FF2B5EF4-FFF2-40B4-BE49-F238E27FC236}">
                <a16:creationId xmlns:a16="http://schemas.microsoft.com/office/drawing/2014/main" id="{751D79B7-1842-BE9F-B6D6-FF372F7F2360}"/>
              </a:ext>
            </a:extLst>
          </p:cNvPr>
          <p:cNvSpPr/>
          <p:nvPr/>
        </p:nvSpPr>
        <p:spPr>
          <a:xfrm>
            <a:off x="-1016287" y="5198099"/>
            <a:ext cx="13081000" cy="508000"/>
          </a:xfrm>
          <a:prstGeom prst="ellipse">
            <a:avLst/>
          </a:prstGeom>
          <a:gradFill>
            <a:gsLst>
              <a:gs pos="86000">
                <a:schemeClr val="accent1">
                  <a:lumMod val="5000"/>
                  <a:lumOff val="95000"/>
                  <a:alpha val="0"/>
                </a:schemeClr>
              </a:gs>
              <a:gs pos="0">
                <a:schemeClr val="tx1">
                  <a:alpha val="28000"/>
                </a:schemeClr>
              </a:gs>
            </a:gsLst>
            <a:path path="circle">
              <a:fillToRect l="50000" t="50000" r="50000" b="50000"/>
            </a:path>
          </a:gradFill>
          <a:ln>
            <a:noFill/>
          </a:ln>
          <a:effectLst>
            <a:softEdge rad="215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close-up of a touch screen&#10;&#10;AI-generated content may be incorrect.">
            <a:extLst>
              <a:ext uri="{FF2B5EF4-FFF2-40B4-BE49-F238E27FC236}">
                <a16:creationId xmlns:a16="http://schemas.microsoft.com/office/drawing/2014/main" id="{E4E58CF8-56ED-F0F9-13B1-50868D2FC7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39237" y="2044700"/>
            <a:ext cx="7740124" cy="5158793"/>
          </a:xfrm>
          <a:prstGeom prst="rect">
            <a:avLst/>
          </a:prstGeom>
        </p:spPr>
      </p:pic>
      <p:pic>
        <p:nvPicPr>
          <p:cNvPr id="9" name="Picture 8" descr="A white device with three metal tubes&#10;&#10;AI-generated content may be incorrect.">
            <a:extLst>
              <a:ext uri="{FF2B5EF4-FFF2-40B4-BE49-F238E27FC236}">
                <a16:creationId xmlns:a16="http://schemas.microsoft.com/office/drawing/2014/main" id="{A2EC9DBA-9BF2-19DF-C529-F1460BACCC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53784" y="2097560"/>
            <a:ext cx="4210929" cy="4297366"/>
          </a:xfrm>
          <a:prstGeom prst="rect">
            <a:avLst/>
          </a:prstGeom>
        </p:spPr>
      </p:pic>
      <p:sp>
        <p:nvSpPr>
          <p:cNvPr id="2" name="Text Placeholder 1">
            <a:extLst>
              <a:ext uri="{FF2B5EF4-FFF2-40B4-BE49-F238E27FC236}">
                <a16:creationId xmlns:a16="http://schemas.microsoft.com/office/drawing/2014/main" id="{3C050E3B-56AF-C571-6889-11E39E669764}"/>
              </a:ext>
            </a:extLst>
          </p:cNvPr>
          <p:cNvSpPr>
            <a:spLocks noGrp="1"/>
          </p:cNvSpPr>
          <p:nvPr>
            <p:ph type="body" sz="half" idx="10"/>
          </p:nvPr>
        </p:nvSpPr>
        <p:spPr/>
        <p:txBody>
          <a:bodyPr/>
          <a:lstStyle/>
          <a:p>
            <a:endParaRPr lang="en-US"/>
          </a:p>
        </p:txBody>
      </p:sp>
      <p:sp>
        <p:nvSpPr>
          <p:cNvPr id="6" name="Title 5">
            <a:extLst>
              <a:ext uri="{FF2B5EF4-FFF2-40B4-BE49-F238E27FC236}">
                <a16:creationId xmlns:a16="http://schemas.microsoft.com/office/drawing/2014/main" id="{E832BE04-41A1-0CD4-91EC-9EDBE36186BC}"/>
              </a:ext>
            </a:extLst>
          </p:cNvPr>
          <p:cNvSpPr>
            <a:spLocks noGrp="1"/>
          </p:cNvSpPr>
          <p:nvPr>
            <p:ph type="title"/>
          </p:nvPr>
        </p:nvSpPr>
        <p:spPr>
          <a:xfrm>
            <a:off x="359999" y="804440"/>
            <a:ext cx="9482501" cy="1102866"/>
          </a:xfrm>
        </p:spPr>
        <p:txBody>
          <a:bodyPr/>
          <a:lstStyle/>
          <a:p>
            <a:r>
              <a:rPr lang="en-US" dirty="0"/>
              <a:t>What is the Best Way to Show Ellab </a:t>
            </a:r>
            <a:r>
              <a:rPr lang="en-US" dirty="0">
                <a:solidFill>
                  <a:schemeClr val="bg2"/>
                </a:solidFill>
              </a:rPr>
              <a:t>Equipment</a:t>
            </a:r>
            <a:r>
              <a:rPr lang="en-US" dirty="0"/>
              <a:t>?</a:t>
            </a:r>
          </a:p>
        </p:txBody>
      </p:sp>
      <p:sp>
        <p:nvSpPr>
          <p:cNvPr id="3" name="Text Placeholder 2">
            <a:extLst>
              <a:ext uri="{FF2B5EF4-FFF2-40B4-BE49-F238E27FC236}">
                <a16:creationId xmlns:a16="http://schemas.microsoft.com/office/drawing/2014/main" id="{5ABA6B2A-E415-8C90-9119-395DE222FB08}"/>
              </a:ext>
            </a:extLst>
          </p:cNvPr>
          <p:cNvSpPr>
            <a:spLocks noGrp="1"/>
          </p:cNvSpPr>
          <p:nvPr>
            <p:ph type="body" sz="half" idx="2"/>
          </p:nvPr>
        </p:nvSpPr>
        <p:spPr/>
        <p:txBody>
          <a:bodyPr/>
          <a:lstStyle/>
          <a:p>
            <a:endParaRPr lang="en-US"/>
          </a:p>
        </p:txBody>
      </p:sp>
      <p:sp>
        <p:nvSpPr>
          <p:cNvPr id="4" name="Text Placeholder 7">
            <a:extLst>
              <a:ext uri="{FF2B5EF4-FFF2-40B4-BE49-F238E27FC236}">
                <a16:creationId xmlns:a16="http://schemas.microsoft.com/office/drawing/2014/main" id="{45A6FE41-CC2D-6410-49AE-16976D7415F0}"/>
              </a:ext>
            </a:extLst>
          </p:cNvPr>
          <p:cNvSpPr txBox="1">
            <a:spLocks/>
          </p:cNvSpPr>
          <p:nvPr/>
        </p:nvSpPr>
        <p:spPr bwMode="auto">
          <a:xfrm>
            <a:off x="4261654" y="2423318"/>
            <a:ext cx="4318001" cy="2682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bg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lnSpc>
                <a:spcPct val="100000"/>
              </a:lnSpc>
            </a:pPr>
            <a:r>
              <a:rPr lang="en-US" sz="2400" b="1" dirty="0">
                <a:solidFill>
                  <a:schemeClr val="bg2"/>
                </a:solidFill>
              </a:rPr>
              <a:t>Now you can show the hardware…</a:t>
            </a:r>
          </a:p>
          <a:p>
            <a:pPr algn="ctr">
              <a:lnSpc>
                <a:spcPct val="100000"/>
              </a:lnSpc>
            </a:pPr>
            <a:endParaRPr lang="en-US" sz="2400" b="1" dirty="0"/>
          </a:p>
          <a:p>
            <a:pPr algn="ctr">
              <a:lnSpc>
                <a:spcPct val="100000"/>
              </a:lnSpc>
            </a:pPr>
            <a:r>
              <a:rPr lang="en-US" sz="2400" b="1" dirty="0">
                <a:solidFill>
                  <a:schemeClr val="tx2"/>
                </a:solidFill>
              </a:rPr>
              <a:t>Small quick session.</a:t>
            </a:r>
            <a:br>
              <a:rPr lang="en-US" sz="2400" b="1" dirty="0">
                <a:solidFill>
                  <a:schemeClr val="tx2"/>
                </a:solidFill>
              </a:rPr>
            </a:br>
            <a:endParaRPr lang="en-US" sz="2400" b="1" dirty="0">
              <a:solidFill>
                <a:schemeClr val="tx2"/>
              </a:solidFill>
            </a:endParaRPr>
          </a:p>
          <a:p>
            <a:pPr algn="ctr">
              <a:lnSpc>
                <a:spcPct val="100000"/>
              </a:lnSpc>
            </a:pPr>
            <a:r>
              <a:rPr lang="en-US" sz="2400" b="1" dirty="0">
                <a:solidFill>
                  <a:schemeClr val="tx2"/>
                </a:solidFill>
              </a:rPr>
              <a:t>Just start and stop. A few seconds</a:t>
            </a:r>
          </a:p>
        </p:txBody>
      </p:sp>
    </p:spTree>
    <p:extLst>
      <p:ext uri="{BB962C8B-B14F-4D97-AF65-F5344CB8AC3E}">
        <p14:creationId xmlns:p14="http://schemas.microsoft.com/office/powerpoint/2010/main" val="31045327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1A47CD9-B6F2-922D-52C6-8ED196BAA852}"/>
              </a:ext>
            </a:extLst>
          </p:cNvPr>
          <p:cNvSpPr>
            <a:spLocks noGrp="1"/>
          </p:cNvSpPr>
          <p:nvPr>
            <p:ph type="body" sz="half" idx="10"/>
          </p:nvPr>
        </p:nvSpPr>
        <p:spPr/>
        <p:txBody>
          <a:bodyPr/>
          <a:lstStyle/>
          <a:p>
            <a:pPr marL="548640" indent="-548640">
              <a:buFontTx/>
              <a:buChar char="-"/>
            </a:pPr>
            <a:r>
              <a:rPr lang="en-US" dirty="0"/>
              <a:t>If time allows, You can open the same session, where the report was created.</a:t>
            </a:r>
          </a:p>
          <a:p>
            <a:pPr marL="548640" indent="-548640">
              <a:buFontTx/>
              <a:buChar char="-"/>
            </a:pPr>
            <a:endParaRPr lang="en-US" dirty="0"/>
          </a:p>
          <a:p>
            <a:pPr marL="548640" indent="-548640">
              <a:buFontTx/>
              <a:buChar char="-"/>
            </a:pPr>
            <a:r>
              <a:rPr lang="en-US" dirty="0"/>
              <a:t>Go over the created session, and show the parts of the report.</a:t>
            </a:r>
          </a:p>
          <a:p>
            <a:pPr marL="548640" indent="-548640">
              <a:buFontTx/>
              <a:buChar char="-"/>
            </a:pPr>
            <a:endParaRPr lang="en-US" dirty="0"/>
          </a:p>
          <a:p>
            <a:pPr marL="548640" indent="-548640">
              <a:buFontTx/>
              <a:buChar char="-"/>
            </a:pPr>
            <a:r>
              <a:rPr lang="en-US" dirty="0"/>
              <a:t>Master a few DEMO sessions</a:t>
            </a:r>
          </a:p>
          <a:p>
            <a:pPr marL="548640" indent="-548640">
              <a:buFontTx/>
              <a:buChar char="-"/>
            </a:pPr>
            <a:endParaRPr lang="en-US" dirty="0"/>
          </a:p>
          <a:p>
            <a:pPr marL="548640" indent="-548640">
              <a:buFontTx/>
              <a:buChar char="-"/>
            </a:pPr>
            <a:r>
              <a:rPr lang="en-US" dirty="0"/>
              <a:t>Choose most relevant applications</a:t>
            </a:r>
          </a:p>
        </p:txBody>
      </p:sp>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p:txBody>
          <a:bodyPr/>
          <a:lstStyle/>
          <a:p>
            <a:r>
              <a:rPr lang="en-US" dirty="0"/>
              <a:t>What is the best way to present </a:t>
            </a:r>
            <a:r>
              <a:rPr lang="en-US" dirty="0" err="1"/>
              <a:t>Valsuite</a:t>
            </a:r>
            <a:endParaRPr lang="en-US" dirty="0"/>
          </a:p>
        </p:txBody>
      </p:sp>
      <p:sp>
        <p:nvSpPr>
          <p:cNvPr id="2" name="Text Placeholder 1">
            <a:extLst>
              <a:ext uri="{FF2B5EF4-FFF2-40B4-BE49-F238E27FC236}">
                <a16:creationId xmlns:a16="http://schemas.microsoft.com/office/drawing/2014/main" id="{8A31D23D-2F9D-10F0-506E-E66F5ABEFB0C}"/>
              </a:ext>
            </a:extLst>
          </p:cNvPr>
          <p:cNvSpPr>
            <a:spLocks noGrp="1"/>
          </p:cNvSpPr>
          <p:nvPr>
            <p:ph type="body" sz="half" idx="2"/>
          </p:nvPr>
        </p:nvSpPr>
        <p:spPr/>
        <p:txBody>
          <a:bodyPr/>
          <a:lstStyle/>
          <a:p>
            <a:endParaRPr lang="en-US"/>
          </a:p>
        </p:txBody>
      </p:sp>
      <p:pic>
        <p:nvPicPr>
          <p:cNvPr id="5" name="Picture 4">
            <a:extLst>
              <a:ext uri="{FF2B5EF4-FFF2-40B4-BE49-F238E27FC236}">
                <a16:creationId xmlns:a16="http://schemas.microsoft.com/office/drawing/2014/main" id="{54434F2A-57D8-E7BB-6301-3ADBB37C795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324368" y="1607290"/>
            <a:ext cx="4675996" cy="2638466"/>
          </a:xfrm>
          <a:prstGeom prst="rect">
            <a:avLst/>
          </a:prstGeom>
          <a:ln w="28575">
            <a:solidFill>
              <a:schemeClr val="accent2"/>
            </a:solidFill>
          </a:ln>
        </p:spPr>
      </p:pic>
      <p:pic>
        <p:nvPicPr>
          <p:cNvPr id="10" name="Picture 9">
            <a:extLst>
              <a:ext uri="{FF2B5EF4-FFF2-40B4-BE49-F238E27FC236}">
                <a16:creationId xmlns:a16="http://schemas.microsoft.com/office/drawing/2014/main" id="{5725469E-41E2-27BA-1432-249BCE24302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71215" y="2142705"/>
            <a:ext cx="4665823" cy="2758921"/>
          </a:xfrm>
          <a:prstGeom prst="rect">
            <a:avLst/>
          </a:prstGeom>
          <a:ln w="28575">
            <a:solidFill>
              <a:schemeClr val="accent2"/>
            </a:solidFill>
          </a:ln>
        </p:spPr>
      </p:pic>
    </p:spTree>
    <p:extLst>
      <p:ext uri="{BB962C8B-B14F-4D97-AF65-F5344CB8AC3E}">
        <p14:creationId xmlns:p14="http://schemas.microsoft.com/office/powerpoint/2010/main" val="574033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F58F87C-00EC-E73B-2517-17A3BD7C4E77}"/>
              </a:ext>
            </a:extLst>
          </p:cNvPr>
          <p:cNvSpPr>
            <a:spLocks noGrp="1"/>
          </p:cNvSpPr>
          <p:nvPr>
            <p:ph type="body" sz="half" idx="10"/>
          </p:nvPr>
        </p:nvSpPr>
        <p:spPr/>
        <p:txBody>
          <a:bodyPr/>
          <a:lstStyle/>
          <a:p>
            <a:endParaRPr lang="en-US"/>
          </a:p>
        </p:txBody>
      </p:sp>
      <p:sp>
        <p:nvSpPr>
          <p:cNvPr id="4" name="Text Placeholder 3">
            <a:extLst>
              <a:ext uri="{FF2B5EF4-FFF2-40B4-BE49-F238E27FC236}">
                <a16:creationId xmlns:a16="http://schemas.microsoft.com/office/drawing/2014/main" id="{6E2D1231-999D-E118-A567-3CA3DBECA80F}"/>
              </a:ext>
            </a:extLst>
          </p:cNvPr>
          <p:cNvSpPr>
            <a:spLocks noGrp="1"/>
          </p:cNvSpPr>
          <p:nvPr>
            <p:ph type="body" sz="half" idx="2"/>
          </p:nvPr>
        </p:nvSpPr>
        <p:spPr/>
        <p:txBody>
          <a:bodyPr/>
          <a:lstStyle/>
          <a:p>
            <a:endParaRPr lang="en-US"/>
          </a:p>
        </p:txBody>
      </p:sp>
      <p:sp>
        <p:nvSpPr>
          <p:cNvPr id="5" name="Title 4">
            <a:extLst>
              <a:ext uri="{FF2B5EF4-FFF2-40B4-BE49-F238E27FC236}">
                <a16:creationId xmlns:a16="http://schemas.microsoft.com/office/drawing/2014/main" id="{BC2D456F-5BA7-7877-A131-3D7D7722760F}"/>
              </a:ext>
            </a:extLst>
          </p:cNvPr>
          <p:cNvSpPr>
            <a:spLocks noGrp="1"/>
          </p:cNvSpPr>
          <p:nvPr>
            <p:ph type="title"/>
          </p:nvPr>
        </p:nvSpPr>
        <p:spPr/>
        <p:txBody>
          <a:bodyPr/>
          <a:lstStyle/>
          <a:p>
            <a:r>
              <a:rPr lang="sv-SE" dirty="0"/>
              <a:t>Ellab </a:t>
            </a:r>
            <a:r>
              <a:rPr lang="sv-SE" dirty="0" err="1"/>
              <a:t>Strategy</a:t>
            </a:r>
            <a:endParaRPr lang="en-SG" dirty="0"/>
          </a:p>
        </p:txBody>
      </p:sp>
    </p:spTree>
    <p:extLst>
      <p:ext uri="{BB962C8B-B14F-4D97-AF65-F5344CB8AC3E}">
        <p14:creationId xmlns:p14="http://schemas.microsoft.com/office/powerpoint/2010/main" val="16393846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an holding baby and using laptop">
            <a:extLst>
              <a:ext uri="{FF2B5EF4-FFF2-40B4-BE49-F238E27FC236}">
                <a16:creationId xmlns:a16="http://schemas.microsoft.com/office/drawing/2014/main" id="{D84D0805-2A57-2913-8AE7-44519B5557F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0" y="1"/>
            <a:ext cx="12192000" cy="6165850"/>
          </a:xfrm>
          <a:prstGeom prst="rect">
            <a:avLst/>
          </a:prstGeom>
        </p:spPr>
      </p:pic>
      <p:sp>
        <p:nvSpPr>
          <p:cNvPr id="3" name="Title 2">
            <a:extLst>
              <a:ext uri="{FF2B5EF4-FFF2-40B4-BE49-F238E27FC236}">
                <a16:creationId xmlns:a16="http://schemas.microsoft.com/office/drawing/2014/main" id="{D55319AA-BCFE-7760-0676-952D85EA08B6}"/>
              </a:ext>
            </a:extLst>
          </p:cNvPr>
          <p:cNvSpPr>
            <a:spLocks noGrp="1"/>
          </p:cNvSpPr>
          <p:nvPr>
            <p:ph type="title"/>
          </p:nvPr>
        </p:nvSpPr>
        <p:spPr>
          <a:xfrm>
            <a:off x="506050" y="546101"/>
            <a:ext cx="6091600" cy="2355850"/>
          </a:xfrm>
          <a:effectLst/>
        </p:spPr>
        <p:txBody>
          <a:bodyPr/>
          <a:lstStyle/>
          <a:p>
            <a:pPr>
              <a:lnSpc>
                <a:spcPct val="100000"/>
              </a:lnSpc>
            </a:pPr>
            <a:r>
              <a:rPr lang="en-US" sz="4800" b="1" dirty="0"/>
              <a:t>Show how </a:t>
            </a:r>
            <a:r>
              <a:rPr lang="en-US" sz="4800" b="1" dirty="0">
                <a:solidFill>
                  <a:schemeClr val="accent1"/>
                </a:solidFill>
              </a:rPr>
              <a:t>user-friendly</a:t>
            </a:r>
            <a:r>
              <a:rPr lang="en-US" sz="4800" b="1" dirty="0"/>
              <a:t> the software is.</a:t>
            </a:r>
            <a:br>
              <a:rPr lang="en-US" sz="4800" b="1" dirty="0"/>
            </a:br>
            <a:endParaRPr lang="en-US" sz="4800" dirty="0"/>
          </a:p>
        </p:txBody>
      </p:sp>
    </p:spTree>
    <p:extLst>
      <p:ext uri="{BB962C8B-B14F-4D97-AF65-F5344CB8AC3E}">
        <p14:creationId xmlns:p14="http://schemas.microsoft.com/office/powerpoint/2010/main" val="165622127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B82E82-A598-CB35-A862-419E4D693116}"/>
              </a:ext>
            </a:extLst>
          </p:cNvPr>
          <p:cNvSpPr>
            <a:spLocks noGrp="1"/>
          </p:cNvSpPr>
          <p:nvPr>
            <p:ph type="body" sz="half" idx="10"/>
          </p:nvPr>
        </p:nvSpPr>
        <p:spPr/>
        <p:txBody>
          <a:bodyPr/>
          <a:lstStyle/>
          <a:p>
            <a:endParaRPr lang="en-US"/>
          </a:p>
        </p:txBody>
      </p:sp>
      <p:sp>
        <p:nvSpPr>
          <p:cNvPr id="6" name="Subtitle 5">
            <a:extLst>
              <a:ext uri="{FF2B5EF4-FFF2-40B4-BE49-F238E27FC236}">
                <a16:creationId xmlns:a16="http://schemas.microsoft.com/office/drawing/2014/main" id="{C2BF63C9-C896-07AD-9148-0CACFC06E749}"/>
              </a:ext>
            </a:extLst>
          </p:cNvPr>
          <p:cNvSpPr>
            <a:spLocks noGrp="1"/>
          </p:cNvSpPr>
          <p:nvPr>
            <p:ph type="body" sz="half" idx="2"/>
          </p:nvPr>
        </p:nvSpPr>
        <p:spPr/>
        <p:txBody>
          <a:bodyPr/>
          <a:lstStyle/>
          <a:p>
            <a:r>
              <a:rPr lang="en-US" dirty="0"/>
              <a:t>ValSuite</a:t>
            </a:r>
          </a:p>
        </p:txBody>
      </p:sp>
      <p:sp>
        <p:nvSpPr>
          <p:cNvPr id="5" name="Title 4">
            <a:extLst>
              <a:ext uri="{FF2B5EF4-FFF2-40B4-BE49-F238E27FC236}">
                <a16:creationId xmlns:a16="http://schemas.microsoft.com/office/drawing/2014/main" id="{8A53FD6C-DD14-2D02-38A4-9EC372F062AC}"/>
              </a:ext>
            </a:extLst>
          </p:cNvPr>
          <p:cNvSpPr>
            <a:spLocks noGrp="1"/>
          </p:cNvSpPr>
          <p:nvPr>
            <p:ph type="title"/>
          </p:nvPr>
        </p:nvSpPr>
        <p:spPr>
          <a:xfrm>
            <a:off x="359999" y="1512243"/>
            <a:ext cx="4797628" cy="1102866"/>
          </a:xfrm>
        </p:spPr>
        <p:txBody>
          <a:bodyPr/>
          <a:lstStyle/>
          <a:p>
            <a:r>
              <a:rPr lang="en-US" dirty="0"/>
              <a:t>Major advantage features</a:t>
            </a:r>
          </a:p>
        </p:txBody>
      </p:sp>
    </p:spTree>
    <p:extLst>
      <p:ext uri="{BB962C8B-B14F-4D97-AF65-F5344CB8AC3E}">
        <p14:creationId xmlns:p14="http://schemas.microsoft.com/office/powerpoint/2010/main" val="361948058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F8ED5E0-CD28-49AF-B2B1-C2E3463836D5}"/>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7" name="Object 16" hidden="1">
                        <a:extLst>
                          <a:ext uri="{FF2B5EF4-FFF2-40B4-BE49-F238E27FC236}">
                            <a16:creationId xmlns:a16="http://schemas.microsoft.com/office/drawing/2014/main" id="{FF8ED5E0-CD28-49AF-B2B1-C2E3463836D5}"/>
                          </a:ext>
                        </a:extLst>
                      </p:cNvPr>
                      <p:cNvPicPr/>
                      <p:nvPr/>
                    </p:nvPicPr>
                    <p:blipFill>
                      <a:blip r:embed="rId4"/>
                      <a:stretch>
                        <a:fillRect/>
                      </a:stretch>
                    </p:blipFill>
                    <p:spPr>
                      <a:xfrm>
                        <a:off x="611505" y="1905"/>
                        <a:ext cx="1906" cy="190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BE049B-B01C-E547-A2C7-B6FE945096AC}"/>
              </a:ext>
            </a:extLst>
          </p:cNvPr>
          <p:cNvSpPr>
            <a:spLocks noGrp="1"/>
          </p:cNvSpPr>
          <p:nvPr>
            <p:ph type="title"/>
          </p:nvPr>
        </p:nvSpPr>
        <p:spPr>
          <a:xfrm>
            <a:off x="1411606" y="2568103"/>
            <a:ext cx="5736000" cy="1654299"/>
          </a:xfrm>
        </p:spPr>
        <p:txBody>
          <a:bodyPr vert="horz"/>
          <a:lstStyle/>
          <a:p>
            <a:pPr fontAlgn="auto">
              <a:defRPr/>
            </a:pPr>
            <a:r>
              <a:rPr lang="en-US" dirty="0"/>
              <a:t>Attack!</a:t>
            </a:r>
          </a:p>
        </p:txBody>
      </p:sp>
      <p:sp>
        <p:nvSpPr>
          <p:cNvPr id="3" name="Subtitle 2">
            <a:extLst>
              <a:ext uri="{FF2B5EF4-FFF2-40B4-BE49-F238E27FC236}">
                <a16:creationId xmlns:a16="http://schemas.microsoft.com/office/drawing/2014/main" id="{D17D0F79-72D8-1A46-9A19-939B533E0305}"/>
              </a:ext>
            </a:extLst>
          </p:cNvPr>
          <p:cNvSpPr>
            <a:spLocks noGrp="1"/>
          </p:cNvSpPr>
          <p:nvPr>
            <p:ph type="body" sz="half" idx="10"/>
          </p:nvPr>
        </p:nvSpPr>
        <p:spPr>
          <a:xfrm>
            <a:off x="1411606" y="3350896"/>
            <a:ext cx="5724525" cy="625620"/>
          </a:xfrm>
        </p:spPr>
        <p:txBody>
          <a:bodyPr/>
          <a:lstStyle/>
          <a:p>
            <a:pPr marL="0" indent="0" fontAlgn="auto">
              <a:buNone/>
              <a:defRPr/>
            </a:pPr>
            <a:r>
              <a:rPr lang="en-US" sz="2000" dirty="0"/>
              <a:t>Do you have any questions?</a:t>
            </a:r>
          </a:p>
          <a:p>
            <a:pPr marL="0" indent="0" fontAlgn="auto">
              <a:buNone/>
              <a:defRPr/>
            </a:pPr>
            <a:endParaRPr lang="en-US" sz="2000" dirty="0"/>
          </a:p>
          <a:p>
            <a:pPr marL="0" indent="0" fontAlgn="auto">
              <a:buNone/>
              <a:defRPr/>
            </a:pPr>
            <a:endParaRPr lang="en-US" sz="2000" dirty="0"/>
          </a:p>
        </p:txBody>
      </p:sp>
      <p:cxnSp>
        <p:nvCxnSpPr>
          <p:cNvPr id="5" name="Straight Connector 4">
            <a:extLst>
              <a:ext uri="{FF2B5EF4-FFF2-40B4-BE49-F238E27FC236}">
                <a16:creationId xmlns:a16="http://schemas.microsoft.com/office/drawing/2014/main" id="{9E82F9B3-12F8-C24A-8DB9-C61B9AF462F5}"/>
              </a:ext>
            </a:extLst>
          </p:cNvPr>
          <p:cNvCxnSpPr>
            <a:cxnSpLocks/>
          </p:cNvCxnSpPr>
          <p:nvPr/>
        </p:nvCxnSpPr>
        <p:spPr>
          <a:xfrm>
            <a:off x="1411606" y="4019550"/>
            <a:ext cx="1207770" cy="0"/>
          </a:xfrm>
          <a:prstGeom prst="line">
            <a:avLst/>
          </a:prstGeom>
          <a:ln w="12700">
            <a:solidFill>
              <a:srgbClr val="9EC9DF"/>
            </a:solidFill>
          </a:ln>
        </p:spPr>
        <p:style>
          <a:lnRef idx="1">
            <a:schemeClr val="accent1"/>
          </a:lnRef>
          <a:fillRef idx="0">
            <a:schemeClr val="accent1"/>
          </a:fillRef>
          <a:effectRef idx="0">
            <a:schemeClr val="accent1"/>
          </a:effectRef>
          <a:fontRef idx="minor">
            <a:schemeClr val="tx1"/>
          </a:fontRef>
        </p:style>
      </p:cxnSp>
      <p:grpSp>
        <p:nvGrpSpPr>
          <p:cNvPr id="6" name="Graphic 56">
            <a:extLst>
              <a:ext uri="{FF2B5EF4-FFF2-40B4-BE49-F238E27FC236}">
                <a16:creationId xmlns:a16="http://schemas.microsoft.com/office/drawing/2014/main" id="{9D117A7E-8C03-524B-B961-AF867FB50A77}"/>
              </a:ext>
            </a:extLst>
          </p:cNvPr>
          <p:cNvGrpSpPr/>
          <p:nvPr/>
        </p:nvGrpSpPr>
        <p:grpSpPr>
          <a:xfrm>
            <a:off x="1411778" y="4959887"/>
            <a:ext cx="225688" cy="191687"/>
            <a:chOff x="5341096" y="5478279"/>
            <a:chExt cx="308452" cy="261981"/>
          </a:xfrm>
          <a:solidFill>
            <a:schemeClr val="bg1"/>
          </a:solidFill>
        </p:grpSpPr>
        <p:sp>
          <p:nvSpPr>
            <p:cNvPr id="7" name="Freeform 6">
              <a:extLst>
                <a:ext uri="{FF2B5EF4-FFF2-40B4-BE49-F238E27FC236}">
                  <a16:creationId xmlns:a16="http://schemas.microsoft.com/office/drawing/2014/main" id="{AB818DCB-8679-D14E-AF2E-593A80BC95B3}"/>
                </a:ext>
              </a:extLst>
            </p:cNvPr>
            <p:cNvSpPr/>
            <p:nvPr/>
          </p:nvSpPr>
          <p:spPr>
            <a:xfrm>
              <a:off x="5341106" y="5478279"/>
              <a:ext cx="308442" cy="261981"/>
            </a:xfrm>
            <a:custGeom>
              <a:avLst/>
              <a:gdLst>
                <a:gd name="connsiteX0" fmla="*/ 307284 w 308442"/>
                <a:gd name="connsiteY0" fmla="*/ 31435 h 261981"/>
                <a:gd name="connsiteX1" fmla="*/ 276130 w 308442"/>
                <a:gd name="connsiteY1" fmla="*/ 40617 h 261981"/>
                <a:gd name="connsiteX2" fmla="*/ 291499 w 308442"/>
                <a:gd name="connsiteY2" fmla="*/ 26577 h 261981"/>
                <a:gd name="connsiteX3" fmla="*/ 301880 w 308442"/>
                <a:gd name="connsiteY3" fmla="*/ 7070 h 261981"/>
                <a:gd name="connsiteX4" fmla="*/ 301816 w 308442"/>
                <a:gd name="connsiteY4" fmla="*/ 5393 h 261981"/>
                <a:gd name="connsiteX5" fmla="*/ 300172 w 308442"/>
                <a:gd name="connsiteY5" fmla="*/ 5536 h 261981"/>
                <a:gd name="connsiteX6" fmla="*/ 263162 w 308442"/>
                <a:gd name="connsiteY6" fmla="*/ 20138 h 261981"/>
                <a:gd name="connsiteX7" fmla="*/ 260612 w 308442"/>
                <a:gd name="connsiteY7" fmla="*/ 19443 h 261981"/>
                <a:gd name="connsiteX8" fmla="*/ 257380 w 308442"/>
                <a:gd name="connsiteY8" fmla="*/ 16033 h 261981"/>
                <a:gd name="connsiteX9" fmla="*/ 239443 w 308442"/>
                <a:gd name="connsiteY9" fmla="*/ 4707 h 261981"/>
                <a:gd name="connsiteX10" fmla="*/ 211946 w 308442"/>
                <a:gd name="connsiteY10" fmla="*/ 135 h 261981"/>
                <a:gd name="connsiteX11" fmla="*/ 185853 w 308442"/>
                <a:gd name="connsiteY11" fmla="*/ 7755 h 261981"/>
                <a:gd name="connsiteX12" fmla="*/ 164813 w 308442"/>
                <a:gd name="connsiteY12" fmla="*/ 25481 h 261981"/>
                <a:gd name="connsiteX13" fmla="*/ 152242 w 308442"/>
                <a:gd name="connsiteY13" fmla="*/ 51437 h 261981"/>
                <a:gd name="connsiteX14" fmla="*/ 151577 w 308442"/>
                <a:gd name="connsiteY14" fmla="*/ 78850 h 261981"/>
                <a:gd name="connsiteX15" fmla="*/ 150303 w 308442"/>
                <a:gd name="connsiteY15" fmla="*/ 80384 h 261981"/>
                <a:gd name="connsiteX16" fmla="*/ 23081 w 308442"/>
                <a:gd name="connsiteY16" fmla="*/ 13604 h 261981"/>
                <a:gd name="connsiteX17" fmla="*/ 19580 w 308442"/>
                <a:gd name="connsiteY17" fmla="*/ 13737 h 261981"/>
                <a:gd name="connsiteX18" fmla="*/ 30608 w 308442"/>
                <a:gd name="connsiteY18" fmla="*/ 92318 h 261981"/>
                <a:gd name="connsiteX19" fmla="*/ 38422 w 308442"/>
                <a:gd name="connsiteY19" fmla="*/ 99405 h 261981"/>
                <a:gd name="connsiteX20" fmla="*/ 13844 w 308442"/>
                <a:gd name="connsiteY20" fmla="*/ 92318 h 261981"/>
                <a:gd name="connsiteX21" fmla="*/ 11480 w 308442"/>
                <a:gd name="connsiteY21" fmla="*/ 93642 h 261981"/>
                <a:gd name="connsiteX22" fmla="*/ 11886 w 308442"/>
                <a:gd name="connsiteY22" fmla="*/ 101158 h 261981"/>
                <a:gd name="connsiteX23" fmla="*/ 52074 w 308442"/>
                <a:gd name="connsiteY23" fmla="*/ 154764 h 261981"/>
                <a:gd name="connsiteX24" fmla="*/ 60229 w 308442"/>
                <a:gd name="connsiteY24" fmla="*/ 157336 h 261981"/>
                <a:gd name="connsiteX25" fmla="*/ 36196 w 308442"/>
                <a:gd name="connsiteY25" fmla="*/ 158117 h 261981"/>
                <a:gd name="connsiteX26" fmla="*/ 34442 w 308442"/>
                <a:gd name="connsiteY26" fmla="*/ 160413 h 261981"/>
                <a:gd name="connsiteX27" fmla="*/ 85020 w 308442"/>
                <a:gd name="connsiteY27" fmla="*/ 204075 h 261981"/>
                <a:gd name="connsiteX28" fmla="*/ 91901 w 308442"/>
                <a:gd name="connsiteY28" fmla="*/ 205028 h 261981"/>
                <a:gd name="connsiteX29" fmla="*/ 91495 w 308442"/>
                <a:gd name="connsiteY29" fmla="*/ 205447 h 261981"/>
                <a:gd name="connsiteX30" fmla="*/ 56960 w 308442"/>
                <a:gd name="connsiteY30" fmla="*/ 224325 h 261981"/>
                <a:gd name="connsiteX31" fmla="*/ 4506 w 308442"/>
                <a:gd name="connsiteY31" fmla="*/ 231250 h 261981"/>
                <a:gd name="connsiteX32" fmla="*/ 332 w 308442"/>
                <a:gd name="connsiteY32" fmla="*/ 231250 h 261981"/>
                <a:gd name="connsiteX33" fmla="*/ 1135 w 308442"/>
                <a:gd name="connsiteY33" fmla="*/ 233155 h 261981"/>
                <a:gd name="connsiteX34" fmla="*/ 12062 w 308442"/>
                <a:gd name="connsiteY34" fmla="*/ 239823 h 261981"/>
                <a:gd name="connsiteX35" fmla="*/ 47095 w 308442"/>
                <a:gd name="connsiteY35" fmla="*/ 254320 h 261981"/>
                <a:gd name="connsiteX36" fmla="*/ 228396 w 308442"/>
                <a:gd name="connsiteY36" fmla="*/ 210609 h 261981"/>
                <a:gd name="connsiteX37" fmla="*/ 278577 w 308442"/>
                <a:gd name="connsiteY37" fmla="*/ 67477 h 261981"/>
                <a:gd name="connsiteX38" fmla="*/ 282327 w 308442"/>
                <a:gd name="connsiteY38" fmla="*/ 63200 h 261981"/>
                <a:gd name="connsiteX39" fmla="*/ 306896 w 308442"/>
                <a:gd name="connsiteY39" fmla="*/ 36730 h 261981"/>
                <a:gd name="connsiteX40" fmla="*/ 308411 w 308442"/>
                <a:gd name="connsiteY40" fmla="*/ 31663 h 261981"/>
                <a:gd name="connsiteX41" fmla="*/ 308411 w 308442"/>
                <a:gd name="connsiteY41" fmla="*/ 31435 h 261981"/>
                <a:gd name="connsiteX42" fmla="*/ 307284 w 308442"/>
                <a:gd name="connsiteY42" fmla="*/ 31435 h 26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08442" h="261981">
                  <a:moveTo>
                    <a:pt x="307284" y="31435"/>
                  </a:moveTo>
                  <a:cubicBezTo>
                    <a:pt x="297321" y="35852"/>
                    <a:pt x="286851" y="38938"/>
                    <a:pt x="276130" y="40617"/>
                  </a:cubicBezTo>
                  <a:cubicBezTo>
                    <a:pt x="281145" y="39740"/>
                    <a:pt x="288543" y="30368"/>
                    <a:pt x="291499" y="26577"/>
                  </a:cubicBezTo>
                  <a:cubicBezTo>
                    <a:pt x="296127" y="20812"/>
                    <a:pt x="299650" y="14192"/>
                    <a:pt x="301880" y="7070"/>
                  </a:cubicBezTo>
                  <a:cubicBezTo>
                    <a:pt x="302148" y="6517"/>
                    <a:pt x="302352" y="5812"/>
                    <a:pt x="301816" y="5393"/>
                  </a:cubicBezTo>
                  <a:cubicBezTo>
                    <a:pt x="301278" y="5161"/>
                    <a:pt x="300664" y="5214"/>
                    <a:pt x="300172" y="5536"/>
                  </a:cubicBezTo>
                  <a:cubicBezTo>
                    <a:pt x="288474" y="11977"/>
                    <a:pt x="276041" y="16883"/>
                    <a:pt x="263162" y="20138"/>
                  </a:cubicBezTo>
                  <a:cubicBezTo>
                    <a:pt x="262253" y="20436"/>
                    <a:pt x="261259" y="20165"/>
                    <a:pt x="260612" y="19443"/>
                  </a:cubicBezTo>
                  <a:cubicBezTo>
                    <a:pt x="259622" y="18221"/>
                    <a:pt x="258541" y="17081"/>
                    <a:pt x="257380" y="16033"/>
                  </a:cubicBezTo>
                  <a:cubicBezTo>
                    <a:pt x="252031" y="11286"/>
                    <a:pt x="245974" y="7462"/>
                    <a:pt x="239443" y="4707"/>
                  </a:cubicBezTo>
                  <a:cubicBezTo>
                    <a:pt x="230727" y="1070"/>
                    <a:pt x="221328" y="-493"/>
                    <a:pt x="211946" y="135"/>
                  </a:cubicBezTo>
                  <a:cubicBezTo>
                    <a:pt x="202830" y="780"/>
                    <a:pt x="193944" y="3375"/>
                    <a:pt x="185853" y="7755"/>
                  </a:cubicBezTo>
                  <a:cubicBezTo>
                    <a:pt x="177744" y="12127"/>
                    <a:pt x="170584" y="18158"/>
                    <a:pt x="164813" y="25481"/>
                  </a:cubicBezTo>
                  <a:cubicBezTo>
                    <a:pt x="158824" y="33076"/>
                    <a:pt x="154532" y="41938"/>
                    <a:pt x="152242" y="51437"/>
                  </a:cubicBezTo>
                  <a:cubicBezTo>
                    <a:pt x="150277" y="60441"/>
                    <a:pt x="150051" y="69756"/>
                    <a:pt x="151577" y="78850"/>
                  </a:cubicBezTo>
                  <a:cubicBezTo>
                    <a:pt x="151771" y="80384"/>
                    <a:pt x="151642" y="80584"/>
                    <a:pt x="150303" y="80384"/>
                  </a:cubicBezTo>
                  <a:cubicBezTo>
                    <a:pt x="99466" y="72564"/>
                    <a:pt x="57329" y="53799"/>
                    <a:pt x="23081" y="13604"/>
                  </a:cubicBezTo>
                  <a:cubicBezTo>
                    <a:pt x="21603" y="11861"/>
                    <a:pt x="20790" y="11861"/>
                    <a:pt x="19580" y="13737"/>
                  </a:cubicBezTo>
                  <a:cubicBezTo>
                    <a:pt x="4608" y="36873"/>
                    <a:pt x="11905" y="74049"/>
                    <a:pt x="30608" y="92318"/>
                  </a:cubicBezTo>
                  <a:cubicBezTo>
                    <a:pt x="33102" y="94757"/>
                    <a:pt x="35661" y="97186"/>
                    <a:pt x="38422" y="99405"/>
                  </a:cubicBezTo>
                  <a:cubicBezTo>
                    <a:pt x="29855" y="98750"/>
                    <a:pt x="21499" y="96341"/>
                    <a:pt x="13844" y="92318"/>
                  </a:cubicBezTo>
                  <a:cubicBezTo>
                    <a:pt x="12357" y="91366"/>
                    <a:pt x="11618" y="91909"/>
                    <a:pt x="11480" y="93642"/>
                  </a:cubicBezTo>
                  <a:cubicBezTo>
                    <a:pt x="11391" y="96155"/>
                    <a:pt x="11527" y="98671"/>
                    <a:pt x="11886" y="101158"/>
                  </a:cubicBezTo>
                  <a:cubicBezTo>
                    <a:pt x="14936" y="125189"/>
                    <a:pt x="30289" y="145669"/>
                    <a:pt x="52074" y="154764"/>
                  </a:cubicBezTo>
                  <a:cubicBezTo>
                    <a:pt x="54690" y="155934"/>
                    <a:pt x="57426" y="156797"/>
                    <a:pt x="60229" y="157336"/>
                  </a:cubicBezTo>
                  <a:cubicBezTo>
                    <a:pt x="52316" y="158971"/>
                    <a:pt x="44194" y="159235"/>
                    <a:pt x="36196" y="158117"/>
                  </a:cubicBezTo>
                  <a:cubicBezTo>
                    <a:pt x="34442" y="157765"/>
                    <a:pt x="33777" y="158670"/>
                    <a:pt x="34442" y="160413"/>
                  </a:cubicBezTo>
                  <a:cubicBezTo>
                    <a:pt x="45036" y="190178"/>
                    <a:pt x="67896" y="199036"/>
                    <a:pt x="85020" y="204075"/>
                  </a:cubicBezTo>
                  <a:cubicBezTo>
                    <a:pt x="87310" y="204494"/>
                    <a:pt x="89638" y="204494"/>
                    <a:pt x="91901" y="205028"/>
                  </a:cubicBezTo>
                  <a:cubicBezTo>
                    <a:pt x="91762" y="205247"/>
                    <a:pt x="91624" y="205247"/>
                    <a:pt x="91495" y="205447"/>
                  </a:cubicBezTo>
                  <a:cubicBezTo>
                    <a:pt x="85814" y="214381"/>
                    <a:pt x="66122" y="221020"/>
                    <a:pt x="56960" y="224325"/>
                  </a:cubicBezTo>
                  <a:cubicBezTo>
                    <a:pt x="40164" y="230506"/>
                    <a:pt x="22271" y="232868"/>
                    <a:pt x="4506" y="231250"/>
                  </a:cubicBezTo>
                  <a:cubicBezTo>
                    <a:pt x="1736" y="230821"/>
                    <a:pt x="1089" y="230850"/>
                    <a:pt x="332" y="231250"/>
                  </a:cubicBezTo>
                  <a:cubicBezTo>
                    <a:pt x="-426" y="231650"/>
                    <a:pt x="230" y="232431"/>
                    <a:pt x="1135" y="233155"/>
                  </a:cubicBezTo>
                  <a:cubicBezTo>
                    <a:pt x="4710" y="235584"/>
                    <a:pt x="8349" y="237746"/>
                    <a:pt x="12062" y="239823"/>
                  </a:cubicBezTo>
                  <a:cubicBezTo>
                    <a:pt x="23191" y="245959"/>
                    <a:pt x="34939" y="250821"/>
                    <a:pt x="47095" y="254320"/>
                  </a:cubicBezTo>
                  <a:cubicBezTo>
                    <a:pt x="110106" y="272265"/>
                    <a:pt x="181087" y="259082"/>
                    <a:pt x="228396" y="210609"/>
                  </a:cubicBezTo>
                  <a:cubicBezTo>
                    <a:pt x="265554" y="172509"/>
                    <a:pt x="278577" y="120036"/>
                    <a:pt x="278577" y="67477"/>
                  </a:cubicBezTo>
                  <a:cubicBezTo>
                    <a:pt x="278577" y="65420"/>
                    <a:pt x="280932" y="64277"/>
                    <a:pt x="282327" y="63200"/>
                  </a:cubicBezTo>
                  <a:cubicBezTo>
                    <a:pt x="291723" y="55658"/>
                    <a:pt x="300000" y="46741"/>
                    <a:pt x="306896" y="36730"/>
                  </a:cubicBezTo>
                  <a:cubicBezTo>
                    <a:pt x="307967" y="35280"/>
                    <a:pt x="308504" y="33484"/>
                    <a:pt x="308411" y="31663"/>
                  </a:cubicBezTo>
                  <a:lnTo>
                    <a:pt x="308411" y="31435"/>
                  </a:lnTo>
                  <a:cubicBezTo>
                    <a:pt x="308484" y="30568"/>
                    <a:pt x="308540" y="30815"/>
                    <a:pt x="307284" y="31435"/>
                  </a:cubicBezTo>
                  <a:close/>
                </a:path>
              </a:pathLst>
            </a:custGeom>
            <a:grpFill/>
            <a:ln w="9236"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sp>
          <p:nvSpPr>
            <p:cNvPr id="8" name="Freeform 7">
              <a:extLst>
                <a:ext uri="{FF2B5EF4-FFF2-40B4-BE49-F238E27FC236}">
                  <a16:creationId xmlns:a16="http://schemas.microsoft.com/office/drawing/2014/main" id="{30776789-090E-CD45-A51F-010BB89DDC74}"/>
                </a:ext>
              </a:extLst>
            </p:cNvPr>
            <p:cNvSpPr/>
            <p:nvPr/>
          </p:nvSpPr>
          <p:spPr>
            <a:xfrm>
              <a:off x="5341096" y="5478282"/>
              <a:ext cx="9236" cy="9525"/>
            </a:xfrm>
            <a:custGeom>
              <a:avLst/>
              <a:gdLst/>
              <a:ahLst/>
              <a:cxnLst/>
              <a:rect l="l" t="t" r="r" b="b"/>
              <a:pathLst>
                <a:path w="9236" h="9525"/>
              </a:pathLst>
            </a:custGeom>
            <a:grpFill/>
            <a:ln w="9236"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sp>
          <p:nvSpPr>
            <p:cNvPr id="9" name="Freeform 8">
              <a:extLst>
                <a:ext uri="{FF2B5EF4-FFF2-40B4-BE49-F238E27FC236}">
                  <a16:creationId xmlns:a16="http://schemas.microsoft.com/office/drawing/2014/main" id="{9EE79142-8F01-2A41-8E85-AFEA925A6877}"/>
                </a:ext>
              </a:extLst>
            </p:cNvPr>
            <p:cNvSpPr/>
            <p:nvPr/>
          </p:nvSpPr>
          <p:spPr>
            <a:xfrm>
              <a:off x="5430347" y="5739162"/>
              <a:ext cx="2354" cy="9525"/>
            </a:xfrm>
            <a:custGeom>
              <a:avLst/>
              <a:gdLst>
                <a:gd name="connsiteX0" fmla="*/ 2355 w 2354"/>
                <a:gd name="connsiteY0" fmla="*/ 0 h 9525"/>
                <a:gd name="connsiteX1" fmla="*/ 2355 w 2354"/>
                <a:gd name="connsiteY1" fmla="*/ 0 h 9525"/>
              </a:gdLst>
              <a:ahLst/>
              <a:cxnLst>
                <a:cxn ang="0">
                  <a:pos x="connsiteX0" y="connsiteY0"/>
                </a:cxn>
                <a:cxn ang="0">
                  <a:pos x="connsiteX1" y="connsiteY1"/>
                </a:cxn>
              </a:cxnLst>
              <a:rect l="l" t="t" r="r" b="b"/>
              <a:pathLst>
                <a:path w="2354" h="9525">
                  <a:moveTo>
                    <a:pt x="2355" y="0"/>
                  </a:moveTo>
                  <a:cubicBezTo>
                    <a:pt x="1949" y="0"/>
                    <a:pt x="-2734" y="0"/>
                    <a:pt x="2355" y="0"/>
                  </a:cubicBezTo>
                  <a:close/>
                </a:path>
              </a:pathLst>
            </a:custGeom>
            <a:grpFill/>
            <a:ln w="9236"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sp>
          <p:nvSpPr>
            <p:cNvPr id="10" name="Freeform 9">
              <a:extLst>
                <a:ext uri="{FF2B5EF4-FFF2-40B4-BE49-F238E27FC236}">
                  <a16:creationId xmlns:a16="http://schemas.microsoft.com/office/drawing/2014/main" id="{7E896A6B-BD2A-B349-B745-3234D02D5773}"/>
                </a:ext>
              </a:extLst>
            </p:cNvPr>
            <p:cNvSpPr/>
            <p:nvPr/>
          </p:nvSpPr>
          <p:spPr>
            <a:xfrm>
              <a:off x="5443083" y="5739201"/>
              <a:ext cx="2430" cy="237"/>
            </a:xfrm>
            <a:custGeom>
              <a:avLst/>
              <a:gdLst>
                <a:gd name="connsiteX0" fmla="*/ 0 w 2430"/>
                <a:gd name="connsiteY0" fmla="*/ 237 h 237"/>
                <a:gd name="connsiteX1" fmla="*/ 0 w 2430"/>
                <a:gd name="connsiteY1" fmla="*/ 237 h 237"/>
                <a:gd name="connsiteX2" fmla="*/ 0 w 2430"/>
                <a:gd name="connsiteY2" fmla="*/ 237 h 237"/>
              </a:gdLst>
              <a:ahLst/>
              <a:cxnLst>
                <a:cxn ang="0">
                  <a:pos x="connsiteX0" y="connsiteY0"/>
                </a:cxn>
                <a:cxn ang="0">
                  <a:pos x="connsiteX1" y="connsiteY1"/>
                </a:cxn>
                <a:cxn ang="0">
                  <a:pos x="connsiteX2" y="connsiteY2"/>
                </a:cxn>
              </a:cxnLst>
              <a:rect l="l" t="t" r="r" b="b"/>
              <a:pathLst>
                <a:path w="2430" h="237">
                  <a:moveTo>
                    <a:pt x="0" y="237"/>
                  </a:moveTo>
                  <a:cubicBezTo>
                    <a:pt x="0" y="-296"/>
                    <a:pt x="5468" y="237"/>
                    <a:pt x="0" y="237"/>
                  </a:cubicBezTo>
                  <a:cubicBezTo>
                    <a:pt x="0" y="-39"/>
                    <a:pt x="674" y="237"/>
                    <a:pt x="0" y="237"/>
                  </a:cubicBezTo>
                  <a:close/>
                </a:path>
              </a:pathLst>
            </a:custGeom>
            <a:grpFill/>
            <a:ln w="9236"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sp>
          <p:nvSpPr>
            <p:cNvPr id="11" name="Freeform 10">
              <a:extLst>
                <a:ext uri="{FF2B5EF4-FFF2-40B4-BE49-F238E27FC236}">
                  <a16:creationId xmlns:a16="http://schemas.microsoft.com/office/drawing/2014/main" id="{B9C7D6A3-D20F-0E49-B92C-7AE07A819041}"/>
                </a:ext>
              </a:extLst>
            </p:cNvPr>
            <p:cNvSpPr/>
            <p:nvPr/>
          </p:nvSpPr>
          <p:spPr>
            <a:xfrm>
              <a:off x="5550909" y="5478672"/>
              <a:ext cx="1274" cy="207"/>
            </a:xfrm>
            <a:custGeom>
              <a:avLst/>
              <a:gdLst>
                <a:gd name="connsiteX0" fmla="*/ 1275 w 1274"/>
                <a:gd name="connsiteY0" fmla="*/ 0 h 207"/>
                <a:gd name="connsiteX1" fmla="*/ 0 w 1274"/>
                <a:gd name="connsiteY1" fmla="*/ 0 h 207"/>
              </a:gdLst>
              <a:ahLst/>
              <a:cxnLst>
                <a:cxn ang="0">
                  <a:pos x="connsiteX0" y="connsiteY0"/>
                </a:cxn>
                <a:cxn ang="0">
                  <a:pos x="connsiteX1" y="connsiteY1"/>
                </a:cxn>
              </a:cxnLst>
              <a:rect l="l" t="t" r="r" b="b"/>
              <a:pathLst>
                <a:path w="1274" h="207">
                  <a:moveTo>
                    <a:pt x="1275" y="0"/>
                  </a:moveTo>
                  <a:cubicBezTo>
                    <a:pt x="892" y="277"/>
                    <a:pt x="382" y="277"/>
                    <a:pt x="0" y="0"/>
                  </a:cubicBezTo>
                  <a:close/>
                </a:path>
              </a:pathLst>
            </a:custGeom>
            <a:grpFill/>
            <a:ln w="9236"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grpSp>
      <p:grpSp>
        <p:nvGrpSpPr>
          <p:cNvPr id="12" name="Graphic 58">
            <a:extLst>
              <a:ext uri="{FF2B5EF4-FFF2-40B4-BE49-F238E27FC236}">
                <a16:creationId xmlns:a16="http://schemas.microsoft.com/office/drawing/2014/main" id="{EC3265CE-0DF6-4B4D-AB4D-FD96B9F848EC}"/>
              </a:ext>
            </a:extLst>
          </p:cNvPr>
          <p:cNvGrpSpPr/>
          <p:nvPr/>
        </p:nvGrpSpPr>
        <p:grpSpPr>
          <a:xfrm>
            <a:off x="1420241" y="4267983"/>
            <a:ext cx="205889" cy="194176"/>
            <a:chOff x="7329020" y="5440182"/>
            <a:chExt cx="281393" cy="265384"/>
          </a:xfrm>
          <a:solidFill>
            <a:schemeClr val="bg1"/>
          </a:solidFill>
        </p:grpSpPr>
        <p:sp>
          <p:nvSpPr>
            <p:cNvPr id="13" name="Freeform 12">
              <a:extLst>
                <a:ext uri="{FF2B5EF4-FFF2-40B4-BE49-F238E27FC236}">
                  <a16:creationId xmlns:a16="http://schemas.microsoft.com/office/drawing/2014/main" id="{287ED9F4-4002-3B4E-A13F-92239D003446}"/>
                </a:ext>
              </a:extLst>
            </p:cNvPr>
            <p:cNvSpPr/>
            <p:nvPr/>
          </p:nvSpPr>
          <p:spPr>
            <a:xfrm>
              <a:off x="7332950" y="5522386"/>
              <a:ext cx="277462" cy="183180"/>
            </a:xfrm>
            <a:custGeom>
              <a:avLst/>
              <a:gdLst>
                <a:gd name="connsiteX0" fmla="*/ 277463 w 277462"/>
                <a:gd name="connsiteY0" fmla="*/ 80575 h 183180"/>
                <a:gd name="connsiteX1" fmla="*/ 277463 w 277462"/>
                <a:gd name="connsiteY1" fmla="*/ 178794 h 183180"/>
                <a:gd name="connsiteX2" fmla="*/ 273011 w 277462"/>
                <a:gd name="connsiteY2" fmla="*/ 183181 h 183180"/>
                <a:gd name="connsiteX3" fmla="*/ 221667 w 277462"/>
                <a:gd name="connsiteY3" fmla="*/ 183181 h 183180"/>
                <a:gd name="connsiteX4" fmla="*/ 217215 w 277462"/>
                <a:gd name="connsiteY4" fmla="*/ 178794 h 183180"/>
                <a:gd name="connsiteX5" fmla="*/ 217215 w 277462"/>
                <a:gd name="connsiteY5" fmla="*/ 87445 h 183180"/>
                <a:gd name="connsiteX6" fmla="*/ 186704 w 277462"/>
                <a:gd name="connsiteY6" fmla="*/ 46980 h 183180"/>
                <a:gd name="connsiteX7" fmla="*/ 155803 w 277462"/>
                <a:gd name="connsiteY7" fmla="*/ 68739 h 183180"/>
                <a:gd name="connsiteX8" fmla="*/ 153800 w 277462"/>
                <a:gd name="connsiteY8" fmla="*/ 83233 h 183180"/>
                <a:gd name="connsiteX9" fmla="*/ 153800 w 277462"/>
                <a:gd name="connsiteY9" fmla="*/ 178785 h 183180"/>
                <a:gd name="connsiteX10" fmla="*/ 149358 w 277462"/>
                <a:gd name="connsiteY10" fmla="*/ 183181 h 183180"/>
                <a:gd name="connsiteX11" fmla="*/ 98023 w 277462"/>
                <a:gd name="connsiteY11" fmla="*/ 183181 h 183180"/>
                <a:gd name="connsiteX12" fmla="*/ 93571 w 277462"/>
                <a:gd name="connsiteY12" fmla="*/ 178822 h 183180"/>
                <a:gd name="connsiteX13" fmla="*/ 93571 w 277462"/>
                <a:gd name="connsiteY13" fmla="*/ 178785 h 183180"/>
                <a:gd name="connsiteX14" fmla="*/ 93683 w 277462"/>
                <a:gd name="connsiteY14" fmla="*/ 8694 h 183180"/>
                <a:gd name="connsiteX15" fmla="*/ 98022 w 277462"/>
                <a:gd name="connsiteY15" fmla="*/ 4244 h 183180"/>
                <a:gd name="connsiteX16" fmla="*/ 98125 w 277462"/>
                <a:gd name="connsiteY16" fmla="*/ 4243 h 183180"/>
                <a:gd name="connsiteX17" fmla="*/ 149349 w 277462"/>
                <a:gd name="connsiteY17" fmla="*/ 4243 h 183180"/>
                <a:gd name="connsiteX18" fmla="*/ 153800 w 277462"/>
                <a:gd name="connsiteY18" fmla="*/ 8639 h 183180"/>
                <a:gd name="connsiteX19" fmla="*/ 153800 w 277462"/>
                <a:gd name="connsiteY19" fmla="*/ 29607 h 183180"/>
                <a:gd name="connsiteX20" fmla="*/ 153400 w 277462"/>
                <a:gd name="connsiteY20" fmla="*/ 30187 h 183180"/>
                <a:gd name="connsiteX21" fmla="*/ 153800 w 277462"/>
                <a:gd name="connsiteY21" fmla="*/ 30187 h 183180"/>
                <a:gd name="connsiteX22" fmla="*/ 153800 w 277462"/>
                <a:gd name="connsiteY22" fmla="*/ 29607 h 183180"/>
                <a:gd name="connsiteX23" fmla="*/ 208097 w 277462"/>
                <a:gd name="connsiteY23" fmla="*/ 50 h 183180"/>
                <a:gd name="connsiteX24" fmla="*/ 277454 w 277462"/>
                <a:gd name="connsiteY24" fmla="*/ 80566 h 183180"/>
                <a:gd name="connsiteX25" fmla="*/ 4452 w 277462"/>
                <a:gd name="connsiteY25" fmla="*/ 183181 h 183180"/>
                <a:gd name="connsiteX26" fmla="*/ 55787 w 277462"/>
                <a:gd name="connsiteY26" fmla="*/ 183181 h 183180"/>
                <a:gd name="connsiteX27" fmla="*/ 60239 w 277462"/>
                <a:gd name="connsiteY27" fmla="*/ 178794 h 183180"/>
                <a:gd name="connsiteX28" fmla="*/ 60239 w 277462"/>
                <a:gd name="connsiteY28" fmla="*/ 8639 h 183180"/>
                <a:gd name="connsiteX29" fmla="*/ 55787 w 277462"/>
                <a:gd name="connsiteY29" fmla="*/ 4243 h 183180"/>
                <a:gd name="connsiteX30" fmla="*/ 4452 w 277462"/>
                <a:gd name="connsiteY30" fmla="*/ 4243 h 183180"/>
                <a:gd name="connsiteX31" fmla="*/ 0 w 277462"/>
                <a:gd name="connsiteY31" fmla="*/ 8639 h 183180"/>
                <a:gd name="connsiteX32" fmla="*/ 0 w 277462"/>
                <a:gd name="connsiteY32" fmla="*/ 178776 h 183180"/>
                <a:gd name="connsiteX33" fmla="*/ 4442 w 277462"/>
                <a:gd name="connsiteY33" fmla="*/ 183181 h 183180"/>
                <a:gd name="connsiteX34" fmla="*/ 4452 w 277462"/>
                <a:gd name="connsiteY34" fmla="*/ 183181 h 18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7462" h="183180">
                  <a:moveTo>
                    <a:pt x="277463" y="80575"/>
                  </a:moveTo>
                  <a:lnTo>
                    <a:pt x="277463" y="178794"/>
                  </a:lnTo>
                  <a:cubicBezTo>
                    <a:pt x="277458" y="181218"/>
                    <a:pt x="275466" y="183181"/>
                    <a:pt x="273011" y="183181"/>
                  </a:cubicBezTo>
                  <a:lnTo>
                    <a:pt x="221667" y="183181"/>
                  </a:lnTo>
                  <a:cubicBezTo>
                    <a:pt x="219212" y="183181"/>
                    <a:pt x="217220" y="181218"/>
                    <a:pt x="217215" y="178794"/>
                  </a:cubicBezTo>
                  <a:lnTo>
                    <a:pt x="217215" y="87445"/>
                  </a:lnTo>
                  <a:cubicBezTo>
                    <a:pt x="217215" y="63405"/>
                    <a:pt x="208516" y="46980"/>
                    <a:pt x="186704" y="46980"/>
                  </a:cubicBezTo>
                  <a:cubicBezTo>
                    <a:pt x="172783" y="47058"/>
                    <a:pt x="160414" y="55768"/>
                    <a:pt x="155803" y="68739"/>
                  </a:cubicBezTo>
                  <a:cubicBezTo>
                    <a:pt x="154251" y="73410"/>
                    <a:pt x="153573" y="78321"/>
                    <a:pt x="153800" y="83233"/>
                  </a:cubicBezTo>
                  <a:lnTo>
                    <a:pt x="153800" y="178785"/>
                  </a:lnTo>
                  <a:cubicBezTo>
                    <a:pt x="153800" y="181209"/>
                    <a:pt x="151813" y="183176"/>
                    <a:pt x="149358" y="183181"/>
                  </a:cubicBezTo>
                  <a:lnTo>
                    <a:pt x="98023" y="183181"/>
                  </a:lnTo>
                  <a:cubicBezTo>
                    <a:pt x="95575" y="183191"/>
                    <a:pt x="93581" y="181239"/>
                    <a:pt x="93571" y="178822"/>
                  </a:cubicBezTo>
                  <a:cubicBezTo>
                    <a:pt x="93571" y="178809"/>
                    <a:pt x="93571" y="178797"/>
                    <a:pt x="93571" y="178785"/>
                  </a:cubicBezTo>
                  <a:cubicBezTo>
                    <a:pt x="93683" y="154460"/>
                    <a:pt x="94204" y="36431"/>
                    <a:pt x="93683" y="8694"/>
                  </a:cubicBezTo>
                  <a:cubicBezTo>
                    <a:pt x="93637" y="6282"/>
                    <a:pt x="95579" y="4290"/>
                    <a:pt x="98022" y="4244"/>
                  </a:cubicBezTo>
                  <a:cubicBezTo>
                    <a:pt x="98056" y="4243"/>
                    <a:pt x="98091" y="4243"/>
                    <a:pt x="98125" y="4243"/>
                  </a:cubicBezTo>
                  <a:lnTo>
                    <a:pt x="149349" y="4243"/>
                  </a:lnTo>
                  <a:cubicBezTo>
                    <a:pt x="151807" y="4243"/>
                    <a:pt x="153800" y="6211"/>
                    <a:pt x="153800" y="8639"/>
                  </a:cubicBezTo>
                  <a:lnTo>
                    <a:pt x="153800" y="29607"/>
                  </a:lnTo>
                  <a:cubicBezTo>
                    <a:pt x="153679" y="29801"/>
                    <a:pt x="153512" y="29994"/>
                    <a:pt x="153400" y="30187"/>
                  </a:cubicBezTo>
                  <a:lnTo>
                    <a:pt x="153800" y="30187"/>
                  </a:lnTo>
                  <a:lnTo>
                    <a:pt x="153800" y="29607"/>
                  </a:lnTo>
                  <a:cubicBezTo>
                    <a:pt x="164913" y="10539"/>
                    <a:pt x="185836" y="-851"/>
                    <a:pt x="208097" y="50"/>
                  </a:cubicBezTo>
                  <a:cubicBezTo>
                    <a:pt x="247735" y="50"/>
                    <a:pt x="277454" y="25616"/>
                    <a:pt x="277454" y="80566"/>
                  </a:cubicBezTo>
                  <a:close/>
                  <a:moveTo>
                    <a:pt x="4452" y="183181"/>
                  </a:moveTo>
                  <a:lnTo>
                    <a:pt x="55787" y="183181"/>
                  </a:lnTo>
                  <a:cubicBezTo>
                    <a:pt x="58242" y="183181"/>
                    <a:pt x="60234" y="181218"/>
                    <a:pt x="60239" y="178794"/>
                  </a:cubicBezTo>
                  <a:lnTo>
                    <a:pt x="60239" y="8639"/>
                  </a:lnTo>
                  <a:cubicBezTo>
                    <a:pt x="60239" y="6211"/>
                    <a:pt x="58246" y="4243"/>
                    <a:pt x="55787" y="4243"/>
                  </a:cubicBezTo>
                  <a:lnTo>
                    <a:pt x="4452" y="4243"/>
                  </a:lnTo>
                  <a:cubicBezTo>
                    <a:pt x="1993" y="4243"/>
                    <a:pt x="0" y="6211"/>
                    <a:pt x="0" y="8639"/>
                  </a:cubicBezTo>
                  <a:lnTo>
                    <a:pt x="0" y="178776"/>
                  </a:lnTo>
                  <a:cubicBezTo>
                    <a:pt x="-5" y="181203"/>
                    <a:pt x="1984" y="183176"/>
                    <a:pt x="4442" y="183181"/>
                  </a:cubicBezTo>
                  <a:cubicBezTo>
                    <a:pt x="4446" y="183181"/>
                    <a:pt x="4449" y="183181"/>
                    <a:pt x="4452" y="183181"/>
                  </a:cubicBezTo>
                  <a:close/>
                </a:path>
              </a:pathLst>
            </a:custGeom>
            <a:grpFill/>
            <a:ln w="9208"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sp>
          <p:nvSpPr>
            <p:cNvPr id="14" name="Freeform 13">
              <a:extLst>
                <a:ext uri="{FF2B5EF4-FFF2-40B4-BE49-F238E27FC236}">
                  <a16:creationId xmlns:a16="http://schemas.microsoft.com/office/drawing/2014/main" id="{536C2085-3059-D347-8C15-2AD3D8FEE8DE}"/>
                </a:ext>
              </a:extLst>
            </p:cNvPr>
            <p:cNvSpPr/>
            <p:nvPr/>
          </p:nvSpPr>
          <p:spPr>
            <a:xfrm>
              <a:off x="7329020" y="5440182"/>
              <a:ext cx="64504" cy="63695"/>
            </a:xfrm>
            <a:custGeom>
              <a:avLst/>
              <a:gdLst>
                <a:gd name="connsiteX0" fmla="*/ 64504 w 64504"/>
                <a:gd name="connsiteY0" fmla="*/ 31848 h 63695"/>
                <a:gd name="connsiteX1" fmla="*/ 32252 w 64504"/>
                <a:gd name="connsiteY1" fmla="*/ 63695 h 63695"/>
                <a:gd name="connsiteX2" fmla="*/ 0 w 64504"/>
                <a:gd name="connsiteY2" fmla="*/ 31848 h 63695"/>
                <a:gd name="connsiteX3" fmla="*/ 32252 w 64504"/>
                <a:gd name="connsiteY3" fmla="*/ 0 h 63695"/>
                <a:gd name="connsiteX4" fmla="*/ 64504 w 64504"/>
                <a:gd name="connsiteY4" fmla="*/ 31848 h 63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04" h="63695">
                  <a:moveTo>
                    <a:pt x="64504" y="31848"/>
                  </a:moveTo>
                  <a:cubicBezTo>
                    <a:pt x="64504" y="49437"/>
                    <a:pt x="50064" y="63695"/>
                    <a:pt x="32252" y="63695"/>
                  </a:cubicBezTo>
                  <a:cubicBezTo>
                    <a:pt x="14440" y="63695"/>
                    <a:pt x="0" y="49437"/>
                    <a:pt x="0" y="31848"/>
                  </a:cubicBezTo>
                  <a:cubicBezTo>
                    <a:pt x="0" y="14259"/>
                    <a:pt x="14440" y="0"/>
                    <a:pt x="32252" y="0"/>
                  </a:cubicBezTo>
                  <a:cubicBezTo>
                    <a:pt x="50062" y="5"/>
                    <a:pt x="64499" y="14261"/>
                    <a:pt x="64504" y="31848"/>
                  </a:cubicBezTo>
                  <a:close/>
                </a:path>
              </a:pathLst>
            </a:custGeom>
            <a:grpFill/>
            <a:ln w="9208"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grpSp>
      <p:sp>
        <p:nvSpPr>
          <p:cNvPr id="15" name="Graphic 60">
            <a:extLst>
              <a:ext uri="{FF2B5EF4-FFF2-40B4-BE49-F238E27FC236}">
                <a16:creationId xmlns:a16="http://schemas.microsoft.com/office/drawing/2014/main" id="{92142D65-F03C-CB48-AE93-151AE8B85CE9}"/>
              </a:ext>
            </a:extLst>
          </p:cNvPr>
          <p:cNvSpPr/>
          <p:nvPr/>
        </p:nvSpPr>
        <p:spPr>
          <a:xfrm>
            <a:off x="1412612" y="4632960"/>
            <a:ext cx="230506" cy="165736"/>
          </a:xfrm>
          <a:custGeom>
            <a:avLst/>
            <a:gdLst>
              <a:gd name="connsiteX0" fmla="*/ 315632 w 315632"/>
              <a:gd name="connsiteY0" fmla="*/ 70085 h 225361"/>
              <a:gd name="connsiteX1" fmla="*/ 246922 w 315632"/>
              <a:gd name="connsiteY1" fmla="*/ 0 h 225361"/>
              <a:gd name="connsiteX2" fmla="*/ 68711 w 315632"/>
              <a:gd name="connsiteY2" fmla="*/ 0 h 225361"/>
              <a:gd name="connsiteX3" fmla="*/ 0 w 315632"/>
              <a:gd name="connsiteY3" fmla="*/ 70085 h 225361"/>
              <a:gd name="connsiteX4" fmla="*/ 0 w 315632"/>
              <a:gd name="connsiteY4" fmla="*/ 155258 h 225361"/>
              <a:gd name="connsiteX5" fmla="*/ 68692 w 315632"/>
              <a:gd name="connsiteY5" fmla="*/ 225362 h 225361"/>
              <a:gd name="connsiteX6" fmla="*/ 68711 w 315632"/>
              <a:gd name="connsiteY6" fmla="*/ 225362 h 225361"/>
              <a:gd name="connsiteX7" fmla="*/ 246922 w 315632"/>
              <a:gd name="connsiteY7" fmla="*/ 225362 h 225361"/>
              <a:gd name="connsiteX8" fmla="*/ 315632 w 315632"/>
              <a:gd name="connsiteY8" fmla="*/ 155277 h 225361"/>
              <a:gd name="connsiteX9" fmla="*/ 315632 w 315632"/>
              <a:gd name="connsiteY9" fmla="*/ 155258 h 225361"/>
              <a:gd name="connsiteX10" fmla="*/ 203191 w 315632"/>
              <a:gd name="connsiteY10" fmla="*/ 116977 h 225361"/>
              <a:gd name="connsiteX11" fmla="*/ 132117 w 315632"/>
              <a:gd name="connsiteY11" fmla="*/ 156734 h 225361"/>
              <a:gd name="connsiteX12" fmla="*/ 126253 w 315632"/>
              <a:gd name="connsiteY12" fmla="*/ 152571 h 225361"/>
              <a:gd name="connsiteX13" fmla="*/ 126253 w 315632"/>
              <a:gd name="connsiteY13" fmla="*/ 70961 h 225361"/>
              <a:gd name="connsiteX14" fmla="*/ 132211 w 315632"/>
              <a:gd name="connsiteY14" fmla="*/ 66846 h 225361"/>
              <a:gd name="connsiteX15" fmla="*/ 203770 w 315632"/>
              <a:gd name="connsiteY15" fmla="*/ 108699 h 225361"/>
              <a:gd name="connsiteX16" fmla="*/ 205088 w 315632"/>
              <a:gd name="connsiteY16" fmla="*/ 115299 h 225361"/>
              <a:gd name="connsiteX17" fmla="*/ 203191 w 315632"/>
              <a:gd name="connsiteY17" fmla="*/ 116977 h 22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5632" h="225361">
                <a:moveTo>
                  <a:pt x="315632" y="70085"/>
                </a:moveTo>
                <a:cubicBezTo>
                  <a:pt x="315632" y="31378"/>
                  <a:pt x="284870" y="0"/>
                  <a:pt x="246922" y="0"/>
                </a:cubicBezTo>
                <a:lnTo>
                  <a:pt x="68711" y="0"/>
                </a:lnTo>
                <a:cubicBezTo>
                  <a:pt x="30763" y="0"/>
                  <a:pt x="0" y="31378"/>
                  <a:pt x="0" y="70085"/>
                </a:cubicBezTo>
                <a:lnTo>
                  <a:pt x="0" y="155258"/>
                </a:lnTo>
                <a:cubicBezTo>
                  <a:pt x="-10" y="193964"/>
                  <a:pt x="30744" y="225351"/>
                  <a:pt x="68692" y="225362"/>
                </a:cubicBezTo>
                <a:cubicBezTo>
                  <a:pt x="68698" y="225362"/>
                  <a:pt x="68705" y="225362"/>
                  <a:pt x="68711" y="225362"/>
                </a:cubicBezTo>
                <a:lnTo>
                  <a:pt x="246922" y="225362"/>
                </a:lnTo>
                <a:cubicBezTo>
                  <a:pt x="284870" y="225362"/>
                  <a:pt x="315632" y="193983"/>
                  <a:pt x="315632" y="155277"/>
                </a:cubicBezTo>
                <a:cubicBezTo>
                  <a:pt x="315632" y="155270"/>
                  <a:pt x="315632" y="155264"/>
                  <a:pt x="315632" y="155258"/>
                </a:cubicBezTo>
                <a:close/>
                <a:moveTo>
                  <a:pt x="203191" y="116977"/>
                </a:moveTo>
                <a:lnTo>
                  <a:pt x="132117" y="156734"/>
                </a:lnTo>
                <a:cubicBezTo>
                  <a:pt x="129036" y="158439"/>
                  <a:pt x="126253" y="156153"/>
                  <a:pt x="126253" y="152571"/>
                </a:cubicBezTo>
                <a:lnTo>
                  <a:pt x="126253" y="70961"/>
                </a:lnTo>
                <a:cubicBezTo>
                  <a:pt x="126253" y="67332"/>
                  <a:pt x="129120" y="65056"/>
                  <a:pt x="132211" y="66846"/>
                </a:cubicBezTo>
                <a:lnTo>
                  <a:pt x="203770" y="108699"/>
                </a:lnTo>
                <a:cubicBezTo>
                  <a:pt x="205920" y="110150"/>
                  <a:pt x="206511" y="113105"/>
                  <a:pt x="205088" y="115299"/>
                </a:cubicBezTo>
                <a:cubicBezTo>
                  <a:pt x="204618" y="116024"/>
                  <a:pt x="203961" y="116605"/>
                  <a:pt x="203191" y="116977"/>
                </a:cubicBezTo>
                <a:close/>
              </a:path>
            </a:pathLst>
          </a:custGeom>
          <a:solidFill>
            <a:schemeClr val="bg1"/>
          </a:solidFill>
          <a:ln w="9245"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sp>
        <p:nvSpPr>
          <p:cNvPr id="16" name="Subtitle 6">
            <a:extLst>
              <a:ext uri="{FF2B5EF4-FFF2-40B4-BE49-F238E27FC236}">
                <a16:creationId xmlns:a16="http://schemas.microsoft.com/office/drawing/2014/main" id="{67BB9B40-A322-BA42-BC65-571F894DD7C6}"/>
              </a:ext>
            </a:extLst>
          </p:cNvPr>
          <p:cNvSpPr txBox="1">
            <a:spLocks noChangeArrowheads="1"/>
          </p:cNvSpPr>
          <p:nvPr/>
        </p:nvSpPr>
        <p:spPr bwMode="auto">
          <a:xfrm>
            <a:off x="1646928" y="4231006"/>
            <a:ext cx="3893820" cy="133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6" tIns="91426" rIns="91426" bIns="91426"/>
          <a:lstStyle>
            <a:lvl1pPr indent="-228600">
              <a:defRPr>
                <a:solidFill>
                  <a:schemeClr val="tx1"/>
                </a:solidFill>
                <a:latin typeface="Calibri" panose="020F0502020204030204" pitchFamily="34" charset="0"/>
              </a:defRPr>
            </a:lvl1pPr>
            <a:lvl2pPr marL="685800" indent="-2286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1097280" eaLnBrk="1" hangingPunct="1">
              <a:lnSpc>
                <a:spcPct val="90000"/>
              </a:lnSpc>
            </a:pPr>
            <a:r>
              <a:rPr lang="en-US" altLang="en-US" sz="1200" dirty="0">
                <a:solidFill>
                  <a:schemeClr val="bg1"/>
                </a:solidFill>
                <a:latin typeface="AvenirNext LT Pro Regular" panose="020B0504020202020204" pitchFamily="34" charset="77"/>
              </a:rPr>
              <a:t>linkedin.com/company/ellab/</a:t>
            </a:r>
          </a:p>
          <a:p>
            <a:pPr defTabSz="1097280" eaLnBrk="1" hangingPunct="1">
              <a:lnSpc>
                <a:spcPct val="90000"/>
              </a:lnSpc>
            </a:pPr>
            <a:endParaRPr lang="en-US" altLang="en-US" sz="1200" dirty="0">
              <a:solidFill>
                <a:schemeClr val="bg1"/>
              </a:solidFill>
              <a:latin typeface="AvenirNext LT Pro Regular" panose="020B0504020202020204" pitchFamily="34" charset="77"/>
            </a:endParaRPr>
          </a:p>
          <a:p>
            <a:pPr defTabSz="1097280" eaLnBrk="1" hangingPunct="1">
              <a:lnSpc>
                <a:spcPct val="90000"/>
              </a:lnSpc>
            </a:pPr>
            <a:r>
              <a:rPr lang="en-US" altLang="en-US" sz="1200" dirty="0">
                <a:solidFill>
                  <a:schemeClr val="bg1"/>
                </a:solidFill>
                <a:latin typeface="AvenirNext LT Pro Regular" panose="020B0504020202020204" pitchFamily="34" charset="77"/>
              </a:rPr>
              <a:t>youtube.com/c/</a:t>
            </a:r>
            <a:r>
              <a:rPr lang="en-US" altLang="en-US" sz="1200" dirty="0" err="1">
                <a:solidFill>
                  <a:schemeClr val="bg1"/>
                </a:solidFill>
                <a:latin typeface="AvenirNext LT Pro Regular" panose="020B0504020202020204" pitchFamily="34" charset="77"/>
              </a:rPr>
              <a:t>EllabValidationMonitoringSolutions</a:t>
            </a:r>
            <a:endParaRPr lang="en-US" altLang="en-US" sz="1200" u="sng" dirty="0">
              <a:solidFill>
                <a:schemeClr val="bg1"/>
              </a:solidFill>
              <a:latin typeface="AvenirNext LT Pro Regular" panose="020B0504020202020204" pitchFamily="34" charset="77"/>
            </a:endParaRPr>
          </a:p>
          <a:p>
            <a:pPr defTabSz="1097280" eaLnBrk="1" hangingPunct="1">
              <a:lnSpc>
                <a:spcPct val="90000"/>
              </a:lnSpc>
            </a:pPr>
            <a:endParaRPr lang="en-US" altLang="en-US" sz="1200" dirty="0">
              <a:solidFill>
                <a:schemeClr val="bg1"/>
              </a:solidFill>
              <a:latin typeface="AvenirNext LT Pro Regular" panose="020B0504020202020204" pitchFamily="34" charset="77"/>
            </a:endParaRPr>
          </a:p>
          <a:p>
            <a:pPr defTabSz="1097280" eaLnBrk="1" hangingPunct="1">
              <a:lnSpc>
                <a:spcPct val="90000"/>
              </a:lnSpc>
            </a:pPr>
            <a:r>
              <a:rPr lang="en-US" altLang="en-US" sz="1200" dirty="0">
                <a:solidFill>
                  <a:schemeClr val="bg1"/>
                </a:solidFill>
                <a:latin typeface="AvenirNext LT Pro Regular" panose="020B0504020202020204" pitchFamily="34" charset="77"/>
              </a:rPr>
              <a:t>twitter.com/</a:t>
            </a:r>
            <a:r>
              <a:rPr lang="en-US" altLang="en-US" sz="1200" dirty="0" err="1">
                <a:solidFill>
                  <a:schemeClr val="bg1"/>
                </a:solidFill>
                <a:latin typeface="AvenirNext LT Pro Regular" panose="020B0504020202020204" pitchFamily="34" charset="77"/>
              </a:rPr>
              <a:t>ellabsolutions</a:t>
            </a:r>
            <a:endParaRPr lang="en-US" altLang="en-US" sz="1200" dirty="0">
              <a:solidFill>
                <a:schemeClr val="bg1"/>
              </a:solidFill>
              <a:latin typeface="AvenirNext LT Pro Regular" panose="020B0504020202020204" pitchFamily="34" charset="77"/>
            </a:endParaRPr>
          </a:p>
        </p:txBody>
      </p:sp>
      <p:pic>
        <p:nvPicPr>
          <p:cNvPr id="19" name="Picture 18" descr="Cheetah running on black background">
            <a:extLst>
              <a:ext uri="{FF2B5EF4-FFF2-40B4-BE49-F238E27FC236}">
                <a16:creationId xmlns:a16="http://schemas.microsoft.com/office/drawing/2014/main" id="{0F6B6E0B-663A-B083-09FA-2E819FB017AC}"/>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6763658" y="1"/>
            <a:ext cx="4297624" cy="5979885"/>
          </a:xfrm>
          <a:custGeom>
            <a:avLst/>
            <a:gdLst>
              <a:gd name="connsiteX0" fmla="*/ 0 w 4297624"/>
              <a:gd name="connsiteY0" fmla="*/ 0 h 5979885"/>
              <a:gd name="connsiteX1" fmla="*/ 4296229 w 4297624"/>
              <a:gd name="connsiteY1" fmla="*/ 0 h 5979885"/>
              <a:gd name="connsiteX2" fmla="*/ 4296228 w 4297624"/>
              <a:gd name="connsiteY2" fmla="*/ 3178627 h 5979885"/>
              <a:gd name="connsiteX3" fmla="*/ 0 w 4297624"/>
              <a:gd name="connsiteY3" fmla="*/ 5979885 h 5979885"/>
            </a:gdLst>
            <a:ahLst/>
            <a:cxnLst>
              <a:cxn ang="0">
                <a:pos x="connsiteX0" y="connsiteY0"/>
              </a:cxn>
              <a:cxn ang="0">
                <a:pos x="connsiteX1" y="connsiteY1"/>
              </a:cxn>
              <a:cxn ang="0">
                <a:pos x="connsiteX2" y="connsiteY2"/>
              </a:cxn>
              <a:cxn ang="0">
                <a:pos x="connsiteX3" y="connsiteY3"/>
              </a:cxn>
            </a:cxnLst>
            <a:rect l="l" t="t" r="r" b="b"/>
            <a:pathLst>
              <a:path w="4297624" h="5979885">
                <a:moveTo>
                  <a:pt x="0" y="0"/>
                </a:moveTo>
                <a:lnTo>
                  <a:pt x="4296229" y="0"/>
                </a:lnTo>
                <a:cubicBezTo>
                  <a:pt x="4291391" y="1107923"/>
                  <a:pt x="4301066" y="2070704"/>
                  <a:pt x="4296228" y="3178627"/>
                </a:cubicBezTo>
                <a:lnTo>
                  <a:pt x="0" y="5979885"/>
                </a:lnTo>
                <a:close/>
              </a:path>
            </a:pathLst>
          </a:custGeom>
        </p:spPr>
      </p:pic>
    </p:spTree>
    <p:extLst>
      <p:ext uri="{BB962C8B-B14F-4D97-AF65-F5344CB8AC3E}">
        <p14:creationId xmlns:p14="http://schemas.microsoft.com/office/powerpoint/2010/main" val="12006140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183B152-35E4-C4FB-9A1C-652B52B3D7CA}"/>
              </a:ext>
            </a:extLst>
          </p:cNvPr>
          <p:cNvSpPr>
            <a:spLocks noGrp="1"/>
          </p:cNvSpPr>
          <p:nvPr>
            <p:ph type="body" sz="half" idx="10"/>
          </p:nvPr>
        </p:nvSpPr>
        <p:spPr/>
        <p:txBody>
          <a:bodyPr/>
          <a:lstStyle/>
          <a:p>
            <a:endParaRPr lang="en-US"/>
          </a:p>
        </p:txBody>
      </p:sp>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p:txBody>
          <a:bodyPr/>
          <a:lstStyle/>
          <a:p>
            <a:r>
              <a:rPr lang="en-US" dirty="0"/>
              <a:t>What is the best wat to show </a:t>
            </a:r>
            <a:r>
              <a:rPr lang="en-US" dirty="0" err="1"/>
              <a:t>Valsuite</a:t>
            </a:r>
            <a:r>
              <a:rPr lang="en-US" dirty="0"/>
              <a:t>?</a:t>
            </a:r>
          </a:p>
        </p:txBody>
      </p:sp>
      <p:sp>
        <p:nvSpPr>
          <p:cNvPr id="4" name="Text Placeholder 3">
            <a:extLst>
              <a:ext uri="{FF2B5EF4-FFF2-40B4-BE49-F238E27FC236}">
                <a16:creationId xmlns:a16="http://schemas.microsoft.com/office/drawing/2014/main" id="{F4B0AB3C-F9AE-3FA9-6CE6-03C605E3A9DF}"/>
              </a:ext>
            </a:extLst>
          </p:cNvPr>
          <p:cNvSpPr>
            <a:spLocks noGrp="1"/>
          </p:cNvSpPr>
          <p:nvPr>
            <p:ph type="body" sz="half" idx="2"/>
          </p:nvPr>
        </p:nvSpPr>
        <p:spPr/>
        <p:txBody>
          <a:bodyPr/>
          <a:lstStyle/>
          <a:p>
            <a:endParaRPr lang="en-US"/>
          </a:p>
        </p:txBody>
      </p:sp>
      <p:pic>
        <p:nvPicPr>
          <p:cNvPr id="1026" name="Picture 2">
            <a:extLst>
              <a:ext uri="{FF2B5EF4-FFF2-40B4-BE49-F238E27FC236}">
                <a16:creationId xmlns:a16="http://schemas.microsoft.com/office/drawing/2014/main" id="{12DDF952-9319-B84D-CCE1-6E20394E6D2F}"/>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406400"/>
            <a:ext cx="12192000" cy="81280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7">
            <a:extLst>
              <a:ext uri="{FF2B5EF4-FFF2-40B4-BE49-F238E27FC236}">
                <a16:creationId xmlns:a16="http://schemas.microsoft.com/office/drawing/2014/main" id="{F226E533-6765-55D7-2CC1-BB5D3EF71877}"/>
              </a:ext>
            </a:extLst>
          </p:cNvPr>
          <p:cNvSpPr txBox="1">
            <a:spLocks/>
          </p:cNvSpPr>
          <p:nvPr/>
        </p:nvSpPr>
        <p:spPr>
          <a:xfrm>
            <a:off x="1937820" y="5135876"/>
            <a:ext cx="8597657" cy="610661"/>
          </a:xfrm>
          <a:prstGeom prst="rect">
            <a:avLst/>
          </a:prstGeom>
        </p:spPr>
        <p:txBody>
          <a:bodyPr/>
          <a:lstStyle>
            <a:lvl1pPr marL="171450" indent="-171450" algn="l" defTabSz="685800" rtl="0" eaLnBrk="1" fontAlgn="base" hangingPunct="1">
              <a:lnSpc>
                <a:spcPct val="90000"/>
              </a:lnSpc>
              <a:spcBef>
                <a:spcPts val="750"/>
              </a:spcBef>
              <a:spcAft>
                <a:spcPct val="0"/>
              </a:spcAft>
              <a:buFont typeface="Arial" panose="020B0604020202020204" pitchFamily="34" charset="0"/>
              <a:buNone/>
              <a:defRPr sz="1600" b="1" i="0" kern="1200">
                <a:solidFill>
                  <a:schemeClr val="tx1"/>
                </a:solidFill>
                <a:latin typeface="+mj-lt"/>
                <a:ea typeface="+mn-ea"/>
                <a:cs typeface="+mn-cs"/>
              </a:defRPr>
            </a:lvl1pPr>
            <a:lvl2pPr marL="301497"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200" b="0" i="0" kern="1200">
                <a:solidFill>
                  <a:schemeClr val="bg2">
                    <a:lumMod val="10000"/>
                  </a:schemeClr>
                </a:solidFill>
                <a:latin typeface="+mn-lt"/>
                <a:ea typeface="+mn-ea"/>
                <a:cs typeface="+mn-cs"/>
              </a:defRPr>
            </a:lvl2pPr>
            <a:lvl3pPr marL="599994"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200" b="0" i="0" kern="1200">
                <a:solidFill>
                  <a:schemeClr val="bg2">
                    <a:lumMod val="10000"/>
                  </a:schemeClr>
                </a:solidFill>
                <a:latin typeface="+mn-lt"/>
                <a:ea typeface="+mn-ea"/>
                <a:cs typeface="+mn-cs"/>
              </a:defRPr>
            </a:lvl3pPr>
            <a:lvl4pPr marL="899991"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200" b="0" i="0" kern="1200">
                <a:solidFill>
                  <a:schemeClr val="bg2">
                    <a:lumMod val="10000"/>
                  </a:schemeClr>
                </a:solidFill>
                <a:latin typeface="+mn-lt"/>
                <a:ea typeface="+mn-ea"/>
                <a:cs typeface="+mn-cs"/>
              </a:defRPr>
            </a:lvl4pPr>
            <a:lvl5pPr marL="1199988"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200" b="0" i="0" kern="1200">
                <a:solidFill>
                  <a:schemeClr val="bg2">
                    <a:lumMod val="1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ctr" defTabSz="685800" rtl="0" eaLnBrk="1" fontAlgn="base" latinLnBrk="0" hangingPunct="1">
              <a:lnSpc>
                <a:spcPct val="90000"/>
              </a:lnSpc>
              <a:spcBef>
                <a:spcPts val="750"/>
              </a:spcBef>
              <a:spcAft>
                <a:spcPct val="0"/>
              </a:spcAft>
              <a:buClrTx/>
              <a:buSzTx/>
              <a:buFont typeface="Arial" panose="020B0604020202020204" pitchFamily="34" charset="0"/>
              <a:buNone/>
              <a:tabLst/>
              <a:defRPr/>
            </a:pPr>
            <a:r>
              <a:rPr kumimoji="0" lang="en-US" sz="4400" b="1" i="0" u="none" strike="noStrike" kern="1200" cap="none" spc="0" normalizeH="0" baseline="0" noProof="0" dirty="0">
                <a:ln>
                  <a:noFill/>
                </a:ln>
                <a:solidFill>
                  <a:srgbClr val="FFFFFF"/>
                </a:solidFill>
                <a:effectLst/>
                <a:uLnTx/>
                <a:uFillTx/>
                <a:latin typeface="Ellab Sans"/>
                <a:ea typeface="+mn-ea"/>
                <a:cs typeface="+mn-cs"/>
              </a:rPr>
              <a:t>One software to rule them all</a:t>
            </a:r>
          </a:p>
        </p:txBody>
      </p:sp>
    </p:spTree>
    <p:extLst>
      <p:ext uri="{BB962C8B-B14F-4D97-AF65-F5344CB8AC3E}">
        <p14:creationId xmlns:p14="http://schemas.microsoft.com/office/powerpoint/2010/main" val="40721829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18443F73-050E-7DB0-E003-2F4FE2784AD6}"/>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067847DC-2A7E-4193-0A3D-A1ED74A55C32}"/>
              </a:ext>
            </a:extLst>
          </p:cNvPr>
          <p:cNvSpPr/>
          <p:nvPr/>
        </p:nvSpPr>
        <p:spPr>
          <a:xfrm>
            <a:off x="6718048" y="1875017"/>
            <a:ext cx="4225904" cy="1553983"/>
          </a:xfrm>
          <a:prstGeom prst="roundRect">
            <a:avLst>
              <a:gd name="adj" fmla="val 4392"/>
            </a:avLst>
          </a:prstGeom>
          <a:gradFill>
            <a:gsLst>
              <a:gs pos="0">
                <a:schemeClr val="accent1">
                  <a:lumMod val="5000"/>
                  <a:lumOff val="95000"/>
                  <a:alpha val="0"/>
                </a:schemeClr>
              </a:gs>
              <a:gs pos="100000">
                <a:schemeClr val="accent1">
                  <a:alpha val="52000"/>
                </a:schemeClr>
              </a:gs>
            </a:gsLst>
            <a:lin ang="2700000" scaled="0"/>
          </a:gra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srgbClr val="FFFFFF"/>
              </a:solidFill>
              <a:effectLst/>
              <a:uLnTx/>
              <a:uFillTx/>
              <a:latin typeface="Ellab Sans"/>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Ellab Sans"/>
              <a:ea typeface="+mn-ea"/>
              <a:cs typeface="+mn-cs"/>
            </a:endParaRPr>
          </a:p>
        </p:txBody>
      </p:sp>
      <p:sp>
        <p:nvSpPr>
          <p:cNvPr id="28" name="Rectangle: Rounded Corners 27">
            <a:extLst>
              <a:ext uri="{FF2B5EF4-FFF2-40B4-BE49-F238E27FC236}">
                <a16:creationId xmlns:a16="http://schemas.microsoft.com/office/drawing/2014/main" id="{3B236E06-9B53-8A89-3D25-95F00CF21E64}"/>
              </a:ext>
            </a:extLst>
          </p:cNvPr>
          <p:cNvSpPr/>
          <p:nvPr/>
        </p:nvSpPr>
        <p:spPr>
          <a:xfrm>
            <a:off x="743739" y="1875017"/>
            <a:ext cx="3740855" cy="1553983"/>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22225">
            <a:gradFill>
              <a:gsLst>
                <a:gs pos="34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10000"/>
              </a:lnSpc>
              <a:spcBef>
                <a:spcPct val="0"/>
              </a:spcBef>
              <a:spcAft>
                <a:spcPct val="0"/>
              </a:spcAft>
              <a:buClrTx/>
              <a:buSzTx/>
              <a:buFontTx/>
              <a:buNone/>
              <a:tabLst/>
              <a:defRPr/>
            </a:pPr>
            <a:endParaRPr kumimoji="0" lang="en-GB" sz="700" b="1" i="0" u="none" strike="noStrike" kern="1200" cap="none" spc="0" normalizeH="0" baseline="0" noProof="0" dirty="0">
              <a:ln>
                <a:noFill/>
              </a:ln>
              <a:solidFill>
                <a:srgbClr val="17AAE2"/>
              </a:solidFill>
              <a:effectLst/>
              <a:uLnTx/>
              <a:uFillTx/>
              <a:latin typeface="Ellab Sans"/>
              <a:ea typeface="+mn-ea"/>
              <a:cs typeface="+mn-cs"/>
            </a:endParaRPr>
          </a:p>
        </p:txBody>
      </p:sp>
      <p:sp>
        <p:nvSpPr>
          <p:cNvPr id="4" name="Oval 3">
            <a:extLst>
              <a:ext uri="{FF2B5EF4-FFF2-40B4-BE49-F238E27FC236}">
                <a16:creationId xmlns:a16="http://schemas.microsoft.com/office/drawing/2014/main" id="{A28D00D9-4245-C418-BD47-C4FF61E6A29E}"/>
              </a:ext>
            </a:extLst>
          </p:cNvPr>
          <p:cNvSpPr/>
          <p:nvPr/>
        </p:nvSpPr>
        <p:spPr>
          <a:xfrm>
            <a:off x="2175993" y="3270726"/>
            <a:ext cx="6282624" cy="6282624"/>
          </a:xfrm>
          <a:prstGeom prst="ellipse">
            <a:avLst/>
          </a:prstGeom>
          <a:gradFill flip="none" rotWithShape="1">
            <a:gsLst>
              <a:gs pos="55000">
                <a:schemeClr val="accent1">
                  <a:lumMod val="5000"/>
                  <a:lumOff val="95000"/>
                  <a:alpha val="0"/>
                </a:schemeClr>
              </a:gs>
              <a:gs pos="0">
                <a:schemeClr val="accent1">
                  <a:alpha val="60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graphicFrame>
        <p:nvGraphicFramePr>
          <p:cNvPr id="6" name="Table 5">
            <a:extLst>
              <a:ext uri="{FF2B5EF4-FFF2-40B4-BE49-F238E27FC236}">
                <a16:creationId xmlns:a16="http://schemas.microsoft.com/office/drawing/2014/main" id="{385DD513-4E92-E0E1-DF2F-D0BDFB153948}"/>
              </a:ext>
            </a:extLst>
          </p:cNvPr>
          <p:cNvGraphicFramePr>
            <a:graphicFrameLocks noGrp="1"/>
          </p:cNvGraphicFramePr>
          <p:nvPr/>
        </p:nvGraphicFramePr>
        <p:xfrm>
          <a:off x="922225" y="1972996"/>
          <a:ext cx="9842146" cy="1659952"/>
        </p:xfrm>
        <a:graphic>
          <a:graphicData uri="http://schemas.openxmlformats.org/drawingml/2006/table">
            <a:tbl>
              <a:tblPr firstRow="1" bandRow="1">
                <a:tableStyleId>{5C22544A-7EE6-4342-B048-85BDC9FD1C3A}</a:tableStyleId>
              </a:tblPr>
              <a:tblGrid>
                <a:gridCol w="3280715">
                  <a:extLst>
                    <a:ext uri="{9D8B030D-6E8A-4147-A177-3AD203B41FA5}">
                      <a16:colId xmlns:a16="http://schemas.microsoft.com/office/drawing/2014/main" val="353290611"/>
                    </a:ext>
                  </a:extLst>
                </a:gridCol>
                <a:gridCol w="2776084">
                  <a:extLst>
                    <a:ext uri="{9D8B030D-6E8A-4147-A177-3AD203B41FA5}">
                      <a16:colId xmlns:a16="http://schemas.microsoft.com/office/drawing/2014/main" val="3672979565"/>
                    </a:ext>
                  </a:extLst>
                </a:gridCol>
                <a:gridCol w="3785347">
                  <a:extLst>
                    <a:ext uri="{9D8B030D-6E8A-4147-A177-3AD203B41FA5}">
                      <a16:colId xmlns:a16="http://schemas.microsoft.com/office/drawing/2014/main" val="951160451"/>
                    </a:ext>
                  </a:extLst>
                </a:gridCol>
              </a:tblGrid>
              <a:tr h="2655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accent1"/>
                          </a:solidFill>
                          <a:latin typeface="+mj-lt"/>
                          <a:ea typeface="Ellab Sans Light"/>
                        </a:rPr>
                        <a:t>Val</a:t>
                      </a:r>
                      <a:r>
                        <a:rPr lang="en-US" sz="3200" dirty="0">
                          <a:solidFill>
                            <a:schemeClr val="bg2"/>
                          </a:solidFill>
                          <a:latin typeface="+mj-lt"/>
                          <a:ea typeface="Ellab Sans Light"/>
                        </a:rPr>
                        <a:t>Suite</a:t>
                      </a:r>
                    </a:p>
                  </a:txBody>
                  <a:tcPr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3200" dirty="0">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3200" b="1" dirty="0">
                          <a:solidFill>
                            <a:schemeClr val="bg2"/>
                          </a:solidFill>
                          <a:latin typeface="+mj-lt"/>
                        </a:rPr>
                        <a:t>Other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5568817"/>
                  </a:ext>
                </a:extLst>
              </a:tr>
              <a:tr h="776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accent1"/>
                          </a:solidFill>
                          <a:latin typeface="+mn-lt"/>
                          <a:ea typeface="Ellab Sans Light"/>
                          <a:cs typeface="+mn-cs"/>
                        </a:rPr>
                        <a:t>ValSuite used for </a:t>
                      </a:r>
                      <a:r>
                        <a:rPr lang="en-US" sz="1400" b="1" kern="1200" dirty="0">
                          <a:solidFill>
                            <a:schemeClr val="bg2"/>
                          </a:solidFill>
                          <a:latin typeface="+mn-lt"/>
                          <a:ea typeface="Ellab Sans Light"/>
                          <a:cs typeface="+mn-cs"/>
                        </a:rPr>
                        <a:t>all Ellab range</a:t>
                      </a:r>
                      <a:r>
                        <a:rPr lang="en-US" sz="1400" kern="1200" dirty="0">
                          <a:solidFill>
                            <a:schemeClr val="accent1"/>
                          </a:solidFill>
                          <a:latin typeface="+mn-lt"/>
                          <a:ea typeface="Ellab Sans Light"/>
                          <a:cs typeface="+mn-cs"/>
                        </a:rPr>
                        <a:t>. Wireless + Real time + Reporting.</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Need specific software to each hardware, and then you send to the reporting tool software.</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8192479"/>
                  </a:ext>
                </a:extLst>
              </a:tr>
              <a:tr h="265568">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4225377"/>
                  </a:ext>
                </a:extLst>
              </a:tr>
            </a:tbl>
          </a:graphicData>
        </a:graphic>
      </p:graphicFrame>
      <p:sp>
        <p:nvSpPr>
          <p:cNvPr id="5" name="Rectangle 4">
            <a:extLst>
              <a:ext uri="{FF2B5EF4-FFF2-40B4-BE49-F238E27FC236}">
                <a16:creationId xmlns:a16="http://schemas.microsoft.com/office/drawing/2014/main" id="{81FE33BA-BE1B-7C57-397B-928CFA469A3A}"/>
              </a:ext>
            </a:extLst>
          </p:cNvPr>
          <p:cNvSpPr>
            <a:spLocks noGrp="1" noRot="1" noMove="1" noResize="1" noEditPoints="1" noAdjustHandles="1" noChangeArrowheads="1" noChangeShapeType="1"/>
          </p:cNvSpPr>
          <p:nvPr/>
        </p:nvSpPr>
        <p:spPr>
          <a:xfrm>
            <a:off x="-1" y="6374607"/>
            <a:ext cx="988219" cy="48339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sp>
        <p:nvSpPr>
          <p:cNvPr id="9" name="Title 2">
            <a:extLst>
              <a:ext uri="{FF2B5EF4-FFF2-40B4-BE49-F238E27FC236}">
                <a16:creationId xmlns:a16="http://schemas.microsoft.com/office/drawing/2014/main" id="{FC849F4B-B79C-D47C-5084-63801FD17A7B}"/>
              </a:ext>
            </a:extLst>
          </p:cNvPr>
          <p:cNvSpPr>
            <a:spLocks noGrp="1"/>
          </p:cNvSpPr>
          <p:nvPr>
            <p:ph type="title"/>
          </p:nvPr>
        </p:nvSpPr>
        <p:spPr>
          <a:xfrm>
            <a:off x="360000" y="936001"/>
            <a:ext cx="9214306" cy="365126"/>
          </a:xfrm>
        </p:spPr>
        <p:txBody>
          <a:bodyPr/>
          <a:lstStyle/>
          <a:p>
            <a:r>
              <a:rPr lang="en-US" dirty="0">
                <a:solidFill>
                  <a:schemeClr val="accent1"/>
                </a:solidFill>
              </a:rPr>
              <a:t>What is the Best Way to </a:t>
            </a:r>
            <a:r>
              <a:rPr lang="en-US" dirty="0">
                <a:solidFill>
                  <a:schemeClr val="bg2"/>
                </a:solidFill>
              </a:rPr>
              <a:t>Show ValSuite</a:t>
            </a:r>
            <a:r>
              <a:rPr lang="en-US" dirty="0">
                <a:solidFill>
                  <a:schemeClr val="accent1"/>
                </a:solidFill>
              </a:rPr>
              <a:t>?</a:t>
            </a:r>
          </a:p>
        </p:txBody>
      </p:sp>
      <p:pic>
        <p:nvPicPr>
          <p:cNvPr id="35" name="Picture 34" descr="A person wearing a white protective suit and face mask&#10;&#10;AI-generated content may be incorrect.">
            <a:extLst>
              <a:ext uri="{FF2B5EF4-FFF2-40B4-BE49-F238E27FC236}">
                <a16:creationId xmlns:a16="http://schemas.microsoft.com/office/drawing/2014/main" id="{4235507F-5EB0-B042-E521-CA278EA3B420}"/>
              </a:ext>
            </a:extLst>
          </p:cNvPr>
          <p:cNvPicPr>
            <a:picLocks noChangeAspect="1"/>
          </p:cNvPicPr>
          <p:nvPr/>
        </p:nvPicPr>
        <p:blipFill>
          <a:blip r:embed="rId4" cstate="screen">
            <a:extLst>
              <a:ext uri="{BEBA8EAE-BF5A-486C-A8C5-ECC9F3942E4B}">
                <a14:imgProps xmlns:a14="http://schemas.microsoft.com/office/drawing/2010/main">
                  <a14:imgLayer r:embed="rId5">
                    <a14:imgEffect>
                      <a14:colorTemperature colorTemp="4460"/>
                    </a14:imgEffect>
                    <a14:imgEffect>
                      <a14:saturation sat="120000"/>
                    </a14:imgEffect>
                  </a14:imgLayer>
                </a14:imgProps>
              </a:ext>
              <a:ext uri="{28A0092B-C50C-407E-A947-70E740481C1C}">
                <a14:useLocalDpi xmlns:a14="http://schemas.microsoft.com/office/drawing/2010/main"/>
              </a:ext>
            </a:extLst>
          </a:blip>
          <a:srcRect b="12003"/>
          <a:stretch/>
        </p:blipFill>
        <p:spPr>
          <a:xfrm>
            <a:off x="3727842" y="2986819"/>
            <a:ext cx="2767711" cy="3871181"/>
          </a:xfrm>
          <a:prstGeom prst="rect">
            <a:avLst/>
          </a:prstGeom>
        </p:spPr>
      </p:pic>
      <p:sp>
        <p:nvSpPr>
          <p:cNvPr id="3" name="TextBox 2">
            <a:extLst>
              <a:ext uri="{FF2B5EF4-FFF2-40B4-BE49-F238E27FC236}">
                <a16:creationId xmlns:a16="http://schemas.microsoft.com/office/drawing/2014/main" id="{F4017EA1-CB93-8D4E-17A5-9BCFE40576A6}"/>
              </a:ext>
            </a:extLst>
          </p:cNvPr>
          <p:cNvSpPr txBox="1">
            <a:spLocks noGrp="1" noRot="1" noMove="1" noResize="1" noEditPoints="1" noAdjustHandles="1" noChangeArrowheads="1" noChangeShapeType="1"/>
          </p:cNvSpPr>
          <p:nvPr/>
        </p:nvSpPr>
        <p:spPr>
          <a:xfrm>
            <a:off x="76057" y="6339397"/>
            <a:ext cx="1279420"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Your Life Scie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Complia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Partner</a:t>
            </a:r>
          </a:p>
        </p:txBody>
      </p:sp>
    </p:spTree>
    <p:extLst>
      <p:ext uri="{BB962C8B-B14F-4D97-AF65-F5344CB8AC3E}">
        <p14:creationId xmlns:p14="http://schemas.microsoft.com/office/powerpoint/2010/main" val="1844732579"/>
      </p:ext>
    </p:extLst>
  </p:cSld>
  <p:clrMapOvr>
    <a:masterClrMapping/>
  </p:clrMapOvr>
  <p:extLst>
    <p:ext uri="{6950BFC3-D8DA-4A85-94F7-54DA5524770B}">
      <p188:commentRel xmlns:p188="http://schemas.microsoft.com/office/powerpoint/2018/8/main" r:id="rId3"/>
    </p:ext>
  </p:extLs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Empty speech bubbles">
            <a:extLst>
              <a:ext uri="{FF2B5EF4-FFF2-40B4-BE49-F238E27FC236}">
                <a16:creationId xmlns:a16="http://schemas.microsoft.com/office/drawing/2014/main" id="{A8A2918E-88AD-C16A-50E0-B726ABB2D1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10005237" y="692149"/>
            <a:ext cx="10005237" cy="5702983"/>
          </a:xfrm>
          <a:prstGeom prst="rect">
            <a:avLst/>
          </a:prstGeom>
          <a:solidFill>
            <a:schemeClr val="tx1"/>
          </a:solidFill>
        </p:spPr>
      </p:pic>
      <p:sp>
        <p:nvSpPr>
          <p:cNvPr id="16" name="Text Placeholder 15">
            <a:extLst>
              <a:ext uri="{FF2B5EF4-FFF2-40B4-BE49-F238E27FC236}">
                <a16:creationId xmlns:a16="http://schemas.microsoft.com/office/drawing/2014/main" id="{615A0698-87FC-42F6-B275-6C4165F6941A}"/>
              </a:ext>
            </a:extLst>
          </p:cNvPr>
          <p:cNvSpPr>
            <a:spLocks noGrp="1"/>
          </p:cNvSpPr>
          <p:nvPr>
            <p:ph type="body" sz="half" idx="10"/>
          </p:nvPr>
        </p:nvSpPr>
        <p:spPr/>
        <p:txBody>
          <a:bodyPr/>
          <a:lstStyle/>
          <a:p>
            <a:pPr marL="342900" indent="-342900">
              <a:buFontTx/>
              <a:buChar char="-"/>
            </a:pPr>
            <a:r>
              <a:rPr lang="en-US"/>
              <a:t>More than 50 mainstream languages</a:t>
            </a:r>
          </a:p>
          <a:p>
            <a:pPr marL="342900" indent="-342900">
              <a:buFontTx/>
              <a:buChar char="-"/>
            </a:pPr>
            <a:r>
              <a:rPr lang="en-US"/>
              <a:t>Different business cultures</a:t>
            </a:r>
          </a:p>
          <a:p>
            <a:pPr marL="342900" indent="-342900">
              <a:buFontTx/>
              <a:buChar char="-"/>
            </a:pPr>
            <a:r>
              <a:rPr lang="en-US"/>
              <a:t>An estimate of ~4847 pharmaceutical manufacturing sites </a:t>
            </a:r>
            <a:r>
              <a:rPr lang="en-US" sz="960"/>
              <a:t>(latest survey received from </a:t>
            </a:r>
            <a:r>
              <a:rPr lang="en-US" sz="960" err="1"/>
              <a:t>McKensey</a:t>
            </a:r>
            <a:r>
              <a:rPr lang="en-US" sz="960"/>
              <a:t>)</a:t>
            </a:r>
          </a:p>
        </p:txBody>
      </p:sp>
      <p:sp>
        <p:nvSpPr>
          <p:cNvPr id="14" name="Title 13">
            <a:extLst>
              <a:ext uri="{FF2B5EF4-FFF2-40B4-BE49-F238E27FC236}">
                <a16:creationId xmlns:a16="http://schemas.microsoft.com/office/drawing/2014/main" id="{DD635178-0C9C-4E18-8B73-D5BD52CA6268}"/>
              </a:ext>
            </a:extLst>
          </p:cNvPr>
          <p:cNvSpPr>
            <a:spLocks noGrp="1"/>
          </p:cNvSpPr>
          <p:nvPr>
            <p:ph type="title"/>
          </p:nvPr>
        </p:nvSpPr>
        <p:spPr/>
        <p:txBody>
          <a:bodyPr/>
          <a:lstStyle/>
          <a:p>
            <a:r>
              <a:rPr lang="en-US"/>
              <a:t>Strategy update </a:t>
            </a:r>
            <a:r>
              <a:rPr lang="en-US" err="1"/>
              <a:t>RoW</a:t>
            </a:r>
            <a:endParaRPr lang="en-DK"/>
          </a:p>
        </p:txBody>
      </p:sp>
      <p:sp>
        <p:nvSpPr>
          <p:cNvPr id="15" name="Text Placeholder 14">
            <a:extLst>
              <a:ext uri="{FF2B5EF4-FFF2-40B4-BE49-F238E27FC236}">
                <a16:creationId xmlns:a16="http://schemas.microsoft.com/office/drawing/2014/main" id="{12C68841-111A-45EE-BE8B-8B3B4B95603D}"/>
              </a:ext>
            </a:extLst>
          </p:cNvPr>
          <p:cNvSpPr>
            <a:spLocks noGrp="1"/>
          </p:cNvSpPr>
          <p:nvPr>
            <p:ph type="body" sz="half" idx="2"/>
          </p:nvPr>
        </p:nvSpPr>
        <p:spPr/>
        <p:txBody>
          <a:bodyPr/>
          <a:lstStyle/>
          <a:p>
            <a:r>
              <a:rPr lang="en-US"/>
              <a:t>What is Rest Of the World?</a:t>
            </a:r>
            <a:endParaRPr lang="en-DK"/>
          </a:p>
        </p:txBody>
      </p:sp>
      <p:pic>
        <p:nvPicPr>
          <p:cNvPr id="3" name="Picture 2" descr="Empty speech bubbles">
            <a:extLst>
              <a:ext uri="{FF2B5EF4-FFF2-40B4-BE49-F238E27FC236}">
                <a16:creationId xmlns:a16="http://schemas.microsoft.com/office/drawing/2014/main" id="{E1865DEA-7143-4AB1-80B1-315C5145F50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692150"/>
            <a:ext cx="10005237" cy="5702983"/>
          </a:xfrm>
          <a:prstGeom prst="rect">
            <a:avLst/>
          </a:prstGeom>
        </p:spPr>
      </p:pic>
      <p:sp>
        <p:nvSpPr>
          <p:cNvPr id="10" name="TextBox 9">
            <a:extLst>
              <a:ext uri="{FF2B5EF4-FFF2-40B4-BE49-F238E27FC236}">
                <a16:creationId xmlns:a16="http://schemas.microsoft.com/office/drawing/2014/main" id="{806D88B7-3B6C-4CB0-B75C-9AFAD53AF1FB}"/>
              </a:ext>
            </a:extLst>
          </p:cNvPr>
          <p:cNvSpPr txBox="1"/>
          <p:nvPr/>
        </p:nvSpPr>
        <p:spPr>
          <a:xfrm>
            <a:off x="4170627" y="2824653"/>
            <a:ext cx="4663783" cy="1865126"/>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840" b="1" i="0" u="none" strike="noStrike" kern="1200" cap="none" spc="0" normalizeH="0" baseline="0" noProof="0" dirty="0">
                <a:ln>
                  <a:noFill/>
                </a:ln>
                <a:solidFill>
                  <a:srgbClr val="FFFFFF"/>
                </a:solidFill>
                <a:effectLst/>
                <a:uLnTx/>
                <a:uFillTx/>
                <a:latin typeface="Ellab Sans"/>
                <a:ea typeface="+mn-ea"/>
                <a:cs typeface="+mn-cs"/>
              </a:rPr>
              <a:t>13 languag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840" b="1" i="0" u="none" strike="noStrike" kern="1200" cap="none" spc="0" normalizeH="0" baseline="0" noProof="0" dirty="0">
              <a:ln>
                <a:noFill/>
              </a:ln>
              <a:solidFill>
                <a:srgbClr val="FFFFFF"/>
              </a:solidFill>
              <a:effectLst/>
              <a:uLnTx/>
              <a:uFillTx/>
              <a:latin typeface="Ellab Sans"/>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840" b="1" i="0" u="none" strike="noStrike" kern="1200" cap="none" spc="0" normalizeH="0" baseline="0" noProof="0" dirty="0">
                <a:ln>
                  <a:noFill/>
                </a:ln>
                <a:solidFill>
                  <a:srgbClr val="FFFFFF"/>
                </a:solidFill>
                <a:effectLst/>
                <a:uLnTx/>
                <a:uFillTx/>
                <a:latin typeface="Ellab Sans"/>
                <a:ea typeface="+mn-ea"/>
                <a:cs typeface="+mn-cs"/>
              </a:rPr>
              <a:t>More to come!</a:t>
            </a:r>
          </a:p>
        </p:txBody>
      </p:sp>
    </p:spTree>
    <p:extLst>
      <p:ext uri="{BB962C8B-B14F-4D97-AF65-F5344CB8AC3E}">
        <p14:creationId xmlns:p14="http://schemas.microsoft.com/office/powerpoint/2010/main" val="9650035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3EA07B96-7559-750E-9A92-14F11C900F1B}"/>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87B61100-A1FC-8599-EFCC-53D756FA29BF}"/>
              </a:ext>
            </a:extLst>
          </p:cNvPr>
          <p:cNvSpPr/>
          <p:nvPr/>
        </p:nvSpPr>
        <p:spPr>
          <a:xfrm>
            <a:off x="6718048" y="1875017"/>
            <a:ext cx="4225904" cy="2137322"/>
          </a:xfrm>
          <a:prstGeom prst="roundRect">
            <a:avLst>
              <a:gd name="adj" fmla="val 4392"/>
            </a:avLst>
          </a:prstGeom>
          <a:gradFill>
            <a:gsLst>
              <a:gs pos="0">
                <a:schemeClr val="accent1">
                  <a:lumMod val="5000"/>
                  <a:lumOff val="95000"/>
                  <a:alpha val="0"/>
                </a:schemeClr>
              </a:gs>
              <a:gs pos="100000">
                <a:schemeClr val="accent1">
                  <a:alpha val="52000"/>
                </a:schemeClr>
              </a:gs>
            </a:gsLst>
            <a:lin ang="2700000" scaled="0"/>
          </a:gra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srgbClr val="FFFFFF"/>
              </a:solidFill>
              <a:effectLst/>
              <a:uLnTx/>
              <a:uFillTx/>
              <a:latin typeface="Ellab Sans"/>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Ellab Sans"/>
              <a:ea typeface="+mn-ea"/>
              <a:cs typeface="+mn-cs"/>
            </a:endParaRPr>
          </a:p>
        </p:txBody>
      </p:sp>
      <p:sp>
        <p:nvSpPr>
          <p:cNvPr id="28" name="Rectangle: Rounded Corners 27">
            <a:extLst>
              <a:ext uri="{FF2B5EF4-FFF2-40B4-BE49-F238E27FC236}">
                <a16:creationId xmlns:a16="http://schemas.microsoft.com/office/drawing/2014/main" id="{B6223B7C-A0DD-AB74-14A0-0DFF088EECCB}"/>
              </a:ext>
            </a:extLst>
          </p:cNvPr>
          <p:cNvSpPr/>
          <p:nvPr/>
        </p:nvSpPr>
        <p:spPr>
          <a:xfrm>
            <a:off x="743739" y="1875017"/>
            <a:ext cx="3740855" cy="2137322"/>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22225">
            <a:gradFill>
              <a:gsLst>
                <a:gs pos="34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10000"/>
              </a:lnSpc>
              <a:spcBef>
                <a:spcPct val="0"/>
              </a:spcBef>
              <a:spcAft>
                <a:spcPct val="0"/>
              </a:spcAft>
              <a:buClrTx/>
              <a:buSzTx/>
              <a:buFontTx/>
              <a:buNone/>
              <a:tabLst/>
              <a:defRPr/>
            </a:pPr>
            <a:endParaRPr kumimoji="0" lang="en-GB" sz="700" b="1" i="0" u="none" strike="noStrike" kern="1200" cap="none" spc="0" normalizeH="0" baseline="0" noProof="0" dirty="0">
              <a:ln>
                <a:noFill/>
              </a:ln>
              <a:solidFill>
                <a:srgbClr val="17AAE2"/>
              </a:solidFill>
              <a:effectLst/>
              <a:uLnTx/>
              <a:uFillTx/>
              <a:latin typeface="Ellab Sans"/>
              <a:ea typeface="+mn-ea"/>
              <a:cs typeface="+mn-cs"/>
            </a:endParaRPr>
          </a:p>
        </p:txBody>
      </p:sp>
      <p:sp>
        <p:nvSpPr>
          <p:cNvPr id="4" name="Oval 3">
            <a:extLst>
              <a:ext uri="{FF2B5EF4-FFF2-40B4-BE49-F238E27FC236}">
                <a16:creationId xmlns:a16="http://schemas.microsoft.com/office/drawing/2014/main" id="{B817A0F9-FE61-DF39-A91D-DBF4DFF53313}"/>
              </a:ext>
            </a:extLst>
          </p:cNvPr>
          <p:cNvSpPr/>
          <p:nvPr/>
        </p:nvSpPr>
        <p:spPr>
          <a:xfrm>
            <a:off x="2175993" y="3270726"/>
            <a:ext cx="6282624" cy="6282624"/>
          </a:xfrm>
          <a:prstGeom prst="ellipse">
            <a:avLst/>
          </a:prstGeom>
          <a:gradFill flip="none" rotWithShape="1">
            <a:gsLst>
              <a:gs pos="55000">
                <a:schemeClr val="accent1">
                  <a:lumMod val="5000"/>
                  <a:lumOff val="95000"/>
                  <a:alpha val="0"/>
                </a:schemeClr>
              </a:gs>
              <a:gs pos="0">
                <a:schemeClr val="accent1">
                  <a:alpha val="60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graphicFrame>
        <p:nvGraphicFramePr>
          <p:cNvPr id="6" name="Table 5">
            <a:extLst>
              <a:ext uri="{FF2B5EF4-FFF2-40B4-BE49-F238E27FC236}">
                <a16:creationId xmlns:a16="http://schemas.microsoft.com/office/drawing/2014/main" id="{3F71B417-043B-6FBB-E172-7AEB0569BFF0}"/>
              </a:ext>
            </a:extLst>
          </p:cNvPr>
          <p:cNvGraphicFramePr>
            <a:graphicFrameLocks noGrp="1"/>
          </p:cNvGraphicFramePr>
          <p:nvPr/>
        </p:nvGraphicFramePr>
        <p:xfrm>
          <a:off x="922225" y="1972996"/>
          <a:ext cx="9842146" cy="2137322"/>
        </p:xfrm>
        <a:graphic>
          <a:graphicData uri="http://schemas.openxmlformats.org/drawingml/2006/table">
            <a:tbl>
              <a:tblPr firstRow="1" bandRow="1">
                <a:tableStyleId>{5C22544A-7EE6-4342-B048-85BDC9FD1C3A}</a:tableStyleId>
              </a:tblPr>
              <a:tblGrid>
                <a:gridCol w="3280715">
                  <a:extLst>
                    <a:ext uri="{9D8B030D-6E8A-4147-A177-3AD203B41FA5}">
                      <a16:colId xmlns:a16="http://schemas.microsoft.com/office/drawing/2014/main" val="353290611"/>
                    </a:ext>
                  </a:extLst>
                </a:gridCol>
                <a:gridCol w="2776084">
                  <a:extLst>
                    <a:ext uri="{9D8B030D-6E8A-4147-A177-3AD203B41FA5}">
                      <a16:colId xmlns:a16="http://schemas.microsoft.com/office/drawing/2014/main" val="3672979565"/>
                    </a:ext>
                  </a:extLst>
                </a:gridCol>
                <a:gridCol w="3785347">
                  <a:extLst>
                    <a:ext uri="{9D8B030D-6E8A-4147-A177-3AD203B41FA5}">
                      <a16:colId xmlns:a16="http://schemas.microsoft.com/office/drawing/2014/main" val="951160451"/>
                    </a:ext>
                  </a:extLst>
                </a:gridCol>
              </a:tblGrid>
              <a:tr h="2655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accent1"/>
                          </a:solidFill>
                          <a:latin typeface="+mj-lt"/>
                          <a:ea typeface="Ellab Sans Light"/>
                        </a:rPr>
                        <a:t>Val</a:t>
                      </a:r>
                      <a:r>
                        <a:rPr lang="en-US" sz="3200" dirty="0">
                          <a:solidFill>
                            <a:schemeClr val="bg2"/>
                          </a:solidFill>
                          <a:latin typeface="+mj-lt"/>
                          <a:ea typeface="Ellab Sans Light"/>
                        </a:rPr>
                        <a:t>Suite</a:t>
                      </a:r>
                    </a:p>
                  </a:txBody>
                  <a:tcPr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3200" dirty="0">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3200" b="1" dirty="0">
                          <a:solidFill>
                            <a:schemeClr val="bg2"/>
                          </a:solidFill>
                          <a:latin typeface="+mj-lt"/>
                        </a:rPr>
                        <a:t>Other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5568817"/>
                  </a:ext>
                </a:extLst>
              </a:tr>
              <a:tr h="776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accent1"/>
                          </a:solidFill>
                          <a:latin typeface="+mn-lt"/>
                          <a:ea typeface="Ellab Sans Light"/>
                          <a:cs typeface="+mn-cs"/>
                        </a:rPr>
                        <a:t>ValSuite used for </a:t>
                      </a:r>
                      <a:r>
                        <a:rPr lang="en-US" sz="1400" b="1" kern="1200" dirty="0">
                          <a:solidFill>
                            <a:schemeClr val="bg2"/>
                          </a:solidFill>
                          <a:latin typeface="+mn-lt"/>
                          <a:ea typeface="Ellab Sans Light"/>
                          <a:cs typeface="+mn-cs"/>
                        </a:rPr>
                        <a:t>all Ellab range</a:t>
                      </a:r>
                      <a:r>
                        <a:rPr lang="en-US" sz="1400" kern="1200" dirty="0">
                          <a:solidFill>
                            <a:schemeClr val="accent1"/>
                          </a:solidFill>
                          <a:latin typeface="+mn-lt"/>
                          <a:ea typeface="Ellab Sans Light"/>
                          <a:cs typeface="+mn-cs"/>
                        </a:rPr>
                        <a:t>. Wireless + Real time + Reporting.</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Need specific software to each hardware, and then you send to the reporting tool software.</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8192479"/>
                  </a:ext>
                </a:extLst>
              </a:tr>
              <a:tr h="4773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ValSuite with </a:t>
                      </a:r>
                      <a:r>
                        <a:rPr lang="en-US" sz="1400" b="1" dirty="0">
                          <a:solidFill>
                            <a:schemeClr val="bg2"/>
                          </a:solidFill>
                          <a:latin typeface="+mj-lt"/>
                          <a:ea typeface="Ellab Sans Light"/>
                        </a:rPr>
                        <a:t>local languag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Only English or limited options</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734595"/>
                  </a:ext>
                </a:extLst>
              </a:tr>
              <a:tr h="265568">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4225377"/>
                  </a:ext>
                </a:extLst>
              </a:tr>
            </a:tbl>
          </a:graphicData>
        </a:graphic>
      </p:graphicFrame>
      <p:sp>
        <p:nvSpPr>
          <p:cNvPr id="5" name="Rectangle 4">
            <a:extLst>
              <a:ext uri="{FF2B5EF4-FFF2-40B4-BE49-F238E27FC236}">
                <a16:creationId xmlns:a16="http://schemas.microsoft.com/office/drawing/2014/main" id="{08E810F7-4E63-3E44-2266-064D44A9771C}"/>
              </a:ext>
            </a:extLst>
          </p:cNvPr>
          <p:cNvSpPr>
            <a:spLocks noGrp="1" noRot="1" noMove="1" noResize="1" noEditPoints="1" noAdjustHandles="1" noChangeArrowheads="1" noChangeShapeType="1"/>
          </p:cNvSpPr>
          <p:nvPr/>
        </p:nvSpPr>
        <p:spPr>
          <a:xfrm>
            <a:off x="-1" y="6374607"/>
            <a:ext cx="988219" cy="48339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sp>
        <p:nvSpPr>
          <p:cNvPr id="9" name="Title 2">
            <a:extLst>
              <a:ext uri="{FF2B5EF4-FFF2-40B4-BE49-F238E27FC236}">
                <a16:creationId xmlns:a16="http://schemas.microsoft.com/office/drawing/2014/main" id="{95223759-CFAE-D47A-952B-FA2793853418}"/>
              </a:ext>
            </a:extLst>
          </p:cNvPr>
          <p:cNvSpPr>
            <a:spLocks noGrp="1"/>
          </p:cNvSpPr>
          <p:nvPr>
            <p:ph type="title"/>
          </p:nvPr>
        </p:nvSpPr>
        <p:spPr>
          <a:xfrm>
            <a:off x="360000" y="936001"/>
            <a:ext cx="10057854" cy="365126"/>
          </a:xfrm>
        </p:spPr>
        <p:txBody>
          <a:bodyPr/>
          <a:lstStyle/>
          <a:p>
            <a:r>
              <a:rPr lang="en-US" dirty="0">
                <a:solidFill>
                  <a:schemeClr val="accent1"/>
                </a:solidFill>
              </a:rPr>
              <a:t>What is the Best Way to </a:t>
            </a:r>
            <a:r>
              <a:rPr lang="en-US" dirty="0">
                <a:solidFill>
                  <a:schemeClr val="bg2"/>
                </a:solidFill>
              </a:rPr>
              <a:t>Show ValSuite</a:t>
            </a:r>
            <a:r>
              <a:rPr lang="en-US" dirty="0">
                <a:solidFill>
                  <a:schemeClr val="accent1"/>
                </a:solidFill>
              </a:rPr>
              <a:t>?</a:t>
            </a:r>
          </a:p>
        </p:txBody>
      </p:sp>
      <p:pic>
        <p:nvPicPr>
          <p:cNvPr id="35" name="Picture 34" descr="A person wearing a white protective suit and face mask&#10;&#10;AI-generated content may be incorrect.">
            <a:extLst>
              <a:ext uri="{FF2B5EF4-FFF2-40B4-BE49-F238E27FC236}">
                <a16:creationId xmlns:a16="http://schemas.microsoft.com/office/drawing/2014/main" id="{2E6751E9-4D1D-A1F1-926F-D22687570970}"/>
              </a:ext>
            </a:extLst>
          </p:cNvPr>
          <p:cNvPicPr>
            <a:picLocks noChangeAspect="1"/>
          </p:cNvPicPr>
          <p:nvPr/>
        </p:nvPicPr>
        <p:blipFill>
          <a:blip r:embed="rId3" cstate="screen">
            <a:extLst>
              <a:ext uri="{BEBA8EAE-BF5A-486C-A8C5-ECC9F3942E4B}">
                <a14:imgProps xmlns:a14="http://schemas.microsoft.com/office/drawing/2010/main">
                  <a14:imgLayer r:embed="rId4">
                    <a14:imgEffect>
                      <a14:colorTemperature colorTemp="4460"/>
                    </a14:imgEffect>
                    <a14:imgEffect>
                      <a14:saturation sat="120000"/>
                    </a14:imgEffect>
                  </a14:imgLayer>
                </a14:imgProps>
              </a:ext>
              <a:ext uri="{28A0092B-C50C-407E-A947-70E740481C1C}">
                <a14:useLocalDpi xmlns:a14="http://schemas.microsoft.com/office/drawing/2010/main"/>
              </a:ext>
            </a:extLst>
          </a:blip>
          <a:srcRect b="12003"/>
          <a:stretch/>
        </p:blipFill>
        <p:spPr>
          <a:xfrm>
            <a:off x="3727842" y="2986819"/>
            <a:ext cx="2767711" cy="3871181"/>
          </a:xfrm>
          <a:prstGeom prst="rect">
            <a:avLst/>
          </a:prstGeom>
        </p:spPr>
      </p:pic>
      <p:sp>
        <p:nvSpPr>
          <p:cNvPr id="3" name="TextBox 2">
            <a:extLst>
              <a:ext uri="{FF2B5EF4-FFF2-40B4-BE49-F238E27FC236}">
                <a16:creationId xmlns:a16="http://schemas.microsoft.com/office/drawing/2014/main" id="{F0DC4484-F7F4-A62E-8D4A-F0AC330D7B98}"/>
              </a:ext>
            </a:extLst>
          </p:cNvPr>
          <p:cNvSpPr txBox="1">
            <a:spLocks noGrp="1" noRot="1" noMove="1" noResize="1" noEditPoints="1" noAdjustHandles="1" noChangeArrowheads="1" noChangeShapeType="1"/>
          </p:cNvSpPr>
          <p:nvPr/>
        </p:nvSpPr>
        <p:spPr>
          <a:xfrm>
            <a:off x="76057" y="6339397"/>
            <a:ext cx="1279420"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Your Life Scie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Complia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Partner</a:t>
            </a:r>
          </a:p>
        </p:txBody>
      </p:sp>
    </p:spTree>
    <p:extLst>
      <p:ext uri="{BB962C8B-B14F-4D97-AF65-F5344CB8AC3E}">
        <p14:creationId xmlns:p14="http://schemas.microsoft.com/office/powerpoint/2010/main" val="38596386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network created with lines and dots">
            <a:extLst>
              <a:ext uri="{FF2B5EF4-FFF2-40B4-BE49-F238E27FC236}">
                <a16:creationId xmlns:a16="http://schemas.microsoft.com/office/drawing/2014/main" id="{8E3799A8-0AA6-EC40-D5FB-BA99D9BDCF73}"/>
              </a:ext>
            </a:extLst>
          </p:cNvPr>
          <p:cNvPicPr>
            <a:picLocks noChangeAspect="1"/>
          </p:cNvPicPr>
          <p:nvPr/>
        </p:nvPicPr>
        <p:blipFill>
          <a:blip r:embed="rId2" cstate="screen">
            <a:extLst>
              <a:ext uri="{BEBA8EAE-BF5A-486C-A8C5-ECC9F3942E4B}">
                <a14:imgProps xmlns:a14="http://schemas.microsoft.com/office/drawing/2010/main">
                  <a14:imgLayer r:embed="rId3">
                    <a14:imgEffect>
                      <a14:colorTemperature colorTemp="4644"/>
                    </a14:imgEffect>
                  </a14:imgLayer>
                </a14:imgProps>
              </a:ext>
              <a:ext uri="{28A0092B-C50C-407E-A947-70E740481C1C}">
                <a14:useLocalDpi xmlns:a14="http://schemas.microsoft.com/office/drawing/2010/main"/>
              </a:ext>
            </a:extLst>
          </a:blip>
          <a:stretch>
            <a:fillRect/>
          </a:stretch>
        </p:blipFill>
        <p:spPr>
          <a:xfrm>
            <a:off x="-246335" y="-60007"/>
            <a:ext cx="12298030" cy="6918007"/>
          </a:xfrm>
          <a:prstGeom prst="rect">
            <a:avLst/>
          </a:prstGeom>
        </p:spPr>
      </p:pic>
      <p:sp>
        <p:nvSpPr>
          <p:cNvPr id="10" name="TextBox 9">
            <a:extLst>
              <a:ext uri="{FF2B5EF4-FFF2-40B4-BE49-F238E27FC236}">
                <a16:creationId xmlns:a16="http://schemas.microsoft.com/office/drawing/2014/main" id="{806D88B7-3B6C-4CB0-B75C-9AFAD53AF1FB}"/>
              </a:ext>
            </a:extLst>
          </p:cNvPr>
          <p:cNvSpPr txBox="1"/>
          <p:nvPr/>
        </p:nvSpPr>
        <p:spPr>
          <a:xfrm>
            <a:off x="640275" y="1276186"/>
            <a:ext cx="5512462" cy="408111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80" b="1" i="0" u="none" strike="noStrike" kern="1200" cap="none" spc="0" normalizeH="0" baseline="0" noProof="0" dirty="0">
                <a:ln>
                  <a:noFill/>
                </a:ln>
                <a:solidFill>
                  <a:srgbClr val="FFFFFF"/>
                </a:solidFill>
                <a:effectLst/>
                <a:uLnTx/>
                <a:uFillTx/>
                <a:latin typeface="Ellab Sans"/>
                <a:ea typeface="+mn-ea"/>
                <a:cs typeface="+mn-cs"/>
              </a:rPr>
              <a:t>Advance IT ready:</a:t>
            </a:r>
          </a:p>
          <a:p>
            <a:pPr marL="411480" marR="0" lvl="0" indent="-411480" algn="l" defTabSz="914400" rtl="0" eaLnBrk="0" fontAlgn="base" latinLnBrk="0" hangingPunct="0">
              <a:lnSpc>
                <a:spcPct val="100000"/>
              </a:lnSpc>
              <a:spcBef>
                <a:spcPct val="0"/>
              </a:spcBef>
              <a:spcAft>
                <a:spcPct val="0"/>
              </a:spcAft>
              <a:buClrTx/>
              <a:buSzTx/>
              <a:buFontTx/>
              <a:buChar char="-"/>
              <a:tabLst/>
              <a:defRPr/>
            </a:pPr>
            <a:endParaRPr kumimoji="0" lang="en-US" sz="2880" b="1" i="0" u="none" strike="noStrike" kern="1200" cap="none" spc="0" normalizeH="0" baseline="0" noProof="0" dirty="0">
              <a:ln>
                <a:noFill/>
              </a:ln>
              <a:solidFill>
                <a:srgbClr val="FFFFFF"/>
              </a:solidFill>
              <a:effectLst/>
              <a:uLnTx/>
              <a:uFillTx/>
              <a:latin typeface="Ellab Sans"/>
              <a:ea typeface="+mn-ea"/>
              <a:cs typeface="+mn-cs"/>
            </a:endParaRPr>
          </a:p>
          <a:p>
            <a:pPr marL="457200" marR="0" lvl="0" indent="-457200" algn="l" defTabSz="914400" rtl="0" eaLnBrk="0" fontAlgn="base" latinLnBrk="0" hangingPunct="0">
              <a:lnSpc>
                <a:spcPct val="100000"/>
              </a:lnSpc>
              <a:spcBef>
                <a:spcPct val="0"/>
              </a:spcBef>
              <a:spcAft>
                <a:spcPct val="0"/>
              </a:spcAft>
              <a:buClr>
                <a:srgbClr val="17AAE2"/>
              </a:buClr>
              <a:buSzTx/>
              <a:buFont typeface="Arial" panose="020B0604020202020204" pitchFamily="34" charset="0"/>
              <a:buChar char="•"/>
              <a:tabLst/>
              <a:defRPr/>
            </a:pPr>
            <a:r>
              <a:rPr kumimoji="0" lang="en-US" sz="2880" b="0" i="0" u="none" strike="noStrike" kern="1200" cap="none" spc="0" normalizeH="0" baseline="0" noProof="0" dirty="0">
                <a:ln>
                  <a:noFill/>
                </a:ln>
                <a:solidFill>
                  <a:srgbClr val="FFFFFF"/>
                </a:solidFill>
                <a:effectLst/>
                <a:uLnTx/>
                <a:uFillTx/>
                <a:latin typeface="Ellab Sans"/>
                <a:ea typeface="+mn-ea"/>
                <a:cs typeface="+mn-cs"/>
              </a:rPr>
              <a:t>Citrix install</a:t>
            </a:r>
          </a:p>
          <a:p>
            <a:pPr marL="457200" marR="0" lvl="0" indent="-457200" algn="l" defTabSz="914400" rtl="0" eaLnBrk="0" fontAlgn="base" latinLnBrk="0" hangingPunct="0">
              <a:lnSpc>
                <a:spcPct val="100000"/>
              </a:lnSpc>
              <a:spcBef>
                <a:spcPct val="0"/>
              </a:spcBef>
              <a:spcAft>
                <a:spcPct val="0"/>
              </a:spcAft>
              <a:buClr>
                <a:srgbClr val="17AAE2"/>
              </a:buClr>
              <a:buSzTx/>
              <a:buFont typeface="Arial" panose="020B0604020202020204" pitchFamily="34" charset="0"/>
              <a:buChar char="•"/>
              <a:tabLst/>
              <a:defRPr/>
            </a:pPr>
            <a:r>
              <a:rPr kumimoji="0" lang="en-US" sz="2880" b="0" i="0" u="none" strike="noStrike" kern="1200" cap="none" spc="0" normalizeH="0" baseline="0" noProof="0" dirty="0">
                <a:ln>
                  <a:noFill/>
                </a:ln>
                <a:solidFill>
                  <a:srgbClr val="FFFFFF"/>
                </a:solidFill>
                <a:effectLst/>
                <a:uLnTx/>
                <a:uFillTx/>
                <a:latin typeface="Ellab Sans"/>
                <a:ea typeface="+mn-ea"/>
                <a:cs typeface="+mn-cs"/>
              </a:rPr>
              <a:t>Server install</a:t>
            </a:r>
          </a:p>
          <a:p>
            <a:pPr marL="457200" marR="0" lvl="0" indent="-457200" algn="l" defTabSz="914400" rtl="0" eaLnBrk="0" fontAlgn="base" latinLnBrk="0" hangingPunct="0">
              <a:lnSpc>
                <a:spcPct val="100000"/>
              </a:lnSpc>
              <a:spcBef>
                <a:spcPct val="0"/>
              </a:spcBef>
              <a:spcAft>
                <a:spcPct val="0"/>
              </a:spcAft>
              <a:buClr>
                <a:srgbClr val="17AAE2"/>
              </a:buClr>
              <a:buSzTx/>
              <a:buFont typeface="Arial" panose="020B0604020202020204" pitchFamily="34" charset="0"/>
              <a:buChar char="•"/>
              <a:tabLst/>
              <a:defRPr/>
            </a:pPr>
            <a:r>
              <a:rPr kumimoji="0" lang="en-US" sz="2880" b="0" i="0" u="none" strike="noStrike" kern="1200" cap="none" spc="0" normalizeH="0" baseline="0" noProof="0" dirty="0">
                <a:ln>
                  <a:noFill/>
                </a:ln>
                <a:solidFill>
                  <a:srgbClr val="FFFFFF"/>
                </a:solidFill>
                <a:effectLst/>
                <a:uLnTx/>
                <a:uFillTx/>
                <a:latin typeface="Ellab Sans"/>
                <a:ea typeface="+mn-ea"/>
                <a:cs typeface="+mn-cs"/>
              </a:rPr>
              <a:t>Local Install</a:t>
            </a:r>
          </a:p>
          <a:p>
            <a:pPr marL="457200" marR="0" lvl="0" indent="-457200" algn="l" defTabSz="914400" rtl="0" eaLnBrk="0" fontAlgn="base" latinLnBrk="0" hangingPunct="0">
              <a:lnSpc>
                <a:spcPct val="100000"/>
              </a:lnSpc>
              <a:spcBef>
                <a:spcPct val="0"/>
              </a:spcBef>
              <a:spcAft>
                <a:spcPct val="0"/>
              </a:spcAft>
              <a:buClr>
                <a:srgbClr val="17AAE2"/>
              </a:buClr>
              <a:buSzTx/>
              <a:buFont typeface="Arial" panose="020B0604020202020204" pitchFamily="34" charset="0"/>
              <a:buChar char="•"/>
              <a:tabLst/>
              <a:defRPr/>
            </a:pPr>
            <a:r>
              <a:rPr kumimoji="0" lang="en-US" sz="2880" b="0" i="0" u="none" strike="noStrike" kern="1200" cap="none" spc="0" normalizeH="0" baseline="0" noProof="0" dirty="0">
                <a:ln>
                  <a:noFill/>
                </a:ln>
                <a:solidFill>
                  <a:srgbClr val="FFFFFF"/>
                </a:solidFill>
                <a:effectLst/>
                <a:uLnTx/>
                <a:uFillTx/>
                <a:latin typeface="Ellab Sans"/>
                <a:ea typeface="+mn-ea"/>
                <a:cs typeface="+mn-cs"/>
              </a:rPr>
              <a:t>AD login.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880" b="1" i="0" u="none" strike="noStrike" kern="1200" cap="none" spc="0" normalizeH="0" baseline="0" noProof="0" dirty="0">
              <a:ln>
                <a:noFill/>
              </a:ln>
              <a:solidFill>
                <a:srgbClr val="FFFFFF"/>
              </a:solidFill>
              <a:effectLst/>
              <a:uLnTx/>
              <a:uFillTx/>
              <a:latin typeface="Ellab Sans"/>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80" b="1" i="0" u="none" strike="noStrike" kern="1200" cap="none" spc="0" normalizeH="0" baseline="0" noProof="0" dirty="0">
                <a:ln>
                  <a:noFill/>
                </a:ln>
                <a:solidFill>
                  <a:srgbClr val="FFFFFF"/>
                </a:solidFill>
                <a:effectLst/>
                <a:uLnTx/>
                <a:uFillTx/>
                <a:latin typeface="Ellab Sans"/>
                <a:ea typeface="+mn-ea"/>
                <a:cs typeface="+mn-cs"/>
              </a:rPr>
              <a:t>Ellab strong software team to jump to a TELCO</a:t>
            </a:r>
          </a:p>
        </p:txBody>
      </p:sp>
    </p:spTree>
    <p:extLst>
      <p:ext uri="{BB962C8B-B14F-4D97-AF65-F5344CB8AC3E}">
        <p14:creationId xmlns:p14="http://schemas.microsoft.com/office/powerpoint/2010/main" val="31248140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93E07CB1-2115-8B54-CEFE-122493401280}"/>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774220F9-807F-6C4B-1497-D807DF8D3BEA}"/>
              </a:ext>
            </a:extLst>
          </p:cNvPr>
          <p:cNvSpPr/>
          <p:nvPr/>
        </p:nvSpPr>
        <p:spPr>
          <a:xfrm>
            <a:off x="6718048" y="1875017"/>
            <a:ext cx="4225904" cy="2507797"/>
          </a:xfrm>
          <a:prstGeom prst="roundRect">
            <a:avLst>
              <a:gd name="adj" fmla="val 4392"/>
            </a:avLst>
          </a:prstGeom>
          <a:gradFill>
            <a:gsLst>
              <a:gs pos="0">
                <a:schemeClr val="accent1">
                  <a:lumMod val="5000"/>
                  <a:lumOff val="95000"/>
                  <a:alpha val="0"/>
                </a:schemeClr>
              </a:gs>
              <a:gs pos="100000">
                <a:schemeClr val="accent1">
                  <a:alpha val="52000"/>
                </a:schemeClr>
              </a:gs>
            </a:gsLst>
            <a:lin ang="2700000" scaled="0"/>
          </a:gra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srgbClr val="FFFFFF"/>
              </a:solidFill>
              <a:effectLst/>
              <a:uLnTx/>
              <a:uFillTx/>
              <a:latin typeface="Ellab Sans"/>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Ellab Sans"/>
              <a:ea typeface="+mn-ea"/>
              <a:cs typeface="+mn-cs"/>
            </a:endParaRPr>
          </a:p>
        </p:txBody>
      </p:sp>
      <p:sp>
        <p:nvSpPr>
          <p:cNvPr id="28" name="Rectangle: Rounded Corners 27">
            <a:extLst>
              <a:ext uri="{FF2B5EF4-FFF2-40B4-BE49-F238E27FC236}">
                <a16:creationId xmlns:a16="http://schemas.microsoft.com/office/drawing/2014/main" id="{FBA713D8-8FB7-EE77-0BAD-369795F5F774}"/>
              </a:ext>
            </a:extLst>
          </p:cNvPr>
          <p:cNvSpPr/>
          <p:nvPr/>
        </p:nvSpPr>
        <p:spPr>
          <a:xfrm>
            <a:off x="743739" y="1875017"/>
            <a:ext cx="3740855" cy="2507797"/>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22225">
            <a:gradFill>
              <a:gsLst>
                <a:gs pos="34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10000"/>
              </a:lnSpc>
              <a:spcBef>
                <a:spcPct val="0"/>
              </a:spcBef>
              <a:spcAft>
                <a:spcPct val="0"/>
              </a:spcAft>
              <a:buClrTx/>
              <a:buSzTx/>
              <a:buFontTx/>
              <a:buNone/>
              <a:tabLst/>
              <a:defRPr/>
            </a:pPr>
            <a:endParaRPr kumimoji="0" lang="en-GB" sz="700" b="1" i="0" u="none" strike="noStrike" kern="1200" cap="none" spc="0" normalizeH="0" baseline="0" noProof="0" dirty="0">
              <a:ln>
                <a:noFill/>
              </a:ln>
              <a:solidFill>
                <a:srgbClr val="17AAE2"/>
              </a:solidFill>
              <a:effectLst/>
              <a:uLnTx/>
              <a:uFillTx/>
              <a:latin typeface="Ellab Sans"/>
              <a:ea typeface="+mn-ea"/>
              <a:cs typeface="+mn-cs"/>
            </a:endParaRPr>
          </a:p>
        </p:txBody>
      </p:sp>
      <p:sp>
        <p:nvSpPr>
          <p:cNvPr id="4" name="Oval 3">
            <a:extLst>
              <a:ext uri="{FF2B5EF4-FFF2-40B4-BE49-F238E27FC236}">
                <a16:creationId xmlns:a16="http://schemas.microsoft.com/office/drawing/2014/main" id="{7DFEB99A-F0CF-2840-F63E-A349D5939559}"/>
              </a:ext>
            </a:extLst>
          </p:cNvPr>
          <p:cNvSpPr/>
          <p:nvPr/>
        </p:nvSpPr>
        <p:spPr>
          <a:xfrm>
            <a:off x="2175993" y="3270726"/>
            <a:ext cx="6282624" cy="6282624"/>
          </a:xfrm>
          <a:prstGeom prst="ellipse">
            <a:avLst/>
          </a:prstGeom>
          <a:gradFill flip="none" rotWithShape="1">
            <a:gsLst>
              <a:gs pos="55000">
                <a:schemeClr val="accent1">
                  <a:lumMod val="5000"/>
                  <a:lumOff val="95000"/>
                  <a:alpha val="0"/>
                </a:schemeClr>
              </a:gs>
              <a:gs pos="0">
                <a:schemeClr val="accent1">
                  <a:alpha val="60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graphicFrame>
        <p:nvGraphicFramePr>
          <p:cNvPr id="6" name="Table 5">
            <a:extLst>
              <a:ext uri="{FF2B5EF4-FFF2-40B4-BE49-F238E27FC236}">
                <a16:creationId xmlns:a16="http://schemas.microsoft.com/office/drawing/2014/main" id="{C71797FA-931D-D667-F63A-AB152E92BDDD}"/>
              </a:ext>
            </a:extLst>
          </p:cNvPr>
          <p:cNvGraphicFramePr>
            <a:graphicFrameLocks noGrp="1"/>
          </p:cNvGraphicFramePr>
          <p:nvPr/>
        </p:nvGraphicFramePr>
        <p:xfrm>
          <a:off x="922225" y="1972996"/>
          <a:ext cx="9842146" cy="2582184"/>
        </p:xfrm>
        <a:graphic>
          <a:graphicData uri="http://schemas.openxmlformats.org/drawingml/2006/table">
            <a:tbl>
              <a:tblPr firstRow="1" bandRow="1">
                <a:tableStyleId>{5C22544A-7EE6-4342-B048-85BDC9FD1C3A}</a:tableStyleId>
              </a:tblPr>
              <a:tblGrid>
                <a:gridCol w="3280715">
                  <a:extLst>
                    <a:ext uri="{9D8B030D-6E8A-4147-A177-3AD203B41FA5}">
                      <a16:colId xmlns:a16="http://schemas.microsoft.com/office/drawing/2014/main" val="353290611"/>
                    </a:ext>
                  </a:extLst>
                </a:gridCol>
                <a:gridCol w="2776084">
                  <a:extLst>
                    <a:ext uri="{9D8B030D-6E8A-4147-A177-3AD203B41FA5}">
                      <a16:colId xmlns:a16="http://schemas.microsoft.com/office/drawing/2014/main" val="3672979565"/>
                    </a:ext>
                  </a:extLst>
                </a:gridCol>
                <a:gridCol w="3785347">
                  <a:extLst>
                    <a:ext uri="{9D8B030D-6E8A-4147-A177-3AD203B41FA5}">
                      <a16:colId xmlns:a16="http://schemas.microsoft.com/office/drawing/2014/main" val="951160451"/>
                    </a:ext>
                  </a:extLst>
                </a:gridCol>
              </a:tblGrid>
              <a:tr h="2655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accent1"/>
                          </a:solidFill>
                          <a:latin typeface="+mj-lt"/>
                          <a:ea typeface="Ellab Sans Light"/>
                        </a:rPr>
                        <a:t>Val</a:t>
                      </a:r>
                      <a:r>
                        <a:rPr lang="en-US" sz="3200" dirty="0">
                          <a:solidFill>
                            <a:schemeClr val="bg2"/>
                          </a:solidFill>
                          <a:latin typeface="+mj-lt"/>
                          <a:ea typeface="Ellab Sans Light"/>
                        </a:rPr>
                        <a:t>Suite</a:t>
                      </a:r>
                    </a:p>
                  </a:txBody>
                  <a:tcPr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3200" dirty="0">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3200" b="1" dirty="0">
                          <a:solidFill>
                            <a:schemeClr val="bg2"/>
                          </a:solidFill>
                          <a:latin typeface="+mj-lt"/>
                        </a:rPr>
                        <a:t>Other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5568817"/>
                  </a:ext>
                </a:extLst>
              </a:tr>
              <a:tr h="776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accent1"/>
                          </a:solidFill>
                          <a:latin typeface="+mn-lt"/>
                          <a:ea typeface="Ellab Sans Light"/>
                          <a:cs typeface="+mn-cs"/>
                        </a:rPr>
                        <a:t>ValSuite used for </a:t>
                      </a:r>
                      <a:r>
                        <a:rPr lang="en-US" sz="1400" b="1" kern="1200" dirty="0">
                          <a:solidFill>
                            <a:schemeClr val="bg2"/>
                          </a:solidFill>
                          <a:latin typeface="+mn-lt"/>
                          <a:ea typeface="Ellab Sans Light"/>
                          <a:cs typeface="+mn-cs"/>
                        </a:rPr>
                        <a:t>all Ellab range</a:t>
                      </a:r>
                      <a:r>
                        <a:rPr lang="en-US" sz="1400" kern="1200" dirty="0">
                          <a:solidFill>
                            <a:schemeClr val="accent1"/>
                          </a:solidFill>
                          <a:latin typeface="+mn-lt"/>
                          <a:ea typeface="Ellab Sans Light"/>
                          <a:cs typeface="+mn-cs"/>
                        </a:rPr>
                        <a:t>. Wireless + Real time + Reporting.</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Need specific software to each hardware, and then you send to the reporting tool software.</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8192479"/>
                  </a:ext>
                </a:extLst>
              </a:tr>
              <a:tr h="4773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ValSuite with </a:t>
                      </a:r>
                      <a:r>
                        <a:rPr lang="en-US" sz="1400" b="1" dirty="0">
                          <a:solidFill>
                            <a:schemeClr val="bg2"/>
                          </a:solidFill>
                          <a:latin typeface="+mj-lt"/>
                          <a:ea typeface="Ellab Sans Light"/>
                        </a:rPr>
                        <a:t>local languag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Only English or limited options</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734595"/>
                  </a:ext>
                </a:extLst>
              </a:tr>
              <a:tr h="4448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IT dept is our friend</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Afraid of IT dept.</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1214006"/>
                  </a:ext>
                </a:extLst>
              </a:tr>
              <a:tr h="265568">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4225377"/>
                  </a:ext>
                </a:extLst>
              </a:tr>
            </a:tbl>
          </a:graphicData>
        </a:graphic>
      </p:graphicFrame>
      <p:sp>
        <p:nvSpPr>
          <p:cNvPr id="5" name="Rectangle 4">
            <a:extLst>
              <a:ext uri="{FF2B5EF4-FFF2-40B4-BE49-F238E27FC236}">
                <a16:creationId xmlns:a16="http://schemas.microsoft.com/office/drawing/2014/main" id="{6B5947E1-C252-1D46-8F44-E8EA16BD60C1}"/>
              </a:ext>
            </a:extLst>
          </p:cNvPr>
          <p:cNvSpPr>
            <a:spLocks noGrp="1" noRot="1" noMove="1" noResize="1" noEditPoints="1" noAdjustHandles="1" noChangeArrowheads="1" noChangeShapeType="1"/>
          </p:cNvSpPr>
          <p:nvPr/>
        </p:nvSpPr>
        <p:spPr>
          <a:xfrm>
            <a:off x="-1" y="6374607"/>
            <a:ext cx="988219" cy="48339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sp>
        <p:nvSpPr>
          <p:cNvPr id="9" name="Title 2">
            <a:extLst>
              <a:ext uri="{FF2B5EF4-FFF2-40B4-BE49-F238E27FC236}">
                <a16:creationId xmlns:a16="http://schemas.microsoft.com/office/drawing/2014/main" id="{13FEE4DE-4F8E-490A-1C7E-5FFA9A99FE7B}"/>
              </a:ext>
            </a:extLst>
          </p:cNvPr>
          <p:cNvSpPr>
            <a:spLocks noGrp="1"/>
          </p:cNvSpPr>
          <p:nvPr>
            <p:ph type="title"/>
          </p:nvPr>
        </p:nvSpPr>
        <p:spPr>
          <a:xfrm>
            <a:off x="359999" y="936001"/>
            <a:ext cx="9742543" cy="365126"/>
          </a:xfrm>
        </p:spPr>
        <p:txBody>
          <a:bodyPr/>
          <a:lstStyle/>
          <a:p>
            <a:r>
              <a:rPr lang="en-US" dirty="0">
                <a:solidFill>
                  <a:schemeClr val="accent1"/>
                </a:solidFill>
              </a:rPr>
              <a:t>What is the Best Way to </a:t>
            </a:r>
            <a:r>
              <a:rPr lang="en-US" dirty="0">
                <a:solidFill>
                  <a:schemeClr val="bg2"/>
                </a:solidFill>
              </a:rPr>
              <a:t>Show ValSuite</a:t>
            </a:r>
            <a:r>
              <a:rPr lang="en-US" dirty="0">
                <a:solidFill>
                  <a:schemeClr val="accent1"/>
                </a:solidFill>
              </a:rPr>
              <a:t>?</a:t>
            </a:r>
          </a:p>
        </p:txBody>
      </p:sp>
      <p:pic>
        <p:nvPicPr>
          <p:cNvPr id="35" name="Picture 34" descr="A person wearing a white protective suit and face mask&#10;&#10;AI-generated content may be incorrect.">
            <a:extLst>
              <a:ext uri="{FF2B5EF4-FFF2-40B4-BE49-F238E27FC236}">
                <a16:creationId xmlns:a16="http://schemas.microsoft.com/office/drawing/2014/main" id="{6DFDC623-EDC0-866D-59BC-8B8598B30590}"/>
              </a:ext>
            </a:extLst>
          </p:cNvPr>
          <p:cNvPicPr>
            <a:picLocks noChangeAspect="1"/>
          </p:cNvPicPr>
          <p:nvPr/>
        </p:nvPicPr>
        <p:blipFill>
          <a:blip r:embed="rId3" cstate="screen">
            <a:extLst>
              <a:ext uri="{BEBA8EAE-BF5A-486C-A8C5-ECC9F3942E4B}">
                <a14:imgProps xmlns:a14="http://schemas.microsoft.com/office/drawing/2010/main">
                  <a14:imgLayer r:embed="rId4">
                    <a14:imgEffect>
                      <a14:colorTemperature colorTemp="4460"/>
                    </a14:imgEffect>
                    <a14:imgEffect>
                      <a14:saturation sat="120000"/>
                    </a14:imgEffect>
                  </a14:imgLayer>
                </a14:imgProps>
              </a:ext>
              <a:ext uri="{28A0092B-C50C-407E-A947-70E740481C1C}">
                <a14:useLocalDpi xmlns:a14="http://schemas.microsoft.com/office/drawing/2010/main"/>
              </a:ext>
            </a:extLst>
          </a:blip>
          <a:srcRect b="12003"/>
          <a:stretch/>
        </p:blipFill>
        <p:spPr>
          <a:xfrm>
            <a:off x="3727842" y="2986819"/>
            <a:ext cx="2767711" cy="3871181"/>
          </a:xfrm>
          <a:prstGeom prst="rect">
            <a:avLst/>
          </a:prstGeom>
        </p:spPr>
      </p:pic>
      <p:sp>
        <p:nvSpPr>
          <p:cNvPr id="3" name="TextBox 2">
            <a:extLst>
              <a:ext uri="{FF2B5EF4-FFF2-40B4-BE49-F238E27FC236}">
                <a16:creationId xmlns:a16="http://schemas.microsoft.com/office/drawing/2014/main" id="{6FF283B1-F946-A933-879C-EA2392C65A1C}"/>
              </a:ext>
            </a:extLst>
          </p:cNvPr>
          <p:cNvSpPr txBox="1">
            <a:spLocks noGrp="1" noRot="1" noMove="1" noResize="1" noEditPoints="1" noAdjustHandles="1" noChangeArrowheads="1" noChangeShapeType="1"/>
          </p:cNvSpPr>
          <p:nvPr/>
        </p:nvSpPr>
        <p:spPr>
          <a:xfrm>
            <a:off x="76057" y="6339397"/>
            <a:ext cx="1279420"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Your Life Scie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Complia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Partner</a:t>
            </a:r>
          </a:p>
        </p:txBody>
      </p:sp>
    </p:spTree>
    <p:extLst>
      <p:ext uri="{BB962C8B-B14F-4D97-AF65-F5344CB8AC3E}">
        <p14:creationId xmlns:p14="http://schemas.microsoft.com/office/powerpoint/2010/main" val="29851744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F35A9-203A-1297-F5DE-A8D3256BD8EF}"/>
            </a:ext>
          </a:extLst>
        </p:cNvPr>
        <p:cNvGrpSpPr/>
        <p:nvPr/>
      </p:nvGrpSpPr>
      <p:grpSpPr>
        <a:xfrm>
          <a:off x="0" y="0"/>
          <a:ext cx="0" cy="0"/>
          <a:chOff x="0" y="0"/>
          <a:chExt cx="0" cy="0"/>
        </a:xfrm>
      </p:grpSpPr>
      <p:pic>
        <p:nvPicPr>
          <p:cNvPr id="8" name="Picture 7" descr="Person stretching">
            <a:extLst>
              <a:ext uri="{FF2B5EF4-FFF2-40B4-BE49-F238E27FC236}">
                <a16:creationId xmlns:a16="http://schemas.microsoft.com/office/drawing/2014/main" id="{2FC9661B-24CA-D81B-26D0-985D509650EB}"/>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6785802" y="0"/>
            <a:ext cx="4291117" cy="5979885"/>
          </a:xfrm>
          <a:custGeom>
            <a:avLst/>
            <a:gdLst>
              <a:gd name="connsiteX0" fmla="*/ 0 w 4291117"/>
              <a:gd name="connsiteY0" fmla="*/ 0 h 5979885"/>
              <a:gd name="connsiteX1" fmla="*/ 4291117 w 4291117"/>
              <a:gd name="connsiteY1" fmla="*/ 0 h 5979885"/>
              <a:gd name="connsiteX2" fmla="*/ 4284491 w 4291117"/>
              <a:gd name="connsiteY2" fmla="*/ 3216808 h 5979885"/>
              <a:gd name="connsiteX3" fmla="*/ 70736 w 4291117"/>
              <a:gd name="connsiteY3" fmla="*/ 5979885 h 5979885"/>
              <a:gd name="connsiteX4" fmla="*/ 0 w 4291117"/>
              <a:gd name="connsiteY4" fmla="*/ 5979885 h 5979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117" h="5979885">
                <a:moveTo>
                  <a:pt x="0" y="0"/>
                </a:moveTo>
                <a:lnTo>
                  <a:pt x="4291117" y="0"/>
                </a:lnTo>
                <a:cubicBezTo>
                  <a:pt x="4288908" y="1076687"/>
                  <a:pt x="4286700" y="2140121"/>
                  <a:pt x="4284491" y="3216808"/>
                </a:cubicBezTo>
                <a:lnTo>
                  <a:pt x="70736" y="5979885"/>
                </a:lnTo>
                <a:lnTo>
                  <a:pt x="0" y="5979885"/>
                </a:lnTo>
                <a:close/>
              </a:path>
            </a:pathLst>
          </a:custGeom>
        </p:spPr>
      </p:pic>
      <p:sp>
        <p:nvSpPr>
          <p:cNvPr id="14" name="Text Placeholder 13">
            <a:extLst>
              <a:ext uri="{FF2B5EF4-FFF2-40B4-BE49-F238E27FC236}">
                <a16:creationId xmlns:a16="http://schemas.microsoft.com/office/drawing/2014/main" id="{18304A55-2D02-A864-D728-414FA12CB772}"/>
              </a:ext>
            </a:extLst>
          </p:cNvPr>
          <p:cNvSpPr>
            <a:spLocks noGrp="1"/>
          </p:cNvSpPr>
          <p:nvPr>
            <p:ph type="body" sz="half" idx="10"/>
          </p:nvPr>
        </p:nvSpPr>
        <p:spPr/>
        <p:txBody>
          <a:bodyPr/>
          <a:lstStyle/>
          <a:p>
            <a:endParaRPr lang="en-US"/>
          </a:p>
        </p:txBody>
      </p:sp>
      <p:sp>
        <p:nvSpPr>
          <p:cNvPr id="13" name="Title 12">
            <a:extLst>
              <a:ext uri="{FF2B5EF4-FFF2-40B4-BE49-F238E27FC236}">
                <a16:creationId xmlns:a16="http://schemas.microsoft.com/office/drawing/2014/main" id="{8EA6170D-9F5A-B79E-39FC-6A4130201424}"/>
              </a:ext>
            </a:extLst>
          </p:cNvPr>
          <p:cNvSpPr>
            <a:spLocks noGrp="1"/>
          </p:cNvSpPr>
          <p:nvPr>
            <p:ph type="title"/>
          </p:nvPr>
        </p:nvSpPr>
        <p:spPr>
          <a:xfrm>
            <a:off x="360000" y="1728000"/>
            <a:ext cx="5736000" cy="551433"/>
          </a:xfrm>
        </p:spPr>
        <p:txBody>
          <a:bodyPr/>
          <a:lstStyle/>
          <a:p>
            <a:r>
              <a:rPr lang="en-US" dirty="0"/>
              <a:t>Flexible Calibration</a:t>
            </a:r>
          </a:p>
        </p:txBody>
      </p:sp>
    </p:spTree>
    <p:extLst>
      <p:ext uri="{BB962C8B-B14F-4D97-AF65-F5344CB8AC3E}">
        <p14:creationId xmlns:p14="http://schemas.microsoft.com/office/powerpoint/2010/main" val="778587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CF825-435F-4951-982F-9C7FAF16CAB6}"/>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A13001D-3307-04F0-D345-FA2062F282BB}"/>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3" name="Object 2" hidden="1">
                        <a:extLst>
                          <a:ext uri="{FF2B5EF4-FFF2-40B4-BE49-F238E27FC236}">
                            <a16:creationId xmlns:a16="http://schemas.microsoft.com/office/drawing/2014/main" id="{CA13001D-3307-04F0-D345-FA2062F282BB}"/>
                          </a:ext>
                        </a:extLst>
                      </p:cNvPr>
                      <p:cNvPicPr/>
                      <p:nvPr/>
                    </p:nvPicPr>
                    <p:blipFill>
                      <a:blip r:embed="rId10"/>
                      <a:stretch>
                        <a:fillRect/>
                      </a:stretch>
                    </p:blipFill>
                    <p:spPr>
                      <a:xfrm>
                        <a:off x="611505" y="1905"/>
                        <a:ext cx="1906" cy="1906"/>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30679044-9C7A-DB49-B0B6-C776D4514D12}"/>
              </a:ext>
            </a:extLst>
          </p:cNvPr>
          <p:cNvSpPr>
            <a:spLocks noGrp="1"/>
          </p:cNvSpPr>
          <p:nvPr>
            <p:ph type="body" sz="half" idx="10"/>
          </p:nvPr>
        </p:nvSpPr>
        <p:spPr/>
        <p:txBody>
          <a:bodyPr/>
          <a:lstStyle/>
          <a:p>
            <a:endParaRPr lang="en-US">
              <a:latin typeface="+mj-lt"/>
            </a:endParaRPr>
          </a:p>
        </p:txBody>
      </p:sp>
      <p:sp>
        <p:nvSpPr>
          <p:cNvPr id="2" name="Title 1">
            <a:extLst>
              <a:ext uri="{FF2B5EF4-FFF2-40B4-BE49-F238E27FC236}">
                <a16:creationId xmlns:a16="http://schemas.microsoft.com/office/drawing/2014/main" id="{941F3216-C028-B1F8-9A98-9D99CACAD3D9}"/>
              </a:ext>
            </a:extLst>
          </p:cNvPr>
          <p:cNvSpPr>
            <a:spLocks noGrp="1"/>
          </p:cNvSpPr>
          <p:nvPr>
            <p:ph type="title"/>
          </p:nvPr>
        </p:nvSpPr>
        <p:spPr/>
        <p:txBody>
          <a:bodyPr vert="horz"/>
          <a:lstStyle/>
          <a:p>
            <a:r>
              <a:rPr lang="en-US"/>
              <a:t>The Ellab Strategy – Executive Summary</a:t>
            </a:r>
          </a:p>
        </p:txBody>
      </p:sp>
      <p:sp>
        <p:nvSpPr>
          <p:cNvPr id="4" name="Text Placeholder 3">
            <a:extLst>
              <a:ext uri="{FF2B5EF4-FFF2-40B4-BE49-F238E27FC236}">
                <a16:creationId xmlns:a16="http://schemas.microsoft.com/office/drawing/2014/main" id="{288509A3-9B93-596A-5A56-CBF7CC8B9C2C}"/>
              </a:ext>
            </a:extLst>
          </p:cNvPr>
          <p:cNvSpPr>
            <a:spLocks noGrp="1"/>
          </p:cNvSpPr>
          <p:nvPr>
            <p:ph type="body" sz="half" idx="2"/>
          </p:nvPr>
        </p:nvSpPr>
        <p:spPr/>
        <p:txBody>
          <a:bodyPr/>
          <a:lstStyle/>
          <a:p>
            <a:endParaRPr lang="en-US">
              <a:latin typeface="+mj-lt"/>
            </a:endParaRPr>
          </a:p>
        </p:txBody>
      </p:sp>
      <p:sp>
        <p:nvSpPr>
          <p:cNvPr id="6" name="btfpRowHeaderBoxText597086">
            <a:extLst>
              <a:ext uri="{FF2B5EF4-FFF2-40B4-BE49-F238E27FC236}">
                <a16:creationId xmlns:a16="http://schemas.microsoft.com/office/drawing/2014/main" id="{6C21059B-6ACB-6597-FF5F-FE518BBB8531}"/>
              </a:ext>
            </a:extLst>
          </p:cNvPr>
          <p:cNvSpPr txBox="1"/>
          <p:nvPr/>
        </p:nvSpPr>
        <p:spPr bwMode="gray">
          <a:xfrm>
            <a:off x="1068994" y="1468755"/>
            <a:ext cx="1203949" cy="558166"/>
          </a:xfrm>
          <a:prstGeom prst="rect">
            <a:avLst/>
          </a:prstGeom>
          <a:noFill/>
        </p:spPr>
        <p:txBody>
          <a:bodyPr vert="horz" wrap="square" lIns="43243" tIns="43243" rIns="216217" bIns="43243" rtlCol="0" anchor="t">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defTabSz="853440">
              <a:spcBef>
                <a:spcPts val="0"/>
              </a:spcBef>
              <a:buNone/>
              <a:defRPr/>
            </a:pPr>
            <a:r>
              <a:rPr lang="en-US" sz="1320" b="1">
                <a:solidFill>
                  <a:srgbClr val="C90537"/>
                </a:solidFill>
                <a:latin typeface="+mj-lt"/>
              </a:rPr>
              <a:t>Ambition</a:t>
            </a:r>
          </a:p>
        </p:txBody>
      </p:sp>
      <p:cxnSp>
        <p:nvCxnSpPr>
          <p:cNvPr id="7" name="btfpRowHeaderBoxLine597086">
            <a:extLst>
              <a:ext uri="{FF2B5EF4-FFF2-40B4-BE49-F238E27FC236}">
                <a16:creationId xmlns:a16="http://schemas.microsoft.com/office/drawing/2014/main" id="{628D3418-5987-6F38-5A2F-38743D4621D6}"/>
              </a:ext>
            </a:extLst>
          </p:cNvPr>
          <p:cNvCxnSpPr>
            <a:cxnSpLocks/>
          </p:cNvCxnSpPr>
          <p:nvPr/>
        </p:nvCxnSpPr>
        <p:spPr bwMode="gray">
          <a:xfrm>
            <a:off x="2272943" y="1468756"/>
            <a:ext cx="0" cy="800100"/>
          </a:xfrm>
          <a:prstGeom prst="line">
            <a:avLst/>
          </a:prstGeom>
          <a:ln w="15240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89D7C31-F6DB-34AE-6E32-BDEA6C19FB76}"/>
              </a:ext>
            </a:extLst>
          </p:cNvPr>
          <p:cNvGrpSpPr/>
          <p:nvPr/>
        </p:nvGrpSpPr>
        <p:grpSpPr>
          <a:xfrm>
            <a:off x="1561634" y="5366386"/>
            <a:ext cx="659231" cy="676276"/>
            <a:chOff x="972693" y="5607322"/>
            <a:chExt cx="754455" cy="774754"/>
          </a:xfrm>
        </p:grpSpPr>
        <p:sp>
          <p:nvSpPr>
            <p:cNvPr id="9" name="Rectangle 8">
              <a:extLst>
                <a:ext uri="{FF2B5EF4-FFF2-40B4-BE49-F238E27FC236}">
                  <a16:creationId xmlns:a16="http://schemas.microsoft.com/office/drawing/2014/main" id="{44C913BD-18E4-F7A9-FBE7-87A3C475E572}"/>
                </a:ext>
              </a:extLst>
            </p:cNvPr>
            <p:cNvSpPr/>
            <p:nvPr/>
          </p:nvSpPr>
          <p:spPr bwMode="gray">
            <a:xfrm>
              <a:off x="1119061" y="5824978"/>
              <a:ext cx="453798" cy="302578"/>
            </a:xfrm>
            <a:prstGeom prst="rect">
              <a:avLst/>
            </a:prstGeom>
            <a:solidFill>
              <a:srgbClr val="BBBEC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85AFC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3200" tIns="43200" rIns="43200" bIns="432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lgn="ctr" defTabSz="853440">
                <a:spcBef>
                  <a:spcPts val="1440"/>
                </a:spcBef>
                <a:buNone/>
                <a:defRPr/>
              </a:pPr>
              <a:endParaRPr lang="en-US" sz="1440">
                <a:solidFill>
                  <a:srgbClr val="000000"/>
                </a:solidFill>
                <a:latin typeface="+mj-lt"/>
              </a:endParaRPr>
            </a:p>
          </p:txBody>
        </p:sp>
        <p:pic>
          <p:nvPicPr>
            <p:cNvPr id="10" name="btfpIconLines905591">
              <a:extLst>
                <a:ext uri="{FF2B5EF4-FFF2-40B4-BE49-F238E27FC236}">
                  <a16:creationId xmlns:a16="http://schemas.microsoft.com/office/drawing/2014/main" id="{17825B4F-A3FA-E918-AEA5-9603F966AF28}"/>
                </a:ext>
              </a:extLst>
            </p:cNvPr>
            <p:cNvPicPr>
              <a:picLocks/>
            </p:cNvPicPr>
            <p:nvPr/>
          </p:nvPicPr>
          <p:blipFill>
            <a:blip r:embed="rId11">
              <a:lum bright="-100000"/>
              <a:extLst>
                <a:ext uri="{28A0092B-C50C-407E-A947-70E740481C1C}">
                  <a14:useLocalDpi xmlns:a14="http://schemas.microsoft.com/office/drawing/2010/main" val="0"/>
                </a:ext>
              </a:extLst>
            </a:blip>
            <a:stretch>
              <a:fillRect/>
            </a:stretch>
          </p:blipFill>
          <p:spPr>
            <a:xfrm>
              <a:off x="972693" y="5607322"/>
              <a:ext cx="754455" cy="774754"/>
            </a:xfrm>
            <a:prstGeom prst="rect">
              <a:avLst/>
            </a:prstGeom>
          </p:spPr>
        </p:pic>
      </p:grpSp>
      <p:sp>
        <p:nvSpPr>
          <p:cNvPr id="11" name="btfpRowHeaderBoxText719952">
            <a:extLst>
              <a:ext uri="{FF2B5EF4-FFF2-40B4-BE49-F238E27FC236}">
                <a16:creationId xmlns:a16="http://schemas.microsoft.com/office/drawing/2014/main" id="{B2939511-88E6-AE77-3E5B-CB953EDDE7B7}"/>
              </a:ext>
            </a:extLst>
          </p:cNvPr>
          <p:cNvSpPr txBox="1"/>
          <p:nvPr/>
        </p:nvSpPr>
        <p:spPr bwMode="gray">
          <a:xfrm>
            <a:off x="1050784" y="4962525"/>
            <a:ext cx="1215988" cy="1068706"/>
          </a:xfrm>
          <a:prstGeom prst="rect">
            <a:avLst/>
          </a:prstGeom>
          <a:noFill/>
        </p:spPr>
        <p:txBody>
          <a:bodyPr vert="horz" wrap="square" lIns="43243" tIns="43243" rIns="216217" bIns="43243" rtlCol="0" anchor="t">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defTabSz="853440">
              <a:spcBef>
                <a:spcPts val="0"/>
              </a:spcBef>
              <a:buNone/>
              <a:defRPr/>
            </a:pPr>
            <a:r>
              <a:rPr lang="en-US" sz="1320" b="1">
                <a:solidFill>
                  <a:srgbClr val="0E9CD7"/>
                </a:solidFill>
                <a:latin typeface="+mj-lt"/>
              </a:rPr>
              <a:t>Business plan 2027</a:t>
            </a:r>
          </a:p>
        </p:txBody>
      </p:sp>
      <p:cxnSp>
        <p:nvCxnSpPr>
          <p:cNvPr id="12" name="btfpRowHeaderBoxLine719952">
            <a:extLst>
              <a:ext uri="{FF2B5EF4-FFF2-40B4-BE49-F238E27FC236}">
                <a16:creationId xmlns:a16="http://schemas.microsoft.com/office/drawing/2014/main" id="{7C6C7649-BD1B-BF61-3B91-50292880F47B}"/>
              </a:ext>
            </a:extLst>
          </p:cNvPr>
          <p:cNvCxnSpPr>
            <a:cxnSpLocks/>
          </p:cNvCxnSpPr>
          <p:nvPr/>
        </p:nvCxnSpPr>
        <p:spPr bwMode="gray">
          <a:xfrm>
            <a:off x="2272942" y="4890136"/>
            <a:ext cx="0" cy="1413388"/>
          </a:xfrm>
          <a:prstGeom prst="line">
            <a:avLst/>
          </a:prstGeom>
          <a:ln w="1524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AD8878CE-5F02-6517-1842-D4885F143327}"/>
              </a:ext>
            </a:extLst>
          </p:cNvPr>
          <p:cNvSpPr/>
          <p:nvPr/>
        </p:nvSpPr>
        <p:spPr bwMode="gray">
          <a:xfrm>
            <a:off x="1743053" y="4170046"/>
            <a:ext cx="196373" cy="196216"/>
          </a:xfrm>
          <a:prstGeom prst="ellipse">
            <a:avLst/>
          </a:prstGeom>
          <a:solidFill>
            <a:srgbClr val="85AFC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44748A"/>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3200" tIns="43200" rIns="43200" bIns="432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lgn="ctr" defTabSz="853440">
              <a:spcBef>
                <a:spcPts val="1440"/>
              </a:spcBef>
              <a:buNone/>
              <a:defRPr/>
            </a:pPr>
            <a:endParaRPr lang="en-US" sz="1440">
              <a:solidFill>
                <a:srgbClr val="FFFFFF"/>
              </a:solidFill>
              <a:latin typeface="+mj-lt"/>
            </a:endParaRPr>
          </a:p>
        </p:txBody>
      </p:sp>
      <p:pic>
        <p:nvPicPr>
          <p:cNvPr id="14" name="btfpIconLines966369">
            <a:extLst>
              <a:ext uri="{FF2B5EF4-FFF2-40B4-BE49-F238E27FC236}">
                <a16:creationId xmlns:a16="http://schemas.microsoft.com/office/drawing/2014/main" id="{A897E809-1544-854A-E9CD-F2375FA934E6}"/>
              </a:ext>
            </a:extLst>
          </p:cNvPr>
          <p:cNvPicPr>
            <a:picLocks/>
          </p:cNvPicPr>
          <p:nvPr/>
        </p:nvPicPr>
        <p:blipFill>
          <a:blip r:embed="rId12">
            <a:clrChange>
              <a:clrFrom>
                <a:srgbClr val="606060"/>
              </a:clrFrom>
              <a:clrTo>
                <a:srgbClr val="606060">
                  <a:alpha val="0"/>
                </a:srgbClr>
              </a:clrTo>
            </a:clrChange>
            <a:duotone>
              <a:prstClr val="black"/>
              <a:schemeClr val="tx2">
                <a:lumMod val="25000"/>
                <a:tint val="45000"/>
                <a:satMod val="400000"/>
              </a:schemeClr>
            </a:duotone>
            <a:lum bright="-100000" contrast="-40000"/>
            <a:extLst>
              <a:ext uri="{28A0092B-C50C-407E-A947-70E740481C1C}">
                <a14:useLocalDpi xmlns:a14="http://schemas.microsoft.com/office/drawing/2010/main" val="0"/>
              </a:ext>
            </a:extLst>
          </a:blip>
          <a:stretch>
            <a:fillRect/>
          </a:stretch>
        </p:blipFill>
        <p:spPr>
          <a:xfrm>
            <a:off x="1506037" y="3943350"/>
            <a:ext cx="725105" cy="678180"/>
          </a:xfrm>
          <a:prstGeom prst="rect">
            <a:avLst/>
          </a:prstGeom>
        </p:spPr>
      </p:pic>
      <p:sp>
        <p:nvSpPr>
          <p:cNvPr id="15" name="btfpRowHeaderBoxText719952">
            <a:extLst>
              <a:ext uri="{FF2B5EF4-FFF2-40B4-BE49-F238E27FC236}">
                <a16:creationId xmlns:a16="http://schemas.microsoft.com/office/drawing/2014/main" id="{49E6EFC5-A670-4D45-973B-30D50FDF8810}"/>
              </a:ext>
            </a:extLst>
          </p:cNvPr>
          <p:cNvSpPr txBox="1"/>
          <p:nvPr/>
        </p:nvSpPr>
        <p:spPr bwMode="gray">
          <a:xfrm>
            <a:off x="1023035" y="3712846"/>
            <a:ext cx="1215989" cy="386716"/>
          </a:xfrm>
          <a:prstGeom prst="rect">
            <a:avLst/>
          </a:prstGeom>
          <a:noFill/>
        </p:spPr>
        <p:txBody>
          <a:bodyPr vert="horz" wrap="square" lIns="43243" tIns="43243" rIns="216217" bIns="43243" rtlCol="0" anchor="t">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defTabSz="853440">
              <a:spcBef>
                <a:spcPts val="0"/>
              </a:spcBef>
              <a:buNone/>
              <a:defRPr/>
            </a:pPr>
            <a:r>
              <a:rPr lang="en-US" sz="1320" b="1">
                <a:solidFill>
                  <a:srgbClr val="1F6898"/>
                </a:solidFill>
                <a:latin typeface="+mj-lt"/>
              </a:rPr>
              <a:t>How to win</a:t>
            </a:r>
          </a:p>
        </p:txBody>
      </p:sp>
      <p:cxnSp>
        <p:nvCxnSpPr>
          <p:cNvPr id="16" name="btfpRowHeaderBoxLine719952">
            <a:extLst>
              <a:ext uri="{FF2B5EF4-FFF2-40B4-BE49-F238E27FC236}">
                <a16:creationId xmlns:a16="http://schemas.microsoft.com/office/drawing/2014/main" id="{2A0A9760-530E-383C-EE97-08AEACD32C32}"/>
              </a:ext>
            </a:extLst>
          </p:cNvPr>
          <p:cNvCxnSpPr>
            <a:cxnSpLocks/>
          </p:cNvCxnSpPr>
          <p:nvPr/>
        </p:nvCxnSpPr>
        <p:spPr bwMode="gray">
          <a:xfrm>
            <a:off x="2272942" y="3695700"/>
            <a:ext cx="0" cy="1097280"/>
          </a:xfrm>
          <a:prstGeom prst="line">
            <a:avLst/>
          </a:prstGeom>
          <a:ln w="15240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ADC2CCE5-3BDF-217C-5735-4A06927E5685}"/>
              </a:ext>
            </a:extLst>
          </p:cNvPr>
          <p:cNvGrpSpPr/>
          <p:nvPr/>
        </p:nvGrpSpPr>
        <p:grpSpPr>
          <a:xfrm>
            <a:off x="1420269" y="1712596"/>
            <a:ext cx="622691" cy="518160"/>
            <a:chOff x="6991778" y="1738406"/>
            <a:chExt cx="649609" cy="620714"/>
          </a:xfrm>
        </p:grpSpPr>
        <p:grpSp>
          <p:nvGrpSpPr>
            <p:cNvPr id="18" name="Group 17">
              <a:extLst>
                <a:ext uri="{FF2B5EF4-FFF2-40B4-BE49-F238E27FC236}">
                  <a16:creationId xmlns:a16="http://schemas.microsoft.com/office/drawing/2014/main" id="{89045AF0-F10A-219A-4D1A-D8FB72CB9B3B}"/>
                </a:ext>
              </a:extLst>
            </p:cNvPr>
            <p:cNvGrpSpPr/>
            <p:nvPr/>
          </p:nvGrpSpPr>
          <p:grpSpPr>
            <a:xfrm>
              <a:off x="6991778" y="1738406"/>
              <a:ext cx="649609" cy="620714"/>
              <a:chOff x="400050" y="3279151"/>
              <a:chExt cx="649609" cy="620714"/>
            </a:xfrm>
          </p:grpSpPr>
          <p:sp>
            <p:nvSpPr>
              <p:cNvPr id="20" name="Freeform 84">
                <a:extLst>
                  <a:ext uri="{FF2B5EF4-FFF2-40B4-BE49-F238E27FC236}">
                    <a16:creationId xmlns:a16="http://schemas.microsoft.com/office/drawing/2014/main" id="{A57B4002-2AC7-2F5D-B299-E5413EB621C3}"/>
                  </a:ext>
                </a:extLst>
              </p:cNvPr>
              <p:cNvSpPr/>
              <p:nvPr/>
            </p:nvSpPr>
            <p:spPr bwMode="gray">
              <a:xfrm>
                <a:off x="654757" y="3287177"/>
                <a:ext cx="72238" cy="75449"/>
              </a:xfrm>
              <a:custGeom>
                <a:avLst/>
                <a:gdLst>
                  <a:gd name="connsiteX0" fmla="*/ 0 w 214313"/>
                  <a:gd name="connsiteY0" fmla="*/ 0 h 223838"/>
                  <a:gd name="connsiteX1" fmla="*/ 214313 w 214313"/>
                  <a:gd name="connsiteY1" fmla="*/ 104775 h 223838"/>
                  <a:gd name="connsiteX2" fmla="*/ 19050 w 214313"/>
                  <a:gd name="connsiteY2" fmla="*/ 223838 h 223838"/>
                  <a:gd name="connsiteX3" fmla="*/ 0 w 214313"/>
                  <a:gd name="connsiteY3" fmla="*/ 0 h 223838"/>
                </a:gdLst>
                <a:ahLst/>
                <a:cxnLst>
                  <a:cxn ang="0">
                    <a:pos x="connsiteX0" y="connsiteY0"/>
                  </a:cxn>
                  <a:cxn ang="0">
                    <a:pos x="connsiteX1" y="connsiteY1"/>
                  </a:cxn>
                  <a:cxn ang="0">
                    <a:pos x="connsiteX2" y="connsiteY2"/>
                  </a:cxn>
                  <a:cxn ang="0">
                    <a:pos x="connsiteX3" y="connsiteY3"/>
                  </a:cxn>
                </a:cxnLst>
                <a:rect l="l" t="t" r="r" b="b"/>
                <a:pathLst>
                  <a:path w="214313" h="223838">
                    <a:moveTo>
                      <a:pt x="0" y="0"/>
                    </a:moveTo>
                    <a:lnTo>
                      <a:pt x="214313" y="104775"/>
                    </a:lnTo>
                    <a:lnTo>
                      <a:pt x="19050" y="223838"/>
                    </a:lnTo>
                    <a:lnTo>
                      <a:pt x="0" y="0"/>
                    </a:lnTo>
                    <a:close/>
                  </a:path>
                </a:pathLst>
              </a:custGeom>
              <a:solidFill>
                <a:srgbClr val="46647B"/>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3200" tIns="43200" rIns="43200" bIns="432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lgn="ctr" defTabSz="853440">
                  <a:spcBef>
                    <a:spcPts val="1440"/>
                  </a:spcBef>
                  <a:buNone/>
                  <a:defRPr/>
                </a:pPr>
                <a:endParaRPr lang="en-US" sz="1440">
                  <a:solidFill>
                    <a:srgbClr val="FFFFFF"/>
                  </a:solidFill>
                  <a:latin typeface="+mj-lt"/>
                </a:endParaRPr>
              </a:p>
            </p:txBody>
          </p:sp>
          <p:sp>
            <p:nvSpPr>
              <p:cNvPr id="21" name="Freeform 17">
                <a:extLst>
                  <a:ext uri="{FF2B5EF4-FFF2-40B4-BE49-F238E27FC236}">
                    <a16:creationId xmlns:a16="http://schemas.microsoft.com/office/drawing/2014/main" id="{9A038344-1A15-DFDD-10FD-236757795312}"/>
                  </a:ext>
                </a:extLst>
              </p:cNvPr>
              <p:cNvSpPr>
                <a:spLocks/>
              </p:cNvSpPr>
              <p:nvPr/>
            </p:nvSpPr>
            <p:spPr bwMode="auto">
              <a:xfrm>
                <a:off x="644590" y="3288783"/>
                <a:ext cx="17123" cy="156249"/>
              </a:xfrm>
              <a:custGeom>
                <a:avLst/>
                <a:gdLst>
                  <a:gd name="T0" fmla="*/ 8 w 16"/>
                  <a:gd name="T1" fmla="*/ 146 h 146"/>
                  <a:gd name="T2" fmla="*/ 0 w 16"/>
                  <a:gd name="T3" fmla="*/ 138 h 146"/>
                  <a:gd name="T4" fmla="*/ 0 w 16"/>
                  <a:gd name="T5" fmla="*/ 8 h 146"/>
                  <a:gd name="T6" fmla="*/ 8 w 16"/>
                  <a:gd name="T7" fmla="*/ 0 h 146"/>
                  <a:gd name="T8" fmla="*/ 16 w 16"/>
                  <a:gd name="T9" fmla="*/ 8 h 146"/>
                  <a:gd name="T10" fmla="*/ 16 w 16"/>
                  <a:gd name="T11" fmla="*/ 138 h 146"/>
                  <a:gd name="T12" fmla="*/ 8 w 16"/>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16" h="146">
                    <a:moveTo>
                      <a:pt x="8" y="146"/>
                    </a:moveTo>
                    <a:cubicBezTo>
                      <a:pt x="4" y="146"/>
                      <a:pt x="0" y="143"/>
                      <a:pt x="0" y="138"/>
                    </a:cubicBezTo>
                    <a:cubicBezTo>
                      <a:pt x="0" y="8"/>
                      <a:pt x="0" y="8"/>
                      <a:pt x="0" y="8"/>
                    </a:cubicBezTo>
                    <a:cubicBezTo>
                      <a:pt x="0" y="4"/>
                      <a:pt x="4" y="0"/>
                      <a:pt x="8" y="0"/>
                    </a:cubicBezTo>
                    <a:cubicBezTo>
                      <a:pt x="13" y="0"/>
                      <a:pt x="16" y="4"/>
                      <a:pt x="16" y="8"/>
                    </a:cubicBezTo>
                    <a:cubicBezTo>
                      <a:pt x="16" y="138"/>
                      <a:pt x="16" y="138"/>
                      <a:pt x="16" y="138"/>
                    </a:cubicBezTo>
                    <a:cubicBezTo>
                      <a:pt x="16" y="143"/>
                      <a:pt x="13" y="146"/>
                      <a:pt x="8" y="14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213360" indent="-213360" defTabSz="853440">
                  <a:spcBef>
                    <a:spcPts val="1440"/>
                  </a:spcBef>
                  <a:defRPr/>
                </a:pPr>
                <a:endParaRPr lang="en-US" sz="1440">
                  <a:solidFill>
                    <a:srgbClr val="FFFFFF"/>
                  </a:solidFill>
                  <a:latin typeface="+mj-lt"/>
                </a:endParaRPr>
              </a:p>
            </p:txBody>
          </p:sp>
          <p:sp>
            <p:nvSpPr>
              <p:cNvPr id="22" name="Freeform 18">
                <a:extLst>
                  <a:ext uri="{FF2B5EF4-FFF2-40B4-BE49-F238E27FC236}">
                    <a16:creationId xmlns:a16="http://schemas.microsoft.com/office/drawing/2014/main" id="{9C21ECBF-F784-E34D-64E0-A9703AAC997B}"/>
                  </a:ext>
                </a:extLst>
              </p:cNvPr>
              <p:cNvSpPr>
                <a:spLocks noEditPoints="1"/>
              </p:cNvSpPr>
              <p:nvPr/>
            </p:nvSpPr>
            <p:spPr bwMode="auto">
              <a:xfrm>
                <a:off x="644590" y="3279151"/>
                <a:ext cx="103809" cy="95247"/>
              </a:xfrm>
              <a:custGeom>
                <a:avLst/>
                <a:gdLst>
                  <a:gd name="T0" fmla="*/ 8 w 97"/>
                  <a:gd name="T1" fmla="*/ 89 h 89"/>
                  <a:gd name="T2" fmla="*/ 4 w 97"/>
                  <a:gd name="T3" fmla="*/ 88 h 89"/>
                  <a:gd name="T4" fmla="*/ 0 w 97"/>
                  <a:gd name="T5" fmla="*/ 81 h 89"/>
                  <a:gd name="T6" fmla="*/ 0 w 97"/>
                  <a:gd name="T7" fmla="*/ 9 h 89"/>
                  <a:gd name="T8" fmla="*/ 4 w 97"/>
                  <a:gd name="T9" fmla="*/ 2 h 89"/>
                  <a:gd name="T10" fmla="*/ 11 w 97"/>
                  <a:gd name="T11" fmla="*/ 1 h 89"/>
                  <a:gd name="T12" fmla="*/ 92 w 97"/>
                  <a:gd name="T13" fmla="*/ 37 h 89"/>
                  <a:gd name="T14" fmla="*/ 97 w 97"/>
                  <a:gd name="T15" fmla="*/ 44 h 89"/>
                  <a:gd name="T16" fmla="*/ 92 w 97"/>
                  <a:gd name="T17" fmla="*/ 51 h 89"/>
                  <a:gd name="T18" fmla="*/ 12 w 97"/>
                  <a:gd name="T19" fmla="*/ 88 h 89"/>
                  <a:gd name="T20" fmla="*/ 8 w 97"/>
                  <a:gd name="T21" fmla="*/ 89 h 89"/>
                  <a:gd name="T22" fmla="*/ 16 w 97"/>
                  <a:gd name="T23" fmla="*/ 21 h 89"/>
                  <a:gd name="T24" fmla="*/ 16 w 97"/>
                  <a:gd name="T25" fmla="*/ 69 h 89"/>
                  <a:gd name="T26" fmla="*/ 69 w 97"/>
                  <a:gd name="T27" fmla="*/ 44 h 89"/>
                  <a:gd name="T28" fmla="*/ 16 w 97"/>
                  <a:gd name="T29" fmla="*/ 2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89">
                    <a:moveTo>
                      <a:pt x="8" y="89"/>
                    </a:moveTo>
                    <a:cubicBezTo>
                      <a:pt x="7" y="89"/>
                      <a:pt x="5" y="89"/>
                      <a:pt x="4" y="88"/>
                    </a:cubicBezTo>
                    <a:cubicBezTo>
                      <a:pt x="2" y="86"/>
                      <a:pt x="0" y="84"/>
                      <a:pt x="0" y="81"/>
                    </a:cubicBezTo>
                    <a:cubicBezTo>
                      <a:pt x="0" y="9"/>
                      <a:pt x="0" y="9"/>
                      <a:pt x="0" y="9"/>
                    </a:cubicBezTo>
                    <a:cubicBezTo>
                      <a:pt x="0" y="6"/>
                      <a:pt x="2" y="3"/>
                      <a:pt x="4" y="2"/>
                    </a:cubicBezTo>
                    <a:cubicBezTo>
                      <a:pt x="6" y="0"/>
                      <a:pt x="9" y="0"/>
                      <a:pt x="11" y="1"/>
                    </a:cubicBezTo>
                    <a:cubicBezTo>
                      <a:pt x="92" y="37"/>
                      <a:pt x="92" y="37"/>
                      <a:pt x="92" y="37"/>
                    </a:cubicBezTo>
                    <a:cubicBezTo>
                      <a:pt x="95" y="38"/>
                      <a:pt x="97" y="41"/>
                      <a:pt x="97" y="44"/>
                    </a:cubicBezTo>
                    <a:cubicBezTo>
                      <a:pt x="97" y="47"/>
                      <a:pt x="95" y="50"/>
                      <a:pt x="92" y="51"/>
                    </a:cubicBezTo>
                    <a:cubicBezTo>
                      <a:pt x="12" y="88"/>
                      <a:pt x="12" y="88"/>
                      <a:pt x="12" y="88"/>
                    </a:cubicBezTo>
                    <a:cubicBezTo>
                      <a:pt x="11" y="89"/>
                      <a:pt x="9" y="89"/>
                      <a:pt x="8" y="89"/>
                    </a:cubicBezTo>
                    <a:close/>
                    <a:moveTo>
                      <a:pt x="16" y="21"/>
                    </a:moveTo>
                    <a:cubicBezTo>
                      <a:pt x="16" y="69"/>
                      <a:pt x="16" y="69"/>
                      <a:pt x="16" y="69"/>
                    </a:cubicBezTo>
                    <a:cubicBezTo>
                      <a:pt x="69" y="44"/>
                      <a:pt x="69" y="44"/>
                      <a:pt x="69" y="44"/>
                    </a:cubicBezTo>
                    <a:lnTo>
                      <a:pt x="16"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213360" indent="-213360" defTabSz="853440">
                  <a:spcBef>
                    <a:spcPts val="1440"/>
                  </a:spcBef>
                  <a:defRPr/>
                </a:pPr>
                <a:endParaRPr lang="en-US" sz="1440">
                  <a:solidFill>
                    <a:srgbClr val="FFFFFF"/>
                  </a:solidFill>
                  <a:latin typeface="+mj-lt"/>
                </a:endParaRPr>
              </a:p>
            </p:txBody>
          </p:sp>
          <p:sp>
            <p:nvSpPr>
              <p:cNvPr id="23" name="Freeform 19">
                <a:extLst>
                  <a:ext uri="{FF2B5EF4-FFF2-40B4-BE49-F238E27FC236}">
                    <a16:creationId xmlns:a16="http://schemas.microsoft.com/office/drawing/2014/main" id="{8982B762-0755-4001-AF43-EDF08C15224F}"/>
                  </a:ext>
                </a:extLst>
              </p:cNvPr>
              <p:cNvSpPr>
                <a:spLocks/>
              </p:cNvSpPr>
              <p:nvPr/>
            </p:nvSpPr>
            <p:spPr bwMode="auto">
              <a:xfrm>
                <a:off x="801908" y="3588973"/>
                <a:ext cx="247751" cy="310892"/>
              </a:xfrm>
              <a:custGeom>
                <a:avLst/>
                <a:gdLst>
                  <a:gd name="T0" fmla="*/ 223 w 232"/>
                  <a:gd name="T1" fmla="*/ 291 h 291"/>
                  <a:gd name="T2" fmla="*/ 216 w 232"/>
                  <a:gd name="T3" fmla="*/ 286 h 291"/>
                  <a:gd name="T4" fmla="*/ 72 w 232"/>
                  <a:gd name="T5" fmla="*/ 18 h 291"/>
                  <a:gd name="T6" fmla="*/ 68 w 232"/>
                  <a:gd name="T7" fmla="*/ 16 h 291"/>
                  <a:gd name="T8" fmla="*/ 65 w 232"/>
                  <a:gd name="T9" fmla="*/ 18 h 291"/>
                  <a:gd name="T10" fmla="*/ 16 w 232"/>
                  <a:gd name="T11" fmla="*/ 108 h 291"/>
                  <a:gd name="T12" fmla="*/ 6 w 232"/>
                  <a:gd name="T13" fmla="*/ 111 h 291"/>
                  <a:gd name="T14" fmla="*/ 2 w 232"/>
                  <a:gd name="T15" fmla="*/ 100 h 291"/>
                  <a:gd name="T16" fmla="*/ 51 w 232"/>
                  <a:gd name="T17" fmla="*/ 10 h 291"/>
                  <a:gd name="T18" fmla="*/ 68 w 232"/>
                  <a:gd name="T19" fmla="*/ 0 h 291"/>
                  <a:gd name="T20" fmla="*/ 68 w 232"/>
                  <a:gd name="T21" fmla="*/ 0 h 291"/>
                  <a:gd name="T22" fmla="*/ 86 w 232"/>
                  <a:gd name="T23" fmla="*/ 11 h 291"/>
                  <a:gd name="T24" fmla="*/ 230 w 232"/>
                  <a:gd name="T25" fmla="*/ 279 h 291"/>
                  <a:gd name="T26" fmla="*/ 227 w 232"/>
                  <a:gd name="T27" fmla="*/ 290 h 291"/>
                  <a:gd name="T28" fmla="*/ 223 w 232"/>
                  <a:gd name="T29"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2" h="291">
                    <a:moveTo>
                      <a:pt x="223" y="291"/>
                    </a:moveTo>
                    <a:cubicBezTo>
                      <a:pt x="220" y="291"/>
                      <a:pt x="218" y="289"/>
                      <a:pt x="216" y="286"/>
                    </a:cubicBezTo>
                    <a:cubicBezTo>
                      <a:pt x="72" y="18"/>
                      <a:pt x="72" y="18"/>
                      <a:pt x="72" y="18"/>
                    </a:cubicBezTo>
                    <a:cubicBezTo>
                      <a:pt x="71" y="16"/>
                      <a:pt x="69" y="16"/>
                      <a:pt x="68" y="16"/>
                    </a:cubicBezTo>
                    <a:cubicBezTo>
                      <a:pt x="68" y="16"/>
                      <a:pt x="66" y="16"/>
                      <a:pt x="65" y="18"/>
                    </a:cubicBezTo>
                    <a:cubicBezTo>
                      <a:pt x="16" y="108"/>
                      <a:pt x="16" y="108"/>
                      <a:pt x="16" y="108"/>
                    </a:cubicBezTo>
                    <a:cubicBezTo>
                      <a:pt x="14" y="111"/>
                      <a:pt x="9" y="113"/>
                      <a:pt x="6" y="111"/>
                    </a:cubicBezTo>
                    <a:cubicBezTo>
                      <a:pt x="2" y="109"/>
                      <a:pt x="0" y="104"/>
                      <a:pt x="2" y="100"/>
                    </a:cubicBezTo>
                    <a:cubicBezTo>
                      <a:pt x="51" y="10"/>
                      <a:pt x="51" y="10"/>
                      <a:pt x="51" y="10"/>
                    </a:cubicBezTo>
                    <a:cubicBezTo>
                      <a:pt x="55" y="4"/>
                      <a:pt x="61" y="0"/>
                      <a:pt x="68" y="0"/>
                    </a:cubicBezTo>
                    <a:cubicBezTo>
                      <a:pt x="68" y="0"/>
                      <a:pt x="68" y="0"/>
                      <a:pt x="68" y="0"/>
                    </a:cubicBezTo>
                    <a:cubicBezTo>
                      <a:pt x="76" y="0"/>
                      <a:pt x="82" y="4"/>
                      <a:pt x="86" y="11"/>
                    </a:cubicBezTo>
                    <a:cubicBezTo>
                      <a:pt x="230" y="279"/>
                      <a:pt x="230" y="279"/>
                      <a:pt x="230" y="279"/>
                    </a:cubicBezTo>
                    <a:cubicBezTo>
                      <a:pt x="232" y="283"/>
                      <a:pt x="231" y="288"/>
                      <a:pt x="227" y="290"/>
                    </a:cubicBezTo>
                    <a:cubicBezTo>
                      <a:pt x="226" y="290"/>
                      <a:pt x="225" y="291"/>
                      <a:pt x="223" y="2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213360" indent="-213360" defTabSz="853440">
                  <a:spcBef>
                    <a:spcPts val="1440"/>
                  </a:spcBef>
                  <a:defRPr/>
                </a:pPr>
                <a:endParaRPr lang="en-US" sz="1440">
                  <a:solidFill>
                    <a:srgbClr val="FFFFFF"/>
                  </a:solidFill>
                  <a:latin typeface="+mj-lt"/>
                </a:endParaRPr>
              </a:p>
            </p:txBody>
          </p:sp>
          <p:sp>
            <p:nvSpPr>
              <p:cNvPr id="24" name="Freeform 20">
                <a:extLst>
                  <a:ext uri="{FF2B5EF4-FFF2-40B4-BE49-F238E27FC236}">
                    <a16:creationId xmlns:a16="http://schemas.microsoft.com/office/drawing/2014/main" id="{70030AA6-6ADB-C276-E5FA-1F34B823B2F7}"/>
                  </a:ext>
                </a:extLst>
              </p:cNvPr>
              <p:cNvSpPr>
                <a:spLocks/>
              </p:cNvSpPr>
              <p:nvPr/>
            </p:nvSpPr>
            <p:spPr bwMode="auto">
              <a:xfrm>
                <a:off x="411822" y="3427908"/>
                <a:ext cx="485869" cy="422727"/>
              </a:xfrm>
              <a:custGeom>
                <a:avLst/>
                <a:gdLst>
                  <a:gd name="T0" fmla="*/ 446 w 455"/>
                  <a:gd name="T1" fmla="*/ 396 h 396"/>
                  <a:gd name="T2" fmla="*/ 439 w 455"/>
                  <a:gd name="T3" fmla="*/ 392 h 396"/>
                  <a:gd name="T4" fmla="*/ 240 w 455"/>
                  <a:gd name="T5" fmla="*/ 24 h 396"/>
                  <a:gd name="T6" fmla="*/ 228 w 455"/>
                  <a:gd name="T7" fmla="*/ 16 h 396"/>
                  <a:gd name="T8" fmla="*/ 228 w 455"/>
                  <a:gd name="T9" fmla="*/ 16 h 396"/>
                  <a:gd name="T10" fmla="*/ 216 w 455"/>
                  <a:gd name="T11" fmla="*/ 24 h 396"/>
                  <a:gd name="T12" fmla="*/ 16 w 455"/>
                  <a:gd name="T13" fmla="*/ 390 h 396"/>
                  <a:gd name="T14" fmla="*/ 5 w 455"/>
                  <a:gd name="T15" fmla="*/ 393 h 396"/>
                  <a:gd name="T16" fmla="*/ 2 w 455"/>
                  <a:gd name="T17" fmla="*/ 383 h 396"/>
                  <a:gd name="T18" fmla="*/ 18 w 455"/>
                  <a:gd name="T19" fmla="*/ 354 h 396"/>
                  <a:gd name="T20" fmla="*/ 202 w 455"/>
                  <a:gd name="T21" fmla="*/ 16 h 396"/>
                  <a:gd name="T22" fmla="*/ 228 w 455"/>
                  <a:gd name="T23" fmla="*/ 0 h 396"/>
                  <a:gd name="T24" fmla="*/ 228 w 455"/>
                  <a:gd name="T25" fmla="*/ 0 h 396"/>
                  <a:gd name="T26" fmla="*/ 254 w 455"/>
                  <a:gd name="T27" fmla="*/ 16 h 396"/>
                  <a:gd name="T28" fmla="*/ 256 w 455"/>
                  <a:gd name="T29" fmla="*/ 19 h 396"/>
                  <a:gd name="T30" fmla="*/ 453 w 455"/>
                  <a:gd name="T31" fmla="*/ 384 h 396"/>
                  <a:gd name="T32" fmla="*/ 450 w 455"/>
                  <a:gd name="T33" fmla="*/ 395 h 396"/>
                  <a:gd name="T34" fmla="*/ 446 w 455"/>
                  <a:gd name="T35"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5" h="396">
                    <a:moveTo>
                      <a:pt x="446" y="396"/>
                    </a:moveTo>
                    <a:cubicBezTo>
                      <a:pt x="443" y="396"/>
                      <a:pt x="441" y="394"/>
                      <a:pt x="439" y="392"/>
                    </a:cubicBezTo>
                    <a:cubicBezTo>
                      <a:pt x="240" y="24"/>
                      <a:pt x="240" y="24"/>
                      <a:pt x="240" y="24"/>
                    </a:cubicBezTo>
                    <a:cubicBezTo>
                      <a:pt x="238" y="19"/>
                      <a:pt x="233" y="16"/>
                      <a:pt x="228" y="16"/>
                    </a:cubicBezTo>
                    <a:cubicBezTo>
                      <a:pt x="228" y="16"/>
                      <a:pt x="228" y="16"/>
                      <a:pt x="228" y="16"/>
                    </a:cubicBezTo>
                    <a:cubicBezTo>
                      <a:pt x="223" y="16"/>
                      <a:pt x="218" y="19"/>
                      <a:pt x="216" y="24"/>
                    </a:cubicBezTo>
                    <a:cubicBezTo>
                      <a:pt x="16" y="390"/>
                      <a:pt x="16" y="390"/>
                      <a:pt x="16" y="390"/>
                    </a:cubicBezTo>
                    <a:cubicBezTo>
                      <a:pt x="14" y="394"/>
                      <a:pt x="9" y="395"/>
                      <a:pt x="5" y="393"/>
                    </a:cubicBezTo>
                    <a:cubicBezTo>
                      <a:pt x="1" y="391"/>
                      <a:pt x="0" y="386"/>
                      <a:pt x="2" y="383"/>
                    </a:cubicBezTo>
                    <a:cubicBezTo>
                      <a:pt x="18" y="354"/>
                      <a:pt x="18" y="354"/>
                      <a:pt x="18" y="354"/>
                    </a:cubicBezTo>
                    <a:cubicBezTo>
                      <a:pt x="202" y="16"/>
                      <a:pt x="202" y="16"/>
                      <a:pt x="202" y="16"/>
                    </a:cubicBezTo>
                    <a:cubicBezTo>
                      <a:pt x="207" y="6"/>
                      <a:pt x="217" y="0"/>
                      <a:pt x="228" y="0"/>
                    </a:cubicBezTo>
                    <a:cubicBezTo>
                      <a:pt x="228" y="0"/>
                      <a:pt x="228" y="0"/>
                      <a:pt x="228" y="0"/>
                    </a:cubicBezTo>
                    <a:cubicBezTo>
                      <a:pt x="239" y="0"/>
                      <a:pt x="249" y="6"/>
                      <a:pt x="254" y="16"/>
                    </a:cubicBezTo>
                    <a:cubicBezTo>
                      <a:pt x="256" y="19"/>
                      <a:pt x="256" y="19"/>
                      <a:pt x="256" y="19"/>
                    </a:cubicBezTo>
                    <a:cubicBezTo>
                      <a:pt x="453" y="384"/>
                      <a:pt x="453" y="384"/>
                      <a:pt x="453" y="384"/>
                    </a:cubicBezTo>
                    <a:cubicBezTo>
                      <a:pt x="455" y="388"/>
                      <a:pt x="454" y="393"/>
                      <a:pt x="450" y="395"/>
                    </a:cubicBezTo>
                    <a:cubicBezTo>
                      <a:pt x="449" y="395"/>
                      <a:pt x="447" y="396"/>
                      <a:pt x="446" y="3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213360" indent="-213360" defTabSz="853440">
                  <a:spcBef>
                    <a:spcPts val="1440"/>
                  </a:spcBef>
                  <a:defRPr/>
                </a:pPr>
                <a:endParaRPr lang="en-US" sz="1440">
                  <a:solidFill>
                    <a:srgbClr val="FFFFFF"/>
                  </a:solidFill>
                  <a:latin typeface="+mj-lt"/>
                </a:endParaRPr>
              </a:p>
            </p:txBody>
          </p:sp>
          <p:sp>
            <p:nvSpPr>
              <p:cNvPr id="25" name="Freeform 21">
                <a:extLst>
                  <a:ext uri="{FF2B5EF4-FFF2-40B4-BE49-F238E27FC236}">
                    <a16:creationId xmlns:a16="http://schemas.microsoft.com/office/drawing/2014/main" id="{10F0A9B9-3F46-B029-ABCC-19B42E760963}"/>
                  </a:ext>
                </a:extLst>
              </p:cNvPr>
              <p:cNvSpPr>
                <a:spLocks noEditPoints="1"/>
              </p:cNvSpPr>
              <p:nvPr/>
            </p:nvSpPr>
            <p:spPr bwMode="auto">
              <a:xfrm>
                <a:off x="648870" y="3485164"/>
                <a:ext cx="77054" cy="368683"/>
              </a:xfrm>
              <a:custGeom>
                <a:avLst/>
                <a:gdLst>
                  <a:gd name="T0" fmla="*/ 63 w 72"/>
                  <a:gd name="T1" fmla="*/ 345 h 345"/>
                  <a:gd name="T2" fmla="*/ 55 w 72"/>
                  <a:gd name="T3" fmla="*/ 338 h 345"/>
                  <a:gd name="T4" fmla="*/ 53 w 72"/>
                  <a:gd name="T5" fmla="*/ 323 h 345"/>
                  <a:gd name="T6" fmla="*/ 59 w 72"/>
                  <a:gd name="T7" fmla="*/ 314 h 345"/>
                  <a:gd name="T8" fmla="*/ 68 w 72"/>
                  <a:gd name="T9" fmla="*/ 320 h 345"/>
                  <a:gd name="T10" fmla="*/ 71 w 72"/>
                  <a:gd name="T11" fmla="*/ 336 h 345"/>
                  <a:gd name="T12" fmla="*/ 64 w 72"/>
                  <a:gd name="T13" fmla="*/ 345 h 345"/>
                  <a:gd name="T14" fmla="*/ 63 w 72"/>
                  <a:gd name="T15" fmla="*/ 345 h 345"/>
                  <a:gd name="T16" fmla="*/ 53 w 72"/>
                  <a:gd name="T17" fmla="*/ 282 h 345"/>
                  <a:gd name="T18" fmla="*/ 45 w 72"/>
                  <a:gd name="T19" fmla="*/ 276 h 345"/>
                  <a:gd name="T20" fmla="*/ 42 w 72"/>
                  <a:gd name="T21" fmla="*/ 260 h 345"/>
                  <a:gd name="T22" fmla="*/ 49 w 72"/>
                  <a:gd name="T23" fmla="*/ 251 h 345"/>
                  <a:gd name="T24" fmla="*/ 58 w 72"/>
                  <a:gd name="T25" fmla="*/ 258 h 345"/>
                  <a:gd name="T26" fmla="*/ 61 w 72"/>
                  <a:gd name="T27" fmla="*/ 273 h 345"/>
                  <a:gd name="T28" fmla="*/ 54 w 72"/>
                  <a:gd name="T29" fmla="*/ 282 h 345"/>
                  <a:gd name="T30" fmla="*/ 53 w 72"/>
                  <a:gd name="T31" fmla="*/ 282 h 345"/>
                  <a:gd name="T32" fmla="*/ 42 w 72"/>
                  <a:gd name="T33" fmla="*/ 220 h 345"/>
                  <a:gd name="T34" fmla="*/ 34 w 72"/>
                  <a:gd name="T35" fmla="*/ 213 h 345"/>
                  <a:gd name="T36" fmla="*/ 32 w 72"/>
                  <a:gd name="T37" fmla="*/ 198 h 345"/>
                  <a:gd name="T38" fmla="*/ 38 w 72"/>
                  <a:gd name="T39" fmla="*/ 189 h 345"/>
                  <a:gd name="T40" fmla="*/ 48 w 72"/>
                  <a:gd name="T41" fmla="*/ 195 h 345"/>
                  <a:gd name="T42" fmla="*/ 50 w 72"/>
                  <a:gd name="T43" fmla="*/ 211 h 345"/>
                  <a:gd name="T44" fmla="*/ 44 w 72"/>
                  <a:gd name="T45" fmla="*/ 220 h 345"/>
                  <a:gd name="T46" fmla="*/ 42 w 72"/>
                  <a:gd name="T47" fmla="*/ 220 h 345"/>
                  <a:gd name="T48" fmla="*/ 32 w 72"/>
                  <a:gd name="T49" fmla="*/ 157 h 345"/>
                  <a:gd name="T50" fmla="*/ 24 w 72"/>
                  <a:gd name="T51" fmla="*/ 151 h 345"/>
                  <a:gd name="T52" fmla="*/ 21 w 72"/>
                  <a:gd name="T53" fmla="*/ 135 h 345"/>
                  <a:gd name="T54" fmla="*/ 28 w 72"/>
                  <a:gd name="T55" fmla="*/ 126 h 345"/>
                  <a:gd name="T56" fmla="*/ 37 w 72"/>
                  <a:gd name="T57" fmla="*/ 132 h 345"/>
                  <a:gd name="T58" fmla="*/ 40 w 72"/>
                  <a:gd name="T59" fmla="*/ 148 h 345"/>
                  <a:gd name="T60" fmla="*/ 33 w 72"/>
                  <a:gd name="T61" fmla="*/ 157 h 345"/>
                  <a:gd name="T62" fmla="*/ 32 w 72"/>
                  <a:gd name="T63" fmla="*/ 157 h 345"/>
                  <a:gd name="T64" fmla="*/ 21 w 72"/>
                  <a:gd name="T65" fmla="*/ 95 h 345"/>
                  <a:gd name="T66" fmla="*/ 14 w 72"/>
                  <a:gd name="T67" fmla="*/ 88 h 345"/>
                  <a:gd name="T68" fmla="*/ 11 w 72"/>
                  <a:gd name="T69" fmla="*/ 73 h 345"/>
                  <a:gd name="T70" fmla="*/ 17 w 72"/>
                  <a:gd name="T71" fmla="*/ 63 h 345"/>
                  <a:gd name="T72" fmla="*/ 27 w 72"/>
                  <a:gd name="T73" fmla="*/ 70 h 345"/>
                  <a:gd name="T74" fmla="*/ 29 w 72"/>
                  <a:gd name="T75" fmla="*/ 86 h 345"/>
                  <a:gd name="T76" fmla="*/ 23 w 72"/>
                  <a:gd name="T77" fmla="*/ 95 h 345"/>
                  <a:gd name="T78" fmla="*/ 21 w 72"/>
                  <a:gd name="T79" fmla="*/ 95 h 345"/>
                  <a:gd name="T80" fmla="*/ 11 w 72"/>
                  <a:gd name="T81" fmla="*/ 32 h 345"/>
                  <a:gd name="T82" fmla="*/ 3 w 72"/>
                  <a:gd name="T83" fmla="*/ 26 h 345"/>
                  <a:gd name="T84" fmla="*/ 1 w 72"/>
                  <a:gd name="T85" fmla="*/ 10 h 345"/>
                  <a:gd name="T86" fmla="*/ 7 w 72"/>
                  <a:gd name="T87" fmla="*/ 1 h 345"/>
                  <a:gd name="T88" fmla="*/ 16 w 72"/>
                  <a:gd name="T89" fmla="*/ 7 h 345"/>
                  <a:gd name="T90" fmla="*/ 19 w 72"/>
                  <a:gd name="T91" fmla="*/ 23 h 345"/>
                  <a:gd name="T92" fmla="*/ 12 w 72"/>
                  <a:gd name="T93" fmla="*/ 32 h 345"/>
                  <a:gd name="T94" fmla="*/ 11 w 72"/>
                  <a:gd name="T95" fmla="*/ 3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345">
                    <a:moveTo>
                      <a:pt x="63" y="345"/>
                    </a:moveTo>
                    <a:cubicBezTo>
                      <a:pt x="59" y="345"/>
                      <a:pt x="56" y="342"/>
                      <a:pt x="55" y="338"/>
                    </a:cubicBezTo>
                    <a:cubicBezTo>
                      <a:pt x="53" y="323"/>
                      <a:pt x="53" y="323"/>
                      <a:pt x="53" y="323"/>
                    </a:cubicBezTo>
                    <a:cubicBezTo>
                      <a:pt x="52" y="318"/>
                      <a:pt x="55" y="314"/>
                      <a:pt x="59" y="314"/>
                    </a:cubicBezTo>
                    <a:cubicBezTo>
                      <a:pt x="64" y="313"/>
                      <a:pt x="68" y="316"/>
                      <a:pt x="68" y="320"/>
                    </a:cubicBezTo>
                    <a:cubicBezTo>
                      <a:pt x="71" y="336"/>
                      <a:pt x="71" y="336"/>
                      <a:pt x="71" y="336"/>
                    </a:cubicBezTo>
                    <a:cubicBezTo>
                      <a:pt x="72" y="340"/>
                      <a:pt x="69" y="344"/>
                      <a:pt x="64" y="345"/>
                    </a:cubicBezTo>
                    <a:cubicBezTo>
                      <a:pt x="64" y="345"/>
                      <a:pt x="64" y="345"/>
                      <a:pt x="63" y="345"/>
                    </a:cubicBezTo>
                    <a:close/>
                    <a:moveTo>
                      <a:pt x="53" y="282"/>
                    </a:moveTo>
                    <a:cubicBezTo>
                      <a:pt x="49" y="282"/>
                      <a:pt x="46" y="280"/>
                      <a:pt x="45" y="276"/>
                    </a:cubicBezTo>
                    <a:cubicBezTo>
                      <a:pt x="42" y="260"/>
                      <a:pt x="42" y="260"/>
                      <a:pt x="42" y="260"/>
                    </a:cubicBezTo>
                    <a:cubicBezTo>
                      <a:pt x="42" y="256"/>
                      <a:pt x="44" y="252"/>
                      <a:pt x="49" y="251"/>
                    </a:cubicBezTo>
                    <a:cubicBezTo>
                      <a:pt x="53" y="250"/>
                      <a:pt x="57" y="253"/>
                      <a:pt x="58" y="258"/>
                    </a:cubicBezTo>
                    <a:cubicBezTo>
                      <a:pt x="61" y="273"/>
                      <a:pt x="61" y="273"/>
                      <a:pt x="61" y="273"/>
                    </a:cubicBezTo>
                    <a:cubicBezTo>
                      <a:pt x="61" y="278"/>
                      <a:pt x="58" y="282"/>
                      <a:pt x="54" y="282"/>
                    </a:cubicBezTo>
                    <a:cubicBezTo>
                      <a:pt x="54" y="282"/>
                      <a:pt x="53" y="282"/>
                      <a:pt x="53" y="282"/>
                    </a:cubicBezTo>
                    <a:close/>
                    <a:moveTo>
                      <a:pt x="42" y="220"/>
                    </a:moveTo>
                    <a:cubicBezTo>
                      <a:pt x="38" y="220"/>
                      <a:pt x="35" y="217"/>
                      <a:pt x="34" y="213"/>
                    </a:cubicBezTo>
                    <a:cubicBezTo>
                      <a:pt x="32" y="198"/>
                      <a:pt x="32" y="198"/>
                      <a:pt x="32" y="198"/>
                    </a:cubicBezTo>
                    <a:cubicBezTo>
                      <a:pt x="31" y="193"/>
                      <a:pt x="34" y="189"/>
                      <a:pt x="38" y="189"/>
                    </a:cubicBezTo>
                    <a:cubicBezTo>
                      <a:pt x="43" y="188"/>
                      <a:pt x="47" y="191"/>
                      <a:pt x="48" y="195"/>
                    </a:cubicBezTo>
                    <a:cubicBezTo>
                      <a:pt x="50" y="211"/>
                      <a:pt x="50" y="211"/>
                      <a:pt x="50" y="211"/>
                    </a:cubicBezTo>
                    <a:cubicBezTo>
                      <a:pt x="51" y="215"/>
                      <a:pt x="48" y="219"/>
                      <a:pt x="44" y="220"/>
                    </a:cubicBezTo>
                    <a:cubicBezTo>
                      <a:pt x="43" y="220"/>
                      <a:pt x="43" y="220"/>
                      <a:pt x="42" y="220"/>
                    </a:cubicBezTo>
                    <a:close/>
                    <a:moveTo>
                      <a:pt x="32" y="157"/>
                    </a:moveTo>
                    <a:cubicBezTo>
                      <a:pt x="28" y="157"/>
                      <a:pt x="25" y="155"/>
                      <a:pt x="24" y="151"/>
                    </a:cubicBezTo>
                    <a:cubicBezTo>
                      <a:pt x="21" y="135"/>
                      <a:pt x="21" y="135"/>
                      <a:pt x="21" y="135"/>
                    </a:cubicBezTo>
                    <a:cubicBezTo>
                      <a:pt x="21" y="131"/>
                      <a:pt x="24" y="127"/>
                      <a:pt x="28" y="126"/>
                    </a:cubicBezTo>
                    <a:cubicBezTo>
                      <a:pt x="32" y="125"/>
                      <a:pt x="36" y="128"/>
                      <a:pt x="37" y="132"/>
                    </a:cubicBezTo>
                    <a:cubicBezTo>
                      <a:pt x="40" y="148"/>
                      <a:pt x="40" y="148"/>
                      <a:pt x="40" y="148"/>
                    </a:cubicBezTo>
                    <a:cubicBezTo>
                      <a:pt x="40" y="152"/>
                      <a:pt x="37" y="157"/>
                      <a:pt x="33" y="157"/>
                    </a:cubicBezTo>
                    <a:cubicBezTo>
                      <a:pt x="33" y="157"/>
                      <a:pt x="32" y="157"/>
                      <a:pt x="32" y="157"/>
                    </a:cubicBezTo>
                    <a:close/>
                    <a:moveTo>
                      <a:pt x="21" y="95"/>
                    </a:moveTo>
                    <a:cubicBezTo>
                      <a:pt x="18" y="95"/>
                      <a:pt x="14" y="92"/>
                      <a:pt x="14" y="88"/>
                    </a:cubicBezTo>
                    <a:cubicBezTo>
                      <a:pt x="11" y="73"/>
                      <a:pt x="11" y="73"/>
                      <a:pt x="11" y="73"/>
                    </a:cubicBezTo>
                    <a:cubicBezTo>
                      <a:pt x="10" y="68"/>
                      <a:pt x="13" y="64"/>
                      <a:pt x="17" y="63"/>
                    </a:cubicBezTo>
                    <a:cubicBezTo>
                      <a:pt x="22" y="63"/>
                      <a:pt x="26" y="66"/>
                      <a:pt x="27" y="70"/>
                    </a:cubicBezTo>
                    <a:cubicBezTo>
                      <a:pt x="29" y="86"/>
                      <a:pt x="29" y="86"/>
                      <a:pt x="29" y="86"/>
                    </a:cubicBezTo>
                    <a:cubicBezTo>
                      <a:pt x="30" y="90"/>
                      <a:pt x="27" y="94"/>
                      <a:pt x="23" y="95"/>
                    </a:cubicBezTo>
                    <a:cubicBezTo>
                      <a:pt x="22" y="95"/>
                      <a:pt x="22" y="95"/>
                      <a:pt x="21" y="95"/>
                    </a:cubicBezTo>
                    <a:close/>
                    <a:moveTo>
                      <a:pt x="11" y="32"/>
                    </a:moveTo>
                    <a:cubicBezTo>
                      <a:pt x="7" y="32"/>
                      <a:pt x="4" y="29"/>
                      <a:pt x="3" y="26"/>
                    </a:cubicBezTo>
                    <a:cubicBezTo>
                      <a:pt x="1" y="10"/>
                      <a:pt x="1" y="10"/>
                      <a:pt x="1" y="10"/>
                    </a:cubicBezTo>
                    <a:cubicBezTo>
                      <a:pt x="0" y="6"/>
                      <a:pt x="3" y="2"/>
                      <a:pt x="7" y="1"/>
                    </a:cubicBezTo>
                    <a:cubicBezTo>
                      <a:pt x="11" y="0"/>
                      <a:pt x="15" y="3"/>
                      <a:pt x="16" y="7"/>
                    </a:cubicBezTo>
                    <a:cubicBezTo>
                      <a:pt x="19" y="23"/>
                      <a:pt x="19" y="23"/>
                      <a:pt x="19" y="23"/>
                    </a:cubicBezTo>
                    <a:cubicBezTo>
                      <a:pt x="20" y="27"/>
                      <a:pt x="17" y="31"/>
                      <a:pt x="12" y="32"/>
                    </a:cubicBezTo>
                    <a:cubicBezTo>
                      <a:pt x="12" y="32"/>
                      <a:pt x="11" y="32"/>
                      <a:pt x="11"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213360" indent="-213360" defTabSz="853440">
                  <a:spcBef>
                    <a:spcPts val="1440"/>
                  </a:spcBef>
                  <a:defRPr/>
                </a:pPr>
                <a:endParaRPr lang="en-US" sz="1440">
                  <a:solidFill>
                    <a:srgbClr val="FFFFFF"/>
                  </a:solidFill>
                  <a:latin typeface="+mj-lt"/>
                </a:endParaRPr>
              </a:p>
            </p:txBody>
          </p:sp>
          <p:sp>
            <p:nvSpPr>
              <p:cNvPr id="26" name="Oval 25">
                <a:extLst>
                  <a:ext uri="{FF2B5EF4-FFF2-40B4-BE49-F238E27FC236}">
                    <a16:creationId xmlns:a16="http://schemas.microsoft.com/office/drawing/2014/main" id="{805EA9CD-6838-AE6C-AC58-B9D6B50E0339}"/>
                  </a:ext>
                </a:extLst>
              </p:cNvPr>
              <p:cNvSpPr>
                <a:spLocks noChangeArrowheads="1"/>
              </p:cNvSpPr>
              <p:nvPr/>
            </p:nvSpPr>
            <p:spPr bwMode="auto">
              <a:xfrm>
                <a:off x="400050" y="3854916"/>
                <a:ext cx="18193" cy="1819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213360" indent="-213360" defTabSz="853440">
                  <a:spcBef>
                    <a:spcPts val="1440"/>
                  </a:spcBef>
                  <a:defRPr/>
                </a:pPr>
                <a:endParaRPr lang="en-US" sz="1440">
                  <a:solidFill>
                    <a:srgbClr val="FFFFFF"/>
                  </a:solidFill>
                  <a:latin typeface="+mj-lt"/>
                </a:endParaRPr>
              </a:p>
            </p:txBody>
          </p:sp>
        </p:grpSp>
        <p:sp>
          <p:nvSpPr>
            <p:cNvPr id="19" name="Freeform 83">
              <a:extLst>
                <a:ext uri="{FF2B5EF4-FFF2-40B4-BE49-F238E27FC236}">
                  <a16:creationId xmlns:a16="http://schemas.microsoft.com/office/drawing/2014/main" id="{84FD3DFE-9433-87ED-E00A-15F96A97A1A5}"/>
                </a:ext>
              </a:extLst>
            </p:cNvPr>
            <p:cNvSpPr/>
            <p:nvPr/>
          </p:nvSpPr>
          <p:spPr bwMode="gray">
            <a:xfrm>
              <a:off x="7399501" y="2059912"/>
              <a:ext cx="237246" cy="291402"/>
            </a:xfrm>
            <a:custGeom>
              <a:avLst/>
              <a:gdLst>
                <a:gd name="connsiteX0" fmla="*/ 6134 w 237246"/>
                <a:gd name="connsiteY0" fmla="*/ 90435 h 291402"/>
                <a:gd name="connsiteX1" fmla="*/ 106618 w 237246"/>
                <a:gd name="connsiteY1" fmla="*/ 291402 h 291402"/>
                <a:gd name="connsiteX2" fmla="*/ 237246 w 237246"/>
                <a:gd name="connsiteY2" fmla="*/ 291402 h 291402"/>
                <a:gd name="connsiteX3" fmla="*/ 237246 w 237246"/>
                <a:gd name="connsiteY3" fmla="*/ 291402 h 291402"/>
                <a:gd name="connsiteX4" fmla="*/ 66424 w 237246"/>
                <a:gd name="connsiteY4" fmla="*/ 0 h 291402"/>
                <a:gd name="connsiteX5" fmla="*/ 6134 w 237246"/>
                <a:gd name="connsiteY5" fmla="*/ 70339 h 291402"/>
                <a:gd name="connsiteX6" fmla="*/ 6134 w 237246"/>
                <a:gd name="connsiteY6" fmla="*/ 90435 h 29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246" h="291402">
                  <a:moveTo>
                    <a:pt x="6134" y="90435"/>
                  </a:moveTo>
                  <a:lnTo>
                    <a:pt x="106618" y="291402"/>
                  </a:lnTo>
                  <a:lnTo>
                    <a:pt x="237246" y="291402"/>
                  </a:lnTo>
                  <a:lnTo>
                    <a:pt x="237246" y="291402"/>
                  </a:lnTo>
                  <a:lnTo>
                    <a:pt x="66424" y="0"/>
                  </a:lnTo>
                  <a:cubicBezTo>
                    <a:pt x="46327" y="23446"/>
                    <a:pt x="23843" y="45041"/>
                    <a:pt x="6134" y="70339"/>
                  </a:cubicBezTo>
                  <a:cubicBezTo>
                    <a:pt x="60" y="79016"/>
                    <a:pt x="-3914" y="100484"/>
                    <a:pt x="6134" y="90435"/>
                  </a:cubicBezTo>
                  <a:close/>
                </a:path>
              </a:pathLst>
            </a:custGeom>
            <a:solidFill>
              <a:srgbClr val="83AC9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3200" tIns="43200" rIns="43200" bIns="432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lgn="ctr" defTabSz="853440">
                <a:spcBef>
                  <a:spcPts val="1440"/>
                </a:spcBef>
                <a:buNone/>
                <a:defRPr/>
              </a:pPr>
              <a:endParaRPr lang="en-US" sz="1440">
                <a:solidFill>
                  <a:srgbClr val="FFFFFF"/>
                </a:solidFill>
                <a:latin typeface="+mj-lt"/>
              </a:endParaRPr>
            </a:p>
          </p:txBody>
        </p:sp>
      </p:grpSp>
      <p:sp>
        <p:nvSpPr>
          <p:cNvPr id="27" name="Rectangle 26">
            <a:extLst>
              <a:ext uri="{FF2B5EF4-FFF2-40B4-BE49-F238E27FC236}">
                <a16:creationId xmlns:a16="http://schemas.microsoft.com/office/drawing/2014/main" id="{33EC2C3C-CA93-C99C-686A-CF27A7A8EBEF}"/>
              </a:ext>
            </a:extLst>
          </p:cNvPr>
          <p:cNvSpPr/>
          <p:nvPr/>
        </p:nvSpPr>
        <p:spPr>
          <a:xfrm>
            <a:off x="2581191" y="2400300"/>
            <a:ext cx="8553854" cy="1143000"/>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wrap="square" lIns="43200" tIns="43200" rIns="0" bIns="43200" rtlCol="0" anchor="t">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defTabSz="1048655">
              <a:spcBef>
                <a:spcPts val="0"/>
              </a:spcBef>
              <a:spcAft>
                <a:spcPts val="240"/>
              </a:spcAft>
              <a:buNone/>
              <a:defRPr/>
            </a:pPr>
            <a:endParaRPr lang="en-GB" sz="1260">
              <a:solidFill>
                <a:srgbClr val="4D4D55"/>
              </a:solidFill>
              <a:latin typeface="+mj-lt"/>
            </a:endParaRPr>
          </a:p>
        </p:txBody>
      </p:sp>
      <p:grpSp>
        <p:nvGrpSpPr>
          <p:cNvPr id="28" name="btfpRowHeaderBox719952">
            <a:extLst>
              <a:ext uri="{FF2B5EF4-FFF2-40B4-BE49-F238E27FC236}">
                <a16:creationId xmlns:a16="http://schemas.microsoft.com/office/drawing/2014/main" id="{6E8340D2-F806-4643-FFD5-EA50E064AED8}"/>
              </a:ext>
            </a:extLst>
          </p:cNvPr>
          <p:cNvGrpSpPr/>
          <p:nvPr/>
        </p:nvGrpSpPr>
        <p:grpSpPr>
          <a:xfrm>
            <a:off x="1056953" y="2390776"/>
            <a:ext cx="1215989" cy="1165860"/>
            <a:chOff x="335468" y="3190051"/>
            <a:chExt cx="2539999" cy="1123319"/>
          </a:xfrm>
        </p:grpSpPr>
        <p:sp>
          <p:nvSpPr>
            <p:cNvPr id="29" name="btfpRowHeaderBoxText719952">
              <a:extLst>
                <a:ext uri="{FF2B5EF4-FFF2-40B4-BE49-F238E27FC236}">
                  <a16:creationId xmlns:a16="http://schemas.microsoft.com/office/drawing/2014/main" id="{692B0E3C-CDBC-FDD5-1BDB-FFE74F3CAE1F}"/>
                </a:ext>
              </a:extLst>
            </p:cNvPr>
            <p:cNvSpPr txBox="1"/>
            <p:nvPr/>
          </p:nvSpPr>
          <p:spPr bwMode="gray">
            <a:xfrm>
              <a:off x="335468" y="3190051"/>
              <a:ext cx="2539999" cy="972979"/>
            </a:xfrm>
            <a:prstGeom prst="rect">
              <a:avLst/>
            </a:prstGeom>
            <a:noFill/>
          </p:spPr>
          <p:txBody>
            <a:bodyPr vert="horz" wrap="square" lIns="43243" tIns="43243" rIns="216217" bIns="43243" rtlCol="0" anchor="t">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defTabSz="853440">
                <a:spcBef>
                  <a:spcPts val="0"/>
                </a:spcBef>
                <a:buNone/>
                <a:defRPr/>
              </a:pPr>
              <a:r>
                <a:rPr lang="en-US" sz="1320" b="1">
                  <a:solidFill>
                    <a:srgbClr val="9DC8DE"/>
                  </a:solidFill>
                  <a:latin typeface="+mj-lt"/>
                </a:rPr>
                <a:t>Where to play</a:t>
              </a:r>
            </a:p>
          </p:txBody>
        </p:sp>
        <p:cxnSp>
          <p:nvCxnSpPr>
            <p:cNvPr id="30" name="btfpRowHeaderBoxLine719952">
              <a:extLst>
                <a:ext uri="{FF2B5EF4-FFF2-40B4-BE49-F238E27FC236}">
                  <a16:creationId xmlns:a16="http://schemas.microsoft.com/office/drawing/2014/main" id="{61CCE3A5-913C-712B-5930-6DFA29D3985C}"/>
                </a:ext>
              </a:extLst>
            </p:cNvPr>
            <p:cNvCxnSpPr>
              <a:cxnSpLocks/>
            </p:cNvCxnSpPr>
            <p:nvPr/>
          </p:nvCxnSpPr>
          <p:spPr bwMode="gray">
            <a:xfrm>
              <a:off x="2870201" y="3190051"/>
              <a:ext cx="0" cy="112331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DCFA05B7-69EC-CC53-D702-2174F34D34F8}"/>
              </a:ext>
            </a:extLst>
          </p:cNvPr>
          <p:cNvGrpSpPr/>
          <p:nvPr/>
        </p:nvGrpSpPr>
        <p:grpSpPr>
          <a:xfrm>
            <a:off x="1526036" y="2682241"/>
            <a:ext cx="733436" cy="598170"/>
            <a:chOff x="870309" y="2807499"/>
            <a:chExt cx="839380" cy="684079"/>
          </a:xfrm>
        </p:grpSpPr>
        <p:sp>
          <p:nvSpPr>
            <p:cNvPr id="32" name="Rectangle 31">
              <a:extLst>
                <a:ext uri="{FF2B5EF4-FFF2-40B4-BE49-F238E27FC236}">
                  <a16:creationId xmlns:a16="http://schemas.microsoft.com/office/drawing/2014/main" id="{5FD70D23-8880-9B90-08A0-D480178FD5BC}"/>
                </a:ext>
              </a:extLst>
            </p:cNvPr>
            <p:cNvSpPr/>
            <p:nvPr/>
          </p:nvSpPr>
          <p:spPr bwMode="gray">
            <a:xfrm>
              <a:off x="1293421" y="2941401"/>
              <a:ext cx="56493" cy="141732"/>
            </a:xfrm>
            <a:prstGeom prst="rect">
              <a:avLst/>
            </a:prstGeom>
            <a:solidFill>
              <a:srgbClr val="85AF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3200" tIns="43200" rIns="43200" bIns="432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lgn="ctr" defTabSz="853440">
                <a:spcBef>
                  <a:spcPts val="1440"/>
                </a:spcBef>
                <a:buNone/>
                <a:defRPr/>
              </a:pPr>
              <a:endParaRPr lang="en-US" sz="1440">
                <a:solidFill>
                  <a:srgbClr val="FFFFFF"/>
                </a:solidFill>
                <a:latin typeface="+mj-lt"/>
              </a:endParaRPr>
            </a:p>
          </p:txBody>
        </p:sp>
        <p:sp>
          <p:nvSpPr>
            <p:cNvPr id="33" name="Rectangle 32">
              <a:extLst>
                <a:ext uri="{FF2B5EF4-FFF2-40B4-BE49-F238E27FC236}">
                  <a16:creationId xmlns:a16="http://schemas.microsoft.com/office/drawing/2014/main" id="{53A9C85C-645D-51C7-AB76-C70899A1D5A3}"/>
                </a:ext>
              </a:extLst>
            </p:cNvPr>
            <p:cNvSpPr/>
            <p:nvPr/>
          </p:nvSpPr>
          <p:spPr bwMode="gray">
            <a:xfrm>
              <a:off x="1105584" y="3120769"/>
              <a:ext cx="127650" cy="349486"/>
            </a:xfrm>
            <a:prstGeom prst="rect">
              <a:avLst/>
            </a:prstGeom>
            <a:solidFill>
              <a:srgbClr val="85AF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3200" tIns="43200" rIns="43200" bIns="432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lgn="ctr" defTabSz="853440">
                <a:spcBef>
                  <a:spcPts val="1440"/>
                </a:spcBef>
                <a:buNone/>
                <a:defRPr/>
              </a:pPr>
              <a:endParaRPr lang="en-US" sz="1440">
                <a:solidFill>
                  <a:srgbClr val="FFFFFF"/>
                </a:solidFill>
                <a:latin typeface="+mj-lt"/>
              </a:endParaRPr>
            </a:p>
          </p:txBody>
        </p:sp>
        <p:pic>
          <p:nvPicPr>
            <p:cNvPr id="34" name="btfpIconLines655288">
              <a:extLst>
                <a:ext uri="{FF2B5EF4-FFF2-40B4-BE49-F238E27FC236}">
                  <a16:creationId xmlns:a16="http://schemas.microsoft.com/office/drawing/2014/main" id="{E7AD2C6C-2D84-66FB-5F9F-2438A5763D4C}"/>
                </a:ext>
              </a:extLst>
            </p:cNvPr>
            <p:cNvPicPr>
              <a:picLocks/>
            </p:cNvPicPr>
            <p:nvPr/>
          </p:nvPicPr>
          <p:blipFill>
            <a:blip r:embed="rId13">
              <a:lum bright="-100000" contrast="-40000"/>
              <a:extLst>
                <a:ext uri="{28A0092B-C50C-407E-A947-70E740481C1C}">
                  <a14:useLocalDpi xmlns:a14="http://schemas.microsoft.com/office/drawing/2010/main" val="0"/>
                </a:ext>
              </a:extLst>
            </a:blip>
            <a:stretch>
              <a:fillRect/>
            </a:stretch>
          </p:blipFill>
          <p:spPr>
            <a:xfrm>
              <a:off x="870309" y="2807499"/>
              <a:ext cx="839380" cy="684079"/>
            </a:xfrm>
            <a:prstGeom prst="rect">
              <a:avLst/>
            </a:prstGeom>
          </p:spPr>
        </p:pic>
      </p:grpSp>
      <p:sp>
        <p:nvSpPr>
          <p:cNvPr id="35" name="Rectangle 34">
            <a:extLst>
              <a:ext uri="{FF2B5EF4-FFF2-40B4-BE49-F238E27FC236}">
                <a16:creationId xmlns:a16="http://schemas.microsoft.com/office/drawing/2014/main" id="{86200092-1F32-54C4-C321-5DB9C9C26EE1}"/>
              </a:ext>
            </a:extLst>
          </p:cNvPr>
          <p:cNvSpPr/>
          <p:nvPr/>
        </p:nvSpPr>
        <p:spPr>
          <a:xfrm>
            <a:off x="2581192" y="1430656"/>
            <a:ext cx="8569577" cy="872490"/>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1680">
              <a:solidFill>
                <a:srgbClr val="FFFFFF"/>
              </a:solidFill>
              <a:latin typeface="+mj-lt"/>
            </a:endParaRPr>
          </a:p>
        </p:txBody>
      </p:sp>
      <p:sp>
        <p:nvSpPr>
          <p:cNvPr id="36" name="TextBox 35">
            <a:extLst>
              <a:ext uri="{FF2B5EF4-FFF2-40B4-BE49-F238E27FC236}">
                <a16:creationId xmlns:a16="http://schemas.microsoft.com/office/drawing/2014/main" id="{7B0F81D6-CAE7-4F13-8112-9C23ACA79512}"/>
              </a:ext>
            </a:extLst>
          </p:cNvPr>
          <p:cNvSpPr txBox="1"/>
          <p:nvPr/>
        </p:nvSpPr>
        <p:spPr>
          <a:xfrm>
            <a:off x="2713540" y="4918890"/>
            <a:ext cx="2357790" cy="258532"/>
          </a:xfrm>
          <a:prstGeom prst="rect">
            <a:avLst/>
          </a:prstGeom>
          <a:noFill/>
        </p:spPr>
        <p:txBody>
          <a:bodyPr wrap="square" rtlCol="0">
            <a:spAutoFit/>
          </a:bodyPr>
          <a:lstStyle>
            <a:defPPr>
              <a:defRPr lang="en-US"/>
            </a:defPPr>
            <a:lvl1pPr eaLnBrk="1" fontAlgn="auto" hangingPunct="1">
              <a:spcBef>
                <a:spcPts val="0"/>
              </a:spcBef>
              <a:spcAft>
                <a:spcPts val="0"/>
              </a:spcAft>
              <a:defRPr sz="1000" b="1" i="1">
                <a:solidFill>
                  <a:srgbClr val="4D4D55"/>
                </a:solidFill>
                <a:latin typeface="+mn-lt"/>
              </a:defRPr>
            </a:lvl1pPr>
          </a:lstStyle>
          <a:p>
            <a:pPr algn="ctr" defTabSz="548640">
              <a:defRPr/>
            </a:pPr>
            <a:r>
              <a:rPr lang="en-US" sz="1080">
                <a:latin typeface="+mj-lt"/>
              </a:rPr>
              <a:t>Total revenue target 2027</a:t>
            </a:r>
          </a:p>
        </p:txBody>
      </p:sp>
      <p:sp>
        <p:nvSpPr>
          <p:cNvPr id="37" name="Rectangle 36">
            <a:extLst>
              <a:ext uri="{FF2B5EF4-FFF2-40B4-BE49-F238E27FC236}">
                <a16:creationId xmlns:a16="http://schemas.microsoft.com/office/drawing/2014/main" id="{7A59DFF8-FDA9-01E5-87F9-E872CDD5ACCF}"/>
              </a:ext>
            </a:extLst>
          </p:cNvPr>
          <p:cNvSpPr/>
          <p:nvPr/>
        </p:nvSpPr>
        <p:spPr>
          <a:xfrm>
            <a:off x="2581192" y="4890136"/>
            <a:ext cx="8569577" cy="141338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2160">
              <a:solidFill>
                <a:srgbClr val="FFFFFF"/>
              </a:solidFill>
              <a:latin typeface="+mj-lt"/>
            </a:endParaRPr>
          </a:p>
        </p:txBody>
      </p:sp>
      <p:sp>
        <p:nvSpPr>
          <p:cNvPr id="38" name="Rectangle 37">
            <a:extLst>
              <a:ext uri="{FF2B5EF4-FFF2-40B4-BE49-F238E27FC236}">
                <a16:creationId xmlns:a16="http://schemas.microsoft.com/office/drawing/2014/main" id="{DC3F4FA5-07DF-EC2B-9107-B17AC50F61AE}"/>
              </a:ext>
            </a:extLst>
          </p:cNvPr>
          <p:cNvSpPr/>
          <p:nvPr/>
        </p:nvSpPr>
        <p:spPr>
          <a:xfrm>
            <a:off x="2588508" y="3695700"/>
            <a:ext cx="8569577" cy="109728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2160">
              <a:solidFill>
                <a:srgbClr val="FFFFFF"/>
              </a:solidFill>
              <a:latin typeface="+mj-lt"/>
            </a:endParaRPr>
          </a:p>
        </p:txBody>
      </p:sp>
      <p:sp>
        <p:nvSpPr>
          <p:cNvPr id="39" name="TextBox 38">
            <a:extLst>
              <a:ext uri="{FF2B5EF4-FFF2-40B4-BE49-F238E27FC236}">
                <a16:creationId xmlns:a16="http://schemas.microsoft.com/office/drawing/2014/main" id="{60D048A9-616E-879C-C629-B829B283224D}"/>
              </a:ext>
            </a:extLst>
          </p:cNvPr>
          <p:cNvSpPr txBox="1"/>
          <p:nvPr/>
        </p:nvSpPr>
        <p:spPr>
          <a:xfrm>
            <a:off x="3896674" y="1434466"/>
            <a:ext cx="6429505" cy="276999"/>
          </a:xfrm>
          <a:prstGeom prst="rect">
            <a:avLst/>
          </a:prstGeom>
          <a:noFill/>
        </p:spPr>
        <p:txBody>
          <a:bodyPr wrap="square" rtlCol="0">
            <a:spAutoFit/>
          </a:bodyPr>
          <a:lstStyle/>
          <a:p>
            <a:pPr defTabSz="548640" eaLnBrk="1" fontAlgn="auto" hangingPunct="1">
              <a:spcBef>
                <a:spcPts val="0"/>
              </a:spcBef>
              <a:spcAft>
                <a:spcPts val="0"/>
              </a:spcAft>
              <a:defRPr/>
            </a:pPr>
            <a:r>
              <a:rPr lang="en-US" sz="1200" b="1" i="1">
                <a:solidFill>
                  <a:srgbClr val="4D4D55"/>
                </a:solidFill>
                <a:latin typeface="+mj-lt"/>
              </a:rPr>
              <a:t>To be the leading full solution provider and become #1 in all three business lines</a:t>
            </a:r>
            <a:endParaRPr lang="en-US" sz="1200" b="1">
              <a:solidFill>
                <a:srgbClr val="F5F5F5">
                  <a:lumMod val="10000"/>
                </a:srgbClr>
              </a:solidFill>
              <a:latin typeface="+mj-lt"/>
            </a:endParaRPr>
          </a:p>
        </p:txBody>
      </p:sp>
      <p:pic>
        <p:nvPicPr>
          <p:cNvPr id="40" name="Picture 39">
            <a:extLst>
              <a:ext uri="{FF2B5EF4-FFF2-40B4-BE49-F238E27FC236}">
                <a16:creationId xmlns:a16="http://schemas.microsoft.com/office/drawing/2014/main" id="{295A4F6B-0542-D9CE-A027-8C6499FE580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244946" y="1731646"/>
            <a:ext cx="553912" cy="464820"/>
          </a:xfrm>
          <a:prstGeom prst="rect">
            <a:avLst/>
          </a:prstGeom>
        </p:spPr>
      </p:pic>
      <p:sp>
        <p:nvSpPr>
          <p:cNvPr id="41" name="TextBox 40">
            <a:extLst>
              <a:ext uri="{FF2B5EF4-FFF2-40B4-BE49-F238E27FC236}">
                <a16:creationId xmlns:a16="http://schemas.microsoft.com/office/drawing/2014/main" id="{FFACAE42-B644-AF2B-73DC-6D14828E6649}"/>
              </a:ext>
            </a:extLst>
          </p:cNvPr>
          <p:cNvSpPr txBox="1"/>
          <p:nvPr/>
        </p:nvSpPr>
        <p:spPr>
          <a:xfrm>
            <a:off x="8752959" y="1802131"/>
            <a:ext cx="2441599" cy="276999"/>
          </a:xfrm>
          <a:prstGeom prst="rect">
            <a:avLst/>
          </a:prstGeom>
          <a:noFill/>
        </p:spPr>
        <p:txBody>
          <a:bodyPr wrap="square" rtlCol="0">
            <a:spAutoFit/>
          </a:bodyPr>
          <a:lstStyle/>
          <a:p>
            <a:pPr defTabSz="548640" eaLnBrk="1" fontAlgn="auto" hangingPunct="1">
              <a:spcBef>
                <a:spcPts val="0"/>
              </a:spcBef>
              <a:spcAft>
                <a:spcPts val="0"/>
              </a:spcAft>
              <a:defRPr/>
            </a:pPr>
            <a:r>
              <a:rPr lang="en-US" sz="1200">
                <a:solidFill>
                  <a:srgbClr val="F5F5F5">
                    <a:lumMod val="10000"/>
                  </a:srgbClr>
                </a:solidFill>
                <a:latin typeface="+mj-lt"/>
              </a:rPr>
              <a:t>Field</a:t>
            </a:r>
            <a:r>
              <a:rPr lang="en-US" sz="1080">
                <a:solidFill>
                  <a:srgbClr val="F5F5F5">
                    <a:lumMod val="10000"/>
                  </a:srgbClr>
                </a:solidFill>
                <a:latin typeface="+mj-lt"/>
              </a:rPr>
              <a:t> </a:t>
            </a:r>
            <a:r>
              <a:rPr lang="en-US" sz="1200">
                <a:solidFill>
                  <a:srgbClr val="F5F5F5">
                    <a:lumMod val="10000"/>
                  </a:srgbClr>
                </a:solidFill>
                <a:latin typeface="+mj-lt"/>
              </a:rPr>
              <a:t>Service &amp; Consulting</a:t>
            </a:r>
          </a:p>
        </p:txBody>
      </p:sp>
      <p:sp>
        <p:nvSpPr>
          <p:cNvPr id="42" name="TextBox 41">
            <a:extLst>
              <a:ext uri="{FF2B5EF4-FFF2-40B4-BE49-F238E27FC236}">
                <a16:creationId xmlns:a16="http://schemas.microsoft.com/office/drawing/2014/main" id="{47FB707A-88F6-BC80-2790-7DCCB685DFF7}"/>
              </a:ext>
            </a:extLst>
          </p:cNvPr>
          <p:cNvSpPr txBox="1"/>
          <p:nvPr/>
        </p:nvSpPr>
        <p:spPr>
          <a:xfrm>
            <a:off x="2829202" y="2406016"/>
            <a:ext cx="3940156" cy="461665"/>
          </a:xfrm>
          <a:prstGeom prst="rect">
            <a:avLst/>
          </a:prstGeom>
          <a:noFill/>
        </p:spPr>
        <p:txBody>
          <a:bodyPr wrap="square" rtlCol="0">
            <a:spAutoFit/>
          </a:bodyPr>
          <a:lstStyle/>
          <a:p>
            <a:pPr algn="ctr" defTabSz="548640" eaLnBrk="1" fontAlgn="auto" hangingPunct="1">
              <a:spcBef>
                <a:spcPts val="0"/>
              </a:spcBef>
              <a:spcAft>
                <a:spcPts val="0"/>
              </a:spcAft>
              <a:defRPr/>
            </a:pPr>
            <a:r>
              <a:rPr lang="en-US" sz="1200" b="1" i="1">
                <a:solidFill>
                  <a:srgbClr val="4D4D55"/>
                </a:solidFill>
                <a:latin typeface="+mj-lt"/>
              </a:rPr>
              <a:t>Prioritize the fastest growing industry segments…</a:t>
            </a:r>
            <a:endParaRPr lang="en-US" sz="1200" b="1">
              <a:solidFill>
                <a:srgbClr val="F5F5F5">
                  <a:lumMod val="10000"/>
                </a:srgbClr>
              </a:solidFill>
              <a:latin typeface="+mj-lt"/>
            </a:endParaRPr>
          </a:p>
        </p:txBody>
      </p:sp>
      <p:sp>
        <p:nvSpPr>
          <p:cNvPr id="43" name="TextBox 42">
            <a:extLst>
              <a:ext uri="{FF2B5EF4-FFF2-40B4-BE49-F238E27FC236}">
                <a16:creationId xmlns:a16="http://schemas.microsoft.com/office/drawing/2014/main" id="{564FBBA3-FE39-59AE-3F9C-665369C5F34B}"/>
              </a:ext>
            </a:extLst>
          </p:cNvPr>
          <p:cNvSpPr txBox="1"/>
          <p:nvPr/>
        </p:nvSpPr>
        <p:spPr>
          <a:xfrm>
            <a:off x="3658545" y="3707131"/>
            <a:ext cx="6429505" cy="276999"/>
          </a:xfrm>
          <a:prstGeom prst="rect">
            <a:avLst/>
          </a:prstGeom>
          <a:noFill/>
        </p:spPr>
        <p:txBody>
          <a:bodyPr wrap="square" rtlCol="0">
            <a:spAutoFit/>
          </a:bodyPr>
          <a:lstStyle/>
          <a:p>
            <a:pPr algn="ctr" defTabSz="548640" eaLnBrk="1" fontAlgn="auto" hangingPunct="1">
              <a:spcBef>
                <a:spcPts val="0"/>
              </a:spcBef>
              <a:spcAft>
                <a:spcPts val="0"/>
              </a:spcAft>
              <a:defRPr/>
            </a:pPr>
            <a:r>
              <a:rPr lang="en-US" sz="1200" b="1" i="1">
                <a:solidFill>
                  <a:srgbClr val="4D4D55"/>
                </a:solidFill>
                <a:latin typeface="+mj-lt"/>
              </a:rPr>
              <a:t>Continue the successful Ellab journey with focus on 7 must-win battles</a:t>
            </a:r>
            <a:endParaRPr lang="en-US" sz="1200" b="1">
              <a:solidFill>
                <a:srgbClr val="F5F5F5">
                  <a:lumMod val="10000"/>
                </a:srgbClr>
              </a:solidFill>
              <a:latin typeface="+mj-lt"/>
            </a:endParaRPr>
          </a:p>
        </p:txBody>
      </p:sp>
      <p:pic>
        <p:nvPicPr>
          <p:cNvPr id="44" name="Picture 43">
            <a:extLst>
              <a:ext uri="{FF2B5EF4-FFF2-40B4-BE49-F238E27FC236}">
                <a16:creationId xmlns:a16="http://schemas.microsoft.com/office/drawing/2014/main" id="{1A58387A-F295-4743-E5BE-E780696EB87C}"/>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738200" y="1741170"/>
            <a:ext cx="626360" cy="493396"/>
          </a:xfrm>
          <a:prstGeom prst="rect">
            <a:avLst/>
          </a:prstGeom>
        </p:spPr>
      </p:pic>
      <p:sp>
        <p:nvSpPr>
          <p:cNvPr id="45" name="TextBox 44">
            <a:extLst>
              <a:ext uri="{FF2B5EF4-FFF2-40B4-BE49-F238E27FC236}">
                <a16:creationId xmlns:a16="http://schemas.microsoft.com/office/drawing/2014/main" id="{F43415EC-5042-5E8E-2E5C-DB173CEA99A7}"/>
              </a:ext>
            </a:extLst>
          </p:cNvPr>
          <p:cNvSpPr txBox="1"/>
          <p:nvPr/>
        </p:nvSpPr>
        <p:spPr>
          <a:xfrm>
            <a:off x="6245560" y="1802131"/>
            <a:ext cx="1935926" cy="276999"/>
          </a:xfrm>
          <a:prstGeom prst="rect">
            <a:avLst/>
          </a:prstGeom>
          <a:noFill/>
        </p:spPr>
        <p:txBody>
          <a:bodyPr wrap="square" rtlCol="0">
            <a:spAutoFit/>
          </a:bodyPr>
          <a:lstStyle/>
          <a:p>
            <a:pPr defTabSz="548640" eaLnBrk="1" fontAlgn="auto" hangingPunct="1">
              <a:spcBef>
                <a:spcPts val="0"/>
              </a:spcBef>
              <a:spcAft>
                <a:spcPts val="0"/>
              </a:spcAft>
              <a:defRPr/>
            </a:pPr>
            <a:r>
              <a:rPr lang="en-US" sz="1200">
                <a:solidFill>
                  <a:srgbClr val="F5F5F5">
                    <a:lumMod val="10000"/>
                  </a:srgbClr>
                </a:solidFill>
                <a:latin typeface="+mj-lt"/>
              </a:rPr>
              <a:t>Monitoring Solutions</a:t>
            </a:r>
          </a:p>
        </p:txBody>
      </p:sp>
      <p:pic>
        <p:nvPicPr>
          <p:cNvPr id="46" name="Picture 45">
            <a:extLst>
              <a:ext uri="{FF2B5EF4-FFF2-40B4-BE49-F238E27FC236}">
                <a16:creationId xmlns:a16="http://schemas.microsoft.com/office/drawing/2014/main" id="{191B6217-9FBB-099E-9C13-15C81D7B0536}"/>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926161" y="1727836"/>
            <a:ext cx="694124" cy="461010"/>
          </a:xfrm>
          <a:prstGeom prst="rect">
            <a:avLst/>
          </a:prstGeom>
        </p:spPr>
      </p:pic>
      <p:sp>
        <p:nvSpPr>
          <p:cNvPr id="47" name="TextBox 46">
            <a:extLst>
              <a:ext uri="{FF2B5EF4-FFF2-40B4-BE49-F238E27FC236}">
                <a16:creationId xmlns:a16="http://schemas.microsoft.com/office/drawing/2014/main" id="{3688A333-09DA-7E2B-C6B9-54C6E6FEC47D}"/>
              </a:ext>
            </a:extLst>
          </p:cNvPr>
          <p:cNvSpPr txBox="1"/>
          <p:nvPr/>
        </p:nvSpPr>
        <p:spPr>
          <a:xfrm>
            <a:off x="3589660" y="1802131"/>
            <a:ext cx="1935926" cy="276999"/>
          </a:xfrm>
          <a:prstGeom prst="rect">
            <a:avLst/>
          </a:prstGeom>
          <a:noFill/>
        </p:spPr>
        <p:txBody>
          <a:bodyPr wrap="square" rtlCol="0">
            <a:spAutoFit/>
          </a:bodyPr>
          <a:lstStyle/>
          <a:p>
            <a:pPr defTabSz="548640" eaLnBrk="1" fontAlgn="auto" hangingPunct="1">
              <a:spcBef>
                <a:spcPts val="0"/>
              </a:spcBef>
              <a:spcAft>
                <a:spcPts val="0"/>
              </a:spcAft>
              <a:defRPr/>
            </a:pPr>
            <a:r>
              <a:rPr lang="en-US" sz="1200">
                <a:solidFill>
                  <a:srgbClr val="F5F5F5">
                    <a:lumMod val="10000"/>
                  </a:srgbClr>
                </a:solidFill>
                <a:latin typeface="+mj-lt"/>
              </a:rPr>
              <a:t>Validation Solutions</a:t>
            </a:r>
          </a:p>
        </p:txBody>
      </p:sp>
      <p:sp>
        <p:nvSpPr>
          <p:cNvPr id="48" name="TextBox 47">
            <a:extLst>
              <a:ext uri="{FF2B5EF4-FFF2-40B4-BE49-F238E27FC236}">
                <a16:creationId xmlns:a16="http://schemas.microsoft.com/office/drawing/2014/main" id="{53E6D18D-3449-79F2-0BDC-D18B964B6A3A}"/>
              </a:ext>
            </a:extLst>
          </p:cNvPr>
          <p:cNvSpPr txBox="1"/>
          <p:nvPr/>
        </p:nvSpPr>
        <p:spPr>
          <a:xfrm>
            <a:off x="2912230" y="2987040"/>
            <a:ext cx="802663" cy="258532"/>
          </a:xfrm>
          <a:prstGeom prst="rect">
            <a:avLst/>
          </a:prstGeom>
          <a:noFill/>
        </p:spPr>
        <p:txBody>
          <a:bodyPr wrap="square" rtlCol="0">
            <a:spAutoFit/>
          </a:bodyPr>
          <a:lstStyle/>
          <a:p>
            <a:pPr defTabSz="548640" eaLnBrk="1" fontAlgn="auto" hangingPunct="1">
              <a:spcBef>
                <a:spcPts val="0"/>
              </a:spcBef>
              <a:spcAft>
                <a:spcPts val="0"/>
              </a:spcAft>
              <a:defRPr/>
            </a:pPr>
            <a:r>
              <a:rPr lang="en-US" sz="1080">
                <a:solidFill>
                  <a:srgbClr val="F5F5F5">
                    <a:lumMod val="10000"/>
                  </a:srgbClr>
                </a:solidFill>
                <a:latin typeface="+mj-lt"/>
              </a:rPr>
              <a:t>Biotech</a:t>
            </a:r>
          </a:p>
        </p:txBody>
      </p:sp>
      <p:sp>
        <p:nvSpPr>
          <p:cNvPr id="49" name="TextBox 48">
            <a:extLst>
              <a:ext uri="{FF2B5EF4-FFF2-40B4-BE49-F238E27FC236}">
                <a16:creationId xmlns:a16="http://schemas.microsoft.com/office/drawing/2014/main" id="{38CFB9BA-D207-BB37-BC4C-37695763DB10}"/>
              </a:ext>
            </a:extLst>
          </p:cNvPr>
          <p:cNvSpPr txBox="1"/>
          <p:nvPr/>
        </p:nvSpPr>
        <p:spPr>
          <a:xfrm>
            <a:off x="3662247" y="2893696"/>
            <a:ext cx="1271797" cy="424732"/>
          </a:xfrm>
          <a:prstGeom prst="rect">
            <a:avLst/>
          </a:prstGeom>
          <a:noFill/>
        </p:spPr>
        <p:txBody>
          <a:bodyPr wrap="square" rtlCol="0">
            <a:spAutoFit/>
          </a:bodyPr>
          <a:lstStyle/>
          <a:p>
            <a:pPr algn="ctr" defTabSz="548640" eaLnBrk="1" fontAlgn="auto" hangingPunct="1">
              <a:spcBef>
                <a:spcPts val="0"/>
              </a:spcBef>
              <a:spcAft>
                <a:spcPts val="0"/>
              </a:spcAft>
              <a:defRPr/>
            </a:pPr>
            <a:r>
              <a:rPr lang="en-US" sz="1080" dirty="0">
                <a:solidFill>
                  <a:srgbClr val="F5F5F5">
                    <a:lumMod val="10000"/>
                  </a:srgbClr>
                </a:solidFill>
                <a:latin typeface="+mj-lt"/>
              </a:rPr>
              <a:t>Cell &amp; Gene Therapy</a:t>
            </a:r>
          </a:p>
        </p:txBody>
      </p:sp>
      <p:pic>
        <p:nvPicPr>
          <p:cNvPr id="50" name="Picture 49">
            <a:extLst>
              <a:ext uri="{FF2B5EF4-FFF2-40B4-BE49-F238E27FC236}">
                <a16:creationId xmlns:a16="http://schemas.microsoft.com/office/drawing/2014/main" id="{97A67A1B-DC8B-BAFB-ABC3-95989CE9D3FA}"/>
              </a:ext>
            </a:extLst>
          </p:cNvPr>
          <p:cNvPicPr>
            <a:picLocks noChangeAspect="1"/>
          </p:cNvPicPr>
          <p:nvPr/>
        </p:nvPicPr>
        <p:blipFill>
          <a:blip r:embed="rId17"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2656751" y="2857501"/>
            <a:ext cx="343116" cy="491490"/>
          </a:xfrm>
          <a:prstGeom prst="rect">
            <a:avLst/>
          </a:prstGeom>
        </p:spPr>
      </p:pic>
      <p:pic>
        <p:nvPicPr>
          <p:cNvPr id="51" name="Picture 50">
            <a:extLst>
              <a:ext uri="{FF2B5EF4-FFF2-40B4-BE49-F238E27FC236}">
                <a16:creationId xmlns:a16="http://schemas.microsoft.com/office/drawing/2014/main" id="{F7077D71-F2D3-BF48-9647-D854C6E1D5C9}"/>
              </a:ext>
            </a:extLst>
          </p:cNvPr>
          <p:cNvPicPr>
            <a:picLocks noChangeAspect="1"/>
          </p:cNvPicPr>
          <p:nvPr/>
        </p:nvPicPr>
        <p:blipFill>
          <a:blip r:embed="rId18"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662246" y="2882266"/>
            <a:ext cx="229620" cy="434340"/>
          </a:xfrm>
          <a:prstGeom prst="rect">
            <a:avLst/>
          </a:prstGeom>
        </p:spPr>
      </p:pic>
      <p:pic>
        <p:nvPicPr>
          <p:cNvPr id="52" name="Picture 8" descr="Visual Pak Expands Blend and Fill Capability and Capacity">
            <a:extLst>
              <a:ext uri="{FF2B5EF4-FFF2-40B4-BE49-F238E27FC236}">
                <a16:creationId xmlns:a16="http://schemas.microsoft.com/office/drawing/2014/main" id="{302642A6-FE85-2B46-9872-D187408092BD}"/>
              </a:ext>
            </a:extLst>
          </p:cNvPr>
          <p:cNvPicPr>
            <a:picLocks noChangeAspect="1" noChangeArrowheads="1"/>
          </p:cNvPicPr>
          <p:nvPr/>
        </p:nvPicPr>
        <p:blipFill rotWithShape="1">
          <a:blip r:embed="rId19"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a:off x="4862895" y="2893696"/>
            <a:ext cx="384796" cy="40767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FE089FAC-BEAC-F34D-89CE-25FE2266BCB7}"/>
              </a:ext>
            </a:extLst>
          </p:cNvPr>
          <p:cNvSpPr txBox="1"/>
          <p:nvPr/>
        </p:nvSpPr>
        <p:spPr>
          <a:xfrm>
            <a:off x="4911764" y="2941320"/>
            <a:ext cx="1271797" cy="258532"/>
          </a:xfrm>
          <a:prstGeom prst="rect">
            <a:avLst/>
          </a:prstGeom>
          <a:noFill/>
        </p:spPr>
        <p:txBody>
          <a:bodyPr wrap="square" rtlCol="0">
            <a:spAutoFit/>
          </a:bodyPr>
          <a:lstStyle/>
          <a:p>
            <a:pPr algn="ctr" defTabSz="548640" eaLnBrk="1" fontAlgn="auto" hangingPunct="1">
              <a:spcBef>
                <a:spcPts val="0"/>
              </a:spcBef>
              <a:spcAft>
                <a:spcPts val="0"/>
              </a:spcAft>
              <a:defRPr/>
            </a:pPr>
            <a:r>
              <a:rPr lang="en-US" sz="1080">
                <a:solidFill>
                  <a:srgbClr val="F5F5F5">
                    <a:lumMod val="10000"/>
                  </a:srgbClr>
                </a:solidFill>
                <a:latin typeface="+mj-lt"/>
              </a:rPr>
              <a:t>CDMOs</a:t>
            </a:r>
          </a:p>
        </p:txBody>
      </p:sp>
      <p:sp>
        <p:nvSpPr>
          <p:cNvPr id="54" name="TextBox 53">
            <a:extLst>
              <a:ext uri="{FF2B5EF4-FFF2-40B4-BE49-F238E27FC236}">
                <a16:creationId xmlns:a16="http://schemas.microsoft.com/office/drawing/2014/main" id="{9E37A9F4-1AA0-BFFF-7DB0-1AE6202D3F7A}"/>
              </a:ext>
            </a:extLst>
          </p:cNvPr>
          <p:cNvSpPr txBox="1"/>
          <p:nvPr/>
        </p:nvSpPr>
        <p:spPr>
          <a:xfrm>
            <a:off x="6019325" y="2876550"/>
            <a:ext cx="1366159" cy="424732"/>
          </a:xfrm>
          <a:prstGeom prst="rect">
            <a:avLst/>
          </a:prstGeom>
          <a:noFill/>
        </p:spPr>
        <p:txBody>
          <a:bodyPr wrap="square" rtlCol="0">
            <a:spAutoFit/>
          </a:bodyPr>
          <a:lstStyle/>
          <a:p>
            <a:pPr algn="ctr" defTabSz="548640" eaLnBrk="1" fontAlgn="auto" hangingPunct="1">
              <a:spcBef>
                <a:spcPts val="0"/>
              </a:spcBef>
              <a:spcAft>
                <a:spcPts val="0"/>
              </a:spcAft>
              <a:defRPr/>
            </a:pPr>
            <a:r>
              <a:rPr lang="en-US" sz="1080">
                <a:solidFill>
                  <a:srgbClr val="F5F5F5">
                    <a:lumMod val="10000"/>
                  </a:srgbClr>
                </a:solidFill>
                <a:latin typeface="+mj-lt"/>
              </a:rPr>
              <a:t>Chamber Manufacturers</a:t>
            </a:r>
          </a:p>
        </p:txBody>
      </p:sp>
      <p:pic>
        <p:nvPicPr>
          <p:cNvPr id="55" name="Picture 10" descr="Freezer - Free technology icons">
            <a:extLst>
              <a:ext uri="{FF2B5EF4-FFF2-40B4-BE49-F238E27FC236}">
                <a16:creationId xmlns:a16="http://schemas.microsoft.com/office/drawing/2014/main" id="{44E492B9-B6D1-75DA-3E11-C917DB70DA3B}"/>
              </a:ext>
            </a:extLst>
          </p:cNvPr>
          <p:cNvPicPr>
            <a:picLocks noChangeAspect="1" noChangeArrowheads="1"/>
          </p:cNvPicPr>
          <p:nvPr/>
        </p:nvPicPr>
        <p:blipFill>
          <a:blip r:embed="rId20"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896265" y="2903221"/>
            <a:ext cx="384810" cy="384810"/>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6CD58521-3694-6230-AEF1-85B5E2A41407}"/>
              </a:ext>
            </a:extLst>
          </p:cNvPr>
          <p:cNvSpPr txBox="1"/>
          <p:nvPr/>
        </p:nvSpPr>
        <p:spPr>
          <a:xfrm>
            <a:off x="7076060" y="2406016"/>
            <a:ext cx="3814524" cy="461665"/>
          </a:xfrm>
          <a:prstGeom prst="rect">
            <a:avLst/>
          </a:prstGeom>
          <a:noFill/>
        </p:spPr>
        <p:txBody>
          <a:bodyPr wrap="square" rtlCol="0">
            <a:spAutoFit/>
          </a:bodyPr>
          <a:lstStyle/>
          <a:p>
            <a:pPr algn="ctr" defTabSz="548640" eaLnBrk="1" fontAlgn="auto" hangingPunct="1">
              <a:spcBef>
                <a:spcPts val="0"/>
              </a:spcBef>
              <a:spcAft>
                <a:spcPts val="0"/>
              </a:spcAft>
              <a:defRPr/>
            </a:pPr>
            <a:r>
              <a:rPr lang="en-US" sz="1200" b="1" i="1">
                <a:solidFill>
                  <a:srgbClr val="4D4D55"/>
                </a:solidFill>
                <a:latin typeface="+mj-lt"/>
              </a:rPr>
              <a:t>…in countries with the strictest regulatory requirements and the most manufacturing sites</a:t>
            </a:r>
            <a:endParaRPr lang="en-US" sz="1200" b="1">
              <a:solidFill>
                <a:srgbClr val="F5F5F5">
                  <a:lumMod val="10000"/>
                </a:srgbClr>
              </a:solidFill>
              <a:latin typeface="+mj-lt"/>
            </a:endParaRPr>
          </a:p>
        </p:txBody>
      </p:sp>
      <p:pic>
        <p:nvPicPr>
          <p:cNvPr id="57" name="Picture 18" descr="Europe Icons - Free SVG &amp; PNG Europe Images - Noun Project">
            <a:extLst>
              <a:ext uri="{FF2B5EF4-FFF2-40B4-BE49-F238E27FC236}">
                <a16:creationId xmlns:a16="http://schemas.microsoft.com/office/drawing/2014/main" id="{9118D79C-C044-EF6E-F155-0B7CEBDF3B42}"/>
              </a:ext>
            </a:extLst>
          </p:cNvPr>
          <p:cNvPicPr>
            <a:picLocks noChangeAspect="1" noChangeArrowheads="1"/>
          </p:cNvPicPr>
          <p:nvPr/>
        </p:nvPicPr>
        <p:blipFill>
          <a:blip r:embed="rId21"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754380" y="2910840"/>
            <a:ext cx="434340" cy="434340"/>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263B95A2-D951-EBF5-2FCB-4D1A9DD44DA3}"/>
              </a:ext>
            </a:extLst>
          </p:cNvPr>
          <p:cNvSpPr txBox="1"/>
          <p:nvPr/>
        </p:nvSpPr>
        <p:spPr>
          <a:xfrm>
            <a:off x="8900646" y="2975610"/>
            <a:ext cx="1020934" cy="258532"/>
          </a:xfrm>
          <a:prstGeom prst="rect">
            <a:avLst/>
          </a:prstGeom>
          <a:noFill/>
        </p:spPr>
        <p:txBody>
          <a:bodyPr wrap="square" rtlCol="0">
            <a:spAutoFit/>
          </a:bodyPr>
          <a:lstStyle/>
          <a:p>
            <a:pPr algn="ctr" defTabSz="548640" eaLnBrk="1" fontAlgn="auto" hangingPunct="1">
              <a:spcBef>
                <a:spcPts val="0"/>
              </a:spcBef>
              <a:spcAft>
                <a:spcPts val="0"/>
              </a:spcAft>
              <a:defRPr/>
            </a:pPr>
            <a:r>
              <a:rPr lang="en-US" sz="1080">
                <a:solidFill>
                  <a:srgbClr val="F5F5F5">
                    <a:lumMod val="10000"/>
                  </a:srgbClr>
                </a:solidFill>
                <a:latin typeface="+mj-lt"/>
              </a:rPr>
              <a:t>Europe</a:t>
            </a:r>
          </a:p>
        </p:txBody>
      </p:sp>
      <p:sp>
        <p:nvSpPr>
          <p:cNvPr id="59" name="TextBox 58">
            <a:extLst>
              <a:ext uri="{FF2B5EF4-FFF2-40B4-BE49-F238E27FC236}">
                <a16:creationId xmlns:a16="http://schemas.microsoft.com/office/drawing/2014/main" id="{A3779071-F174-C452-6BA8-DDC12EAE4C27}"/>
              </a:ext>
            </a:extLst>
          </p:cNvPr>
          <p:cNvSpPr txBox="1"/>
          <p:nvPr/>
        </p:nvSpPr>
        <p:spPr>
          <a:xfrm>
            <a:off x="10150788" y="2977516"/>
            <a:ext cx="1105630" cy="258532"/>
          </a:xfrm>
          <a:prstGeom prst="rect">
            <a:avLst/>
          </a:prstGeom>
          <a:noFill/>
        </p:spPr>
        <p:txBody>
          <a:bodyPr wrap="square" rtlCol="0">
            <a:spAutoFit/>
          </a:bodyPr>
          <a:lstStyle/>
          <a:p>
            <a:pPr algn="ctr" defTabSz="548640" eaLnBrk="1" fontAlgn="auto" hangingPunct="1">
              <a:spcBef>
                <a:spcPts val="0"/>
              </a:spcBef>
              <a:spcAft>
                <a:spcPts val="0"/>
              </a:spcAft>
              <a:defRPr/>
            </a:pPr>
            <a:r>
              <a:rPr lang="en-US" sz="1080">
                <a:solidFill>
                  <a:srgbClr val="F5F5F5">
                    <a:lumMod val="10000"/>
                  </a:srgbClr>
                </a:solidFill>
                <a:latin typeface="+mj-lt"/>
              </a:rPr>
              <a:t>East Asia</a:t>
            </a:r>
          </a:p>
        </p:txBody>
      </p:sp>
      <p:sp>
        <p:nvSpPr>
          <p:cNvPr id="60" name="TextBox 59">
            <a:extLst>
              <a:ext uri="{FF2B5EF4-FFF2-40B4-BE49-F238E27FC236}">
                <a16:creationId xmlns:a16="http://schemas.microsoft.com/office/drawing/2014/main" id="{36AD378C-A0EE-925B-4ED6-7C74391FBCD3}"/>
              </a:ext>
            </a:extLst>
          </p:cNvPr>
          <p:cNvSpPr txBox="1"/>
          <p:nvPr/>
        </p:nvSpPr>
        <p:spPr>
          <a:xfrm>
            <a:off x="7726956" y="2886076"/>
            <a:ext cx="1090150" cy="424732"/>
          </a:xfrm>
          <a:prstGeom prst="rect">
            <a:avLst/>
          </a:prstGeom>
          <a:noFill/>
        </p:spPr>
        <p:txBody>
          <a:bodyPr wrap="square" rtlCol="0">
            <a:spAutoFit/>
          </a:bodyPr>
          <a:lstStyle/>
          <a:p>
            <a:pPr algn="ctr" defTabSz="548640" eaLnBrk="1" fontAlgn="auto" hangingPunct="1">
              <a:spcBef>
                <a:spcPts val="0"/>
              </a:spcBef>
              <a:spcAft>
                <a:spcPts val="0"/>
              </a:spcAft>
              <a:defRPr/>
            </a:pPr>
            <a:r>
              <a:rPr lang="en-US" sz="1080">
                <a:solidFill>
                  <a:srgbClr val="F5F5F5">
                    <a:lumMod val="10000"/>
                  </a:srgbClr>
                </a:solidFill>
                <a:latin typeface="+mj-lt"/>
              </a:rPr>
              <a:t>North America</a:t>
            </a:r>
          </a:p>
        </p:txBody>
      </p:sp>
      <p:pic>
        <p:nvPicPr>
          <p:cNvPr id="61" name="Picture 20" descr="North America Icon - Free PNG &amp; SVG 301975 - Noun Project">
            <a:extLst>
              <a:ext uri="{FF2B5EF4-FFF2-40B4-BE49-F238E27FC236}">
                <a16:creationId xmlns:a16="http://schemas.microsoft.com/office/drawing/2014/main" id="{1E65EC2D-D7A4-213D-29B8-E1DBED6FAF6D}"/>
              </a:ext>
            </a:extLst>
          </p:cNvPr>
          <p:cNvPicPr>
            <a:picLocks noChangeAspect="1" noChangeArrowheads="1"/>
          </p:cNvPicPr>
          <p:nvPr/>
        </p:nvPicPr>
        <p:blipFill>
          <a:blip r:embed="rId22"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590214" y="2916556"/>
            <a:ext cx="434340" cy="43434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6" descr="asia Icon 5097106">
            <a:extLst>
              <a:ext uri="{FF2B5EF4-FFF2-40B4-BE49-F238E27FC236}">
                <a16:creationId xmlns:a16="http://schemas.microsoft.com/office/drawing/2014/main" id="{94BDEB1B-4AB8-171E-E4CC-DF6F96324E0B}"/>
              </a:ext>
            </a:extLst>
          </p:cNvPr>
          <p:cNvPicPr>
            <a:picLocks noChangeAspect="1" noChangeArrowheads="1"/>
          </p:cNvPicPr>
          <p:nvPr/>
        </p:nvPicPr>
        <p:blipFill>
          <a:blip r:embed="rId23"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701201" y="2779395"/>
            <a:ext cx="786766" cy="786766"/>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A6D729FF-FE6E-CCB3-118C-8EF5295E6F1F}"/>
              </a:ext>
            </a:extLst>
          </p:cNvPr>
          <p:cNvSpPr txBox="1"/>
          <p:nvPr/>
        </p:nvSpPr>
        <p:spPr>
          <a:xfrm>
            <a:off x="3193023" y="5262364"/>
            <a:ext cx="1322908" cy="443198"/>
          </a:xfrm>
          <a:prstGeom prst="rect">
            <a:avLst/>
          </a:prstGeom>
          <a:noFill/>
        </p:spPr>
        <p:txBody>
          <a:bodyPr wrap="square" lIns="109728" tIns="54864" rIns="109728" bIns="54864" rtlCol="0" anchor="t">
            <a:spAutoFit/>
          </a:bodyPr>
          <a:lstStyle/>
          <a:p>
            <a:pPr algn="ctr" defTabSz="548640" eaLnBrk="1" fontAlgn="auto" hangingPunct="1">
              <a:spcBef>
                <a:spcPts val="0"/>
              </a:spcBef>
              <a:spcAft>
                <a:spcPts val="0"/>
              </a:spcAft>
              <a:defRPr/>
            </a:pPr>
            <a:r>
              <a:rPr lang="en-US" sz="1080" b="1">
                <a:solidFill>
                  <a:srgbClr val="1F6898"/>
                </a:solidFill>
                <a:latin typeface="+mj-lt"/>
              </a:rPr>
              <a:t>DKK 2.8 bn </a:t>
            </a:r>
            <a:br>
              <a:rPr lang="en-US" sz="1080" b="1">
                <a:solidFill>
                  <a:srgbClr val="1F6898"/>
                </a:solidFill>
                <a:latin typeface="+mj-lt"/>
              </a:rPr>
            </a:br>
            <a:r>
              <a:rPr lang="en-US" sz="1080">
                <a:solidFill>
                  <a:srgbClr val="1F6898"/>
                </a:solidFill>
                <a:latin typeface="+mj-lt"/>
              </a:rPr>
              <a:t>(~€390m)</a:t>
            </a:r>
            <a:endParaRPr lang="en-US" sz="2160">
              <a:solidFill>
                <a:srgbClr val="1F6898"/>
              </a:solidFill>
              <a:latin typeface="+mj-lt"/>
            </a:endParaRPr>
          </a:p>
        </p:txBody>
      </p:sp>
      <p:sp>
        <p:nvSpPr>
          <p:cNvPr id="64" name="TextBox 63">
            <a:extLst>
              <a:ext uri="{FF2B5EF4-FFF2-40B4-BE49-F238E27FC236}">
                <a16:creationId xmlns:a16="http://schemas.microsoft.com/office/drawing/2014/main" id="{8E5BA0DC-B428-DE2C-27B2-690DCAA712A6}"/>
              </a:ext>
            </a:extLst>
          </p:cNvPr>
          <p:cNvSpPr txBox="1"/>
          <p:nvPr/>
        </p:nvSpPr>
        <p:spPr>
          <a:xfrm>
            <a:off x="2634144" y="5752147"/>
            <a:ext cx="2357789" cy="424732"/>
          </a:xfrm>
          <a:prstGeom prst="rect">
            <a:avLst/>
          </a:prstGeom>
          <a:noFill/>
        </p:spPr>
        <p:txBody>
          <a:bodyPr wrap="square" rtlCol="0">
            <a:spAutoFit/>
          </a:bodyPr>
          <a:lstStyle/>
          <a:p>
            <a:pPr algn="ctr" defTabSz="548640" eaLnBrk="1" fontAlgn="auto" hangingPunct="1">
              <a:spcBef>
                <a:spcPts val="0"/>
              </a:spcBef>
              <a:spcAft>
                <a:spcPts val="0"/>
              </a:spcAft>
              <a:defRPr/>
            </a:pPr>
            <a:r>
              <a:rPr lang="en-US" sz="1080" b="1">
                <a:solidFill>
                  <a:srgbClr val="1F6898"/>
                </a:solidFill>
                <a:latin typeface="+mj-lt"/>
              </a:rPr>
              <a:t>+28.5% growth p.a.</a:t>
            </a:r>
          </a:p>
          <a:p>
            <a:pPr algn="ctr" defTabSz="548640" eaLnBrk="1" fontAlgn="auto" hangingPunct="1">
              <a:spcBef>
                <a:spcPts val="0"/>
              </a:spcBef>
              <a:spcAft>
                <a:spcPts val="0"/>
              </a:spcAft>
              <a:defRPr/>
            </a:pPr>
            <a:r>
              <a:rPr lang="en-US" sz="1080">
                <a:solidFill>
                  <a:srgbClr val="1F6898"/>
                </a:solidFill>
                <a:latin typeface="+mj-lt"/>
              </a:rPr>
              <a:t>+18.5% organic growth p.a.</a:t>
            </a:r>
          </a:p>
        </p:txBody>
      </p:sp>
      <p:sp>
        <p:nvSpPr>
          <p:cNvPr id="65" name="TextBox 64">
            <a:extLst>
              <a:ext uri="{FF2B5EF4-FFF2-40B4-BE49-F238E27FC236}">
                <a16:creationId xmlns:a16="http://schemas.microsoft.com/office/drawing/2014/main" id="{CD5ADC61-E933-5DFD-1AB6-3E3D2D236396}"/>
              </a:ext>
            </a:extLst>
          </p:cNvPr>
          <p:cNvSpPr txBox="1"/>
          <p:nvPr/>
        </p:nvSpPr>
        <p:spPr>
          <a:xfrm>
            <a:off x="5097204" y="4872868"/>
            <a:ext cx="1820887" cy="424732"/>
          </a:xfrm>
          <a:prstGeom prst="rect">
            <a:avLst/>
          </a:prstGeom>
          <a:noFill/>
        </p:spPr>
        <p:txBody>
          <a:bodyPr wrap="square" rtlCol="0">
            <a:spAutoFit/>
          </a:bodyPr>
          <a:lstStyle>
            <a:defPPr>
              <a:defRPr lang="en-US"/>
            </a:defPPr>
            <a:lvl1pPr eaLnBrk="1" fontAlgn="auto" hangingPunct="1">
              <a:spcBef>
                <a:spcPts val="0"/>
              </a:spcBef>
              <a:spcAft>
                <a:spcPts val="0"/>
              </a:spcAft>
              <a:defRPr sz="1000" b="1" i="1">
                <a:solidFill>
                  <a:srgbClr val="4D4D55"/>
                </a:solidFill>
                <a:latin typeface="+mn-lt"/>
              </a:defRPr>
            </a:lvl1pPr>
          </a:lstStyle>
          <a:p>
            <a:pPr algn="ctr" defTabSz="548640">
              <a:defRPr/>
            </a:pPr>
            <a:r>
              <a:rPr lang="en-US" sz="1080">
                <a:latin typeface="+mj-lt"/>
              </a:rPr>
              <a:t>Validation Solutions revenue target</a:t>
            </a:r>
          </a:p>
        </p:txBody>
      </p:sp>
      <p:sp>
        <p:nvSpPr>
          <p:cNvPr id="66" name="TextBox 65">
            <a:extLst>
              <a:ext uri="{FF2B5EF4-FFF2-40B4-BE49-F238E27FC236}">
                <a16:creationId xmlns:a16="http://schemas.microsoft.com/office/drawing/2014/main" id="{C0014600-AF30-5920-09DF-780D690ED8DA}"/>
              </a:ext>
            </a:extLst>
          </p:cNvPr>
          <p:cNvSpPr txBox="1"/>
          <p:nvPr/>
        </p:nvSpPr>
        <p:spPr>
          <a:xfrm>
            <a:off x="7068802" y="4872868"/>
            <a:ext cx="1820887" cy="424732"/>
          </a:xfrm>
          <a:prstGeom prst="rect">
            <a:avLst/>
          </a:prstGeom>
          <a:noFill/>
        </p:spPr>
        <p:txBody>
          <a:bodyPr wrap="square" rtlCol="0">
            <a:spAutoFit/>
          </a:bodyPr>
          <a:lstStyle>
            <a:defPPr>
              <a:defRPr lang="en-US"/>
            </a:defPPr>
            <a:lvl1pPr eaLnBrk="1" fontAlgn="auto" hangingPunct="1">
              <a:spcBef>
                <a:spcPts val="0"/>
              </a:spcBef>
              <a:spcAft>
                <a:spcPts val="0"/>
              </a:spcAft>
              <a:defRPr sz="1000" b="1" i="1">
                <a:solidFill>
                  <a:srgbClr val="4D4D55"/>
                </a:solidFill>
                <a:latin typeface="+mn-lt"/>
              </a:defRPr>
            </a:lvl1pPr>
          </a:lstStyle>
          <a:p>
            <a:pPr algn="ctr" defTabSz="548640">
              <a:defRPr/>
            </a:pPr>
            <a:r>
              <a:rPr lang="en-US" sz="1080">
                <a:latin typeface="+mj-lt"/>
              </a:rPr>
              <a:t>Monitoring Solutions revenue target</a:t>
            </a:r>
          </a:p>
        </p:txBody>
      </p:sp>
      <p:sp>
        <p:nvSpPr>
          <p:cNvPr id="67" name="TextBox 66">
            <a:extLst>
              <a:ext uri="{FF2B5EF4-FFF2-40B4-BE49-F238E27FC236}">
                <a16:creationId xmlns:a16="http://schemas.microsoft.com/office/drawing/2014/main" id="{6B23A26C-793A-F70B-CC93-7F70A3D106E1}"/>
              </a:ext>
            </a:extLst>
          </p:cNvPr>
          <p:cNvSpPr txBox="1"/>
          <p:nvPr/>
        </p:nvSpPr>
        <p:spPr>
          <a:xfrm>
            <a:off x="8992635" y="4872868"/>
            <a:ext cx="2204680" cy="424732"/>
          </a:xfrm>
          <a:prstGeom prst="rect">
            <a:avLst/>
          </a:prstGeom>
          <a:noFill/>
        </p:spPr>
        <p:txBody>
          <a:bodyPr wrap="square" rtlCol="0">
            <a:spAutoFit/>
          </a:bodyPr>
          <a:lstStyle>
            <a:defPPr>
              <a:defRPr lang="en-US"/>
            </a:defPPr>
            <a:lvl1pPr eaLnBrk="1" fontAlgn="auto" hangingPunct="1">
              <a:spcBef>
                <a:spcPts val="0"/>
              </a:spcBef>
              <a:spcAft>
                <a:spcPts val="0"/>
              </a:spcAft>
              <a:defRPr sz="1000" b="1" i="1">
                <a:solidFill>
                  <a:srgbClr val="4D4D55"/>
                </a:solidFill>
                <a:latin typeface="+mn-lt"/>
              </a:defRPr>
            </a:lvl1pPr>
          </a:lstStyle>
          <a:p>
            <a:pPr algn="ctr" defTabSz="548640">
              <a:defRPr/>
            </a:pPr>
            <a:r>
              <a:rPr lang="en-US" sz="1080">
                <a:latin typeface="+mj-lt"/>
              </a:rPr>
              <a:t>Field Service &amp; Consulting revenue target </a:t>
            </a:r>
          </a:p>
        </p:txBody>
      </p:sp>
      <p:sp>
        <p:nvSpPr>
          <p:cNvPr id="68" name="TextBox 67">
            <a:extLst>
              <a:ext uri="{FF2B5EF4-FFF2-40B4-BE49-F238E27FC236}">
                <a16:creationId xmlns:a16="http://schemas.microsoft.com/office/drawing/2014/main" id="{82F792CB-BB90-D0DF-F5B7-CC8A7F819EF6}"/>
              </a:ext>
            </a:extLst>
          </p:cNvPr>
          <p:cNvSpPr txBox="1"/>
          <p:nvPr/>
        </p:nvSpPr>
        <p:spPr>
          <a:xfrm>
            <a:off x="5228601" y="5262364"/>
            <a:ext cx="1549654" cy="609398"/>
          </a:xfrm>
          <a:prstGeom prst="rect">
            <a:avLst/>
          </a:prstGeom>
          <a:noFill/>
        </p:spPr>
        <p:txBody>
          <a:bodyPr wrap="square" lIns="109728" tIns="54864" rIns="109728" bIns="54864" rtlCol="0" anchor="t">
            <a:spAutoFit/>
          </a:bodyPr>
          <a:lstStyle/>
          <a:p>
            <a:pPr algn="ctr" defTabSz="548640" eaLnBrk="1" fontAlgn="auto" hangingPunct="1">
              <a:spcBef>
                <a:spcPts val="0"/>
              </a:spcBef>
              <a:spcAft>
                <a:spcPts val="0"/>
              </a:spcAft>
              <a:defRPr/>
            </a:pPr>
            <a:r>
              <a:rPr lang="en-US" sz="1080" b="1">
                <a:solidFill>
                  <a:srgbClr val="1F6898"/>
                </a:solidFill>
                <a:latin typeface="+mj-lt"/>
              </a:rPr>
              <a:t>DKK 0.9 bn</a:t>
            </a:r>
          </a:p>
          <a:p>
            <a:pPr algn="ctr" defTabSz="548640" eaLnBrk="1" fontAlgn="auto" hangingPunct="1">
              <a:spcBef>
                <a:spcPts val="0"/>
              </a:spcBef>
              <a:spcAft>
                <a:spcPts val="0"/>
              </a:spcAft>
              <a:defRPr/>
            </a:pPr>
            <a:r>
              <a:rPr lang="en-US" sz="1080">
                <a:solidFill>
                  <a:srgbClr val="1F6898"/>
                </a:solidFill>
                <a:latin typeface="+mj-lt"/>
              </a:rPr>
              <a:t>(€120m)</a:t>
            </a:r>
          </a:p>
          <a:p>
            <a:pPr algn="ctr" defTabSz="548640" eaLnBrk="1" fontAlgn="auto" hangingPunct="1">
              <a:spcBef>
                <a:spcPts val="0"/>
              </a:spcBef>
              <a:spcAft>
                <a:spcPts val="0"/>
              </a:spcAft>
              <a:defRPr/>
            </a:pPr>
            <a:r>
              <a:rPr lang="en-US" sz="1080" i="1">
                <a:solidFill>
                  <a:srgbClr val="1F6898"/>
                </a:solidFill>
                <a:latin typeface="+mj-lt"/>
              </a:rPr>
              <a:t>+16% growth p.a.</a:t>
            </a:r>
          </a:p>
        </p:txBody>
      </p:sp>
      <p:sp>
        <p:nvSpPr>
          <p:cNvPr id="69" name="TextBox 68">
            <a:extLst>
              <a:ext uri="{FF2B5EF4-FFF2-40B4-BE49-F238E27FC236}">
                <a16:creationId xmlns:a16="http://schemas.microsoft.com/office/drawing/2014/main" id="{B747E620-57EF-731E-DE92-620844467104}"/>
              </a:ext>
            </a:extLst>
          </p:cNvPr>
          <p:cNvSpPr txBox="1"/>
          <p:nvPr/>
        </p:nvSpPr>
        <p:spPr>
          <a:xfrm>
            <a:off x="7359528" y="5262364"/>
            <a:ext cx="1362629" cy="941796"/>
          </a:xfrm>
          <a:prstGeom prst="rect">
            <a:avLst/>
          </a:prstGeom>
          <a:noFill/>
        </p:spPr>
        <p:txBody>
          <a:bodyPr wrap="square" lIns="109728" tIns="54864" rIns="109728" bIns="54864" rtlCol="0" anchor="t">
            <a:spAutoFit/>
          </a:bodyPr>
          <a:lstStyle/>
          <a:p>
            <a:pPr algn="ctr" defTabSz="548640" eaLnBrk="1" fontAlgn="auto" hangingPunct="1">
              <a:spcBef>
                <a:spcPts val="0"/>
              </a:spcBef>
              <a:spcAft>
                <a:spcPts val="0"/>
              </a:spcAft>
              <a:defRPr/>
            </a:pPr>
            <a:r>
              <a:rPr lang="en-US" sz="1080" b="1">
                <a:solidFill>
                  <a:srgbClr val="1F6898"/>
                </a:solidFill>
                <a:latin typeface="+mj-lt"/>
              </a:rPr>
              <a:t>DKK 0.2 bn</a:t>
            </a:r>
            <a:endParaRPr lang="en-US" sz="1080">
              <a:solidFill>
                <a:srgbClr val="1F6898"/>
              </a:solidFill>
              <a:latin typeface="+mj-lt"/>
            </a:endParaRPr>
          </a:p>
          <a:p>
            <a:pPr algn="ctr" defTabSz="548640" eaLnBrk="1" fontAlgn="auto" hangingPunct="1">
              <a:spcBef>
                <a:spcPts val="0"/>
              </a:spcBef>
              <a:spcAft>
                <a:spcPts val="0"/>
              </a:spcAft>
              <a:defRPr/>
            </a:pPr>
            <a:r>
              <a:rPr lang="en-US" sz="1080">
                <a:solidFill>
                  <a:srgbClr val="1F6898"/>
                </a:solidFill>
                <a:latin typeface="+mj-lt"/>
              </a:rPr>
              <a:t>(€30m)</a:t>
            </a:r>
          </a:p>
          <a:p>
            <a:pPr algn="ctr" defTabSz="548640" eaLnBrk="1" fontAlgn="auto" hangingPunct="1">
              <a:spcBef>
                <a:spcPts val="0"/>
              </a:spcBef>
              <a:spcAft>
                <a:spcPts val="0"/>
              </a:spcAft>
              <a:defRPr/>
            </a:pPr>
            <a:r>
              <a:rPr lang="en-US" sz="1080" i="1">
                <a:solidFill>
                  <a:srgbClr val="1F6898"/>
                </a:solidFill>
                <a:latin typeface="+mj-lt"/>
              </a:rPr>
              <a:t>+40% growth p.a.</a:t>
            </a:r>
          </a:p>
          <a:p>
            <a:pPr algn="ctr" defTabSz="548640" eaLnBrk="1" fontAlgn="auto" hangingPunct="1">
              <a:spcBef>
                <a:spcPts val="0"/>
              </a:spcBef>
              <a:spcAft>
                <a:spcPts val="0"/>
              </a:spcAft>
              <a:defRPr/>
            </a:pPr>
            <a:endParaRPr lang="en-US" sz="1080">
              <a:solidFill>
                <a:srgbClr val="1F6898"/>
              </a:solidFill>
              <a:latin typeface="+mj-lt"/>
            </a:endParaRPr>
          </a:p>
        </p:txBody>
      </p:sp>
      <p:graphicFrame>
        <p:nvGraphicFramePr>
          <p:cNvPr id="94" name="Chart 93">
            <a:extLst>
              <a:ext uri="{FF2B5EF4-FFF2-40B4-BE49-F238E27FC236}">
                <a16:creationId xmlns:a16="http://schemas.microsoft.com/office/drawing/2014/main" id="{560BC2A7-1295-2D71-AB5A-199AA96E4693}"/>
              </a:ext>
            </a:extLst>
          </p:cNvPr>
          <p:cNvGraphicFramePr/>
          <p:nvPr>
            <p:custDataLst>
              <p:tags r:id="rId2"/>
            </p:custDataLst>
            <p:extLst>
              <p:ext uri="{D42A27DB-BD31-4B8C-83A1-F6EECF244321}">
                <p14:modId xmlns:p14="http://schemas.microsoft.com/office/powerpoint/2010/main" val="2885522858"/>
              </p:ext>
            </p:extLst>
          </p:nvPr>
        </p:nvGraphicFramePr>
        <p:xfrm>
          <a:off x="5751196" y="5846446"/>
          <a:ext cx="481964" cy="481964"/>
        </p:xfrm>
        <a:graphic>
          <a:graphicData uri="http://schemas.openxmlformats.org/drawingml/2006/chart">
            <c:chart xmlns:c="http://schemas.openxmlformats.org/drawingml/2006/chart" xmlns:r="http://schemas.openxmlformats.org/officeDocument/2006/relationships" r:id="rId24"/>
          </a:graphicData>
        </a:graphic>
      </p:graphicFrame>
      <p:sp>
        <p:nvSpPr>
          <p:cNvPr id="71" name="Rectangle 70">
            <a:extLst>
              <a:ext uri="{FF2B5EF4-FFF2-40B4-BE49-F238E27FC236}">
                <a16:creationId xmlns:a16="http://schemas.microsoft.com/office/drawing/2014/main" id="{3C4EF41C-BBC3-50F4-F3F7-781E3160A798}"/>
              </a:ext>
            </a:extLst>
          </p:cNvPr>
          <p:cNvSpPr/>
          <p:nvPr>
            <p:custDataLst>
              <p:tags r:id="rId3"/>
            </p:custDataLst>
          </p:nvPr>
        </p:nvSpPr>
        <p:spPr bwMode="gray">
          <a:xfrm>
            <a:off x="5758816" y="6035040"/>
            <a:ext cx="365760" cy="173356"/>
          </a:xfrm>
          <a:prstGeom prst="rect">
            <a:avLst/>
          </a:prstGeom>
          <a:solidFill>
            <a:schemeClr val="tx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860" tIns="0" rIns="22860" bIns="0" numCol="1" spcCol="0" rtlCol="0" anchor="ctr" anchorCtr="0">
            <a:noAutofit/>
          </a:bodyPr>
          <a:lstStyle/>
          <a:p>
            <a:pPr algn="ctr" defTabSz="548640">
              <a:lnSpc>
                <a:spcPct val="90000"/>
              </a:lnSpc>
              <a:defRPr/>
            </a:pPr>
            <a:fld id="{403BAFD5-8B5C-471A-900C-9BDB2BD7704F}" type="datetime'''''''''''''''''''''3''''''''''''''1''''%'''''">
              <a:rPr lang="en-US" altLang="en-US" sz="1260">
                <a:solidFill>
                  <a:srgbClr val="FFFFFF"/>
                </a:solidFill>
                <a:latin typeface="+mj-lt"/>
              </a:rPr>
              <a:pPr algn="ctr" defTabSz="548640">
                <a:lnSpc>
                  <a:spcPct val="90000"/>
                </a:lnSpc>
                <a:defRPr/>
              </a:pPr>
              <a:t>31%</a:t>
            </a:fld>
            <a:endParaRPr lang="en-US" sz="1260">
              <a:solidFill>
                <a:srgbClr val="FFFFFF"/>
              </a:solidFill>
              <a:latin typeface="+mj-lt"/>
            </a:endParaRPr>
          </a:p>
        </p:txBody>
      </p:sp>
      <p:graphicFrame>
        <p:nvGraphicFramePr>
          <p:cNvPr id="95" name="Chart 94">
            <a:extLst>
              <a:ext uri="{FF2B5EF4-FFF2-40B4-BE49-F238E27FC236}">
                <a16:creationId xmlns:a16="http://schemas.microsoft.com/office/drawing/2014/main" id="{4B876606-EA26-113A-F042-74210BCB2A86}"/>
              </a:ext>
            </a:extLst>
          </p:cNvPr>
          <p:cNvGraphicFramePr/>
          <p:nvPr>
            <p:custDataLst>
              <p:tags r:id="rId4"/>
            </p:custDataLst>
            <p:extLst>
              <p:ext uri="{D42A27DB-BD31-4B8C-83A1-F6EECF244321}">
                <p14:modId xmlns:p14="http://schemas.microsoft.com/office/powerpoint/2010/main" val="1301996310"/>
              </p:ext>
            </p:extLst>
          </p:nvPr>
        </p:nvGraphicFramePr>
        <p:xfrm>
          <a:off x="7799070" y="5831206"/>
          <a:ext cx="497206" cy="497204"/>
        </p:xfrm>
        <a:graphic>
          <a:graphicData uri="http://schemas.openxmlformats.org/drawingml/2006/chart">
            <c:chart xmlns:c="http://schemas.openxmlformats.org/drawingml/2006/chart" xmlns:r="http://schemas.openxmlformats.org/officeDocument/2006/relationships" r:id="rId25"/>
          </a:graphicData>
        </a:graphic>
      </p:graphicFrame>
      <p:sp>
        <p:nvSpPr>
          <p:cNvPr id="73" name="Rectangle 72">
            <a:extLst>
              <a:ext uri="{FF2B5EF4-FFF2-40B4-BE49-F238E27FC236}">
                <a16:creationId xmlns:a16="http://schemas.microsoft.com/office/drawing/2014/main" id="{A4B81B7E-617E-4215-A47B-FFBFC08790B3}"/>
              </a:ext>
            </a:extLst>
          </p:cNvPr>
          <p:cNvSpPr/>
          <p:nvPr>
            <p:custDataLst>
              <p:tags r:id="rId5"/>
            </p:custDataLst>
          </p:nvPr>
        </p:nvSpPr>
        <p:spPr bwMode="gray">
          <a:xfrm>
            <a:off x="7901940" y="6035040"/>
            <a:ext cx="272416" cy="173356"/>
          </a:xfrm>
          <a:prstGeom prst="rect">
            <a:avLst/>
          </a:prstGeom>
          <a:solidFill>
            <a:schemeClr val="tx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860" tIns="0" rIns="22860" bIns="0" numCol="1" spcCol="0" rtlCol="0" anchor="ctr" anchorCtr="0">
            <a:noAutofit/>
          </a:bodyPr>
          <a:lstStyle/>
          <a:p>
            <a:pPr algn="ctr" defTabSz="548640">
              <a:lnSpc>
                <a:spcPct val="90000"/>
              </a:lnSpc>
              <a:defRPr/>
            </a:pPr>
            <a:fld id="{58F6DF57-5CD1-4016-B85B-F3574D8743B0}" type="datetime'''7''%'''''''''''''''''''''''''">
              <a:rPr lang="en-US" altLang="en-US" sz="1260">
                <a:solidFill>
                  <a:srgbClr val="FFFFFF"/>
                </a:solidFill>
                <a:latin typeface="+mj-lt"/>
              </a:rPr>
              <a:pPr algn="ctr" defTabSz="548640">
                <a:lnSpc>
                  <a:spcPct val="90000"/>
                </a:lnSpc>
                <a:defRPr/>
              </a:pPr>
              <a:t>7%</a:t>
            </a:fld>
            <a:endParaRPr lang="en-US" sz="1260">
              <a:solidFill>
                <a:srgbClr val="FFFFFF"/>
              </a:solidFill>
              <a:latin typeface="+mj-lt"/>
            </a:endParaRPr>
          </a:p>
        </p:txBody>
      </p:sp>
      <p:graphicFrame>
        <p:nvGraphicFramePr>
          <p:cNvPr id="96" name="Chart 95">
            <a:extLst>
              <a:ext uri="{FF2B5EF4-FFF2-40B4-BE49-F238E27FC236}">
                <a16:creationId xmlns:a16="http://schemas.microsoft.com/office/drawing/2014/main" id="{DDB99867-8F7F-BF4D-6EBE-16A2BB470B0E}"/>
              </a:ext>
            </a:extLst>
          </p:cNvPr>
          <p:cNvGraphicFramePr/>
          <p:nvPr>
            <p:custDataLst>
              <p:tags r:id="rId6"/>
            </p:custDataLst>
            <p:extLst>
              <p:ext uri="{D42A27DB-BD31-4B8C-83A1-F6EECF244321}">
                <p14:modId xmlns:p14="http://schemas.microsoft.com/office/powerpoint/2010/main" val="2120976364"/>
              </p:ext>
            </p:extLst>
          </p:nvPr>
        </p:nvGraphicFramePr>
        <p:xfrm>
          <a:off x="9854566" y="5831206"/>
          <a:ext cx="497204" cy="497204"/>
        </p:xfrm>
        <a:graphic>
          <a:graphicData uri="http://schemas.openxmlformats.org/drawingml/2006/chart">
            <c:chart xmlns:c="http://schemas.openxmlformats.org/drawingml/2006/chart" xmlns:r="http://schemas.openxmlformats.org/officeDocument/2006/relationships" r:id="rId26"/>
          </a:graphicData>
        </a:graphic>
      </p:graphicFrame>
      <p:sp>
        <p:nvSpPr>
          <p:cNvPr id="75" name="Rectangle 74">
            <a:extLst>
              <a:ext uri="{FF2B5EF4-FFF2-40B4-BE49-F238E27FC236}">
                <a16:creationId xmlns:a16="http://schemas.microsoft.com/office/drawing/2014/main" id="{18D77F1F-668F-3D00-62BD-E96B42F42DF3}"/>
              </a:ext>
            </a:extLst>
          </p:cNvPr>
          <p:cNvSpPr/>
          <p:nvPr>
            <p:custDataLst>
              <p:tags r:id="rId7"/>
            </p:custDataLst>
          </p:nvPr>
        </p:nvSpPr>
        <p:spPr bwMode="gray">
          <a:xfrm>
            <a:off x="9869806" y="5974080"/>
            <a:ext cx="365760" cy="173356"/>
          </a:xfrm>
          <a:prstGeom prst="rect">
            <a:avLst/>
          </a:prstGeom>
          <a:solidFill>
            <a:schemeClr val="tx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860" tIns="0" rIns="22860" bIns="0" numCol="1" spcCol="0" rtlCol="0" anchor="ctr" anchorCtr="0">
            <a:noAutofit/>
          </a:bodyPr>
          <a:lstStyle/>
          <a:p>
            <a:pPr algn="ctr" defTabSz="548640">
              <a:lnSpc>
                <a:spcPct val="90000"/>
              </a:lnSpc>
              <a:defRPr/>
            </a:pPr>
            <a:fld id="{16EC728D-8EAF-4782-8040-B13A534C46A3}" type="datetime'''''''''''6''''''2%'''">
              <a:rPr lang="en-US" altLang="en-US" sz="1260">
                <a:solidFill>
                  <a:srgbClr val="FFFFFF"/>
                </a:solidFill>
                <a:latin typeface="+mj-lt"/>
              </a:rPr>
              <a:pPr algn="ctr" defTabSz="548640">
                <a:lnSpc>
                  <a:spcPct val="90000"/>
                </a:lnSpc>
                <a:defRPr/>
              </a:pPr>
              <a:t>62%</a:t>
            </a:fld>
            <a:endParaRPr lang="en-US" sz="1260">
              <a:solidFill>
                <a:srgbClr val="FFFFFF"/>
              </a:solidFill>
              <a:latin typeface="+mj-lt"/>
            </a:endParaRPr>
          </a:p>
        </p:txBody>
      </p:sp>
      <p:sp>
        <p:nvSpPr>
          <p:cNvPr id="76" name="TextBox 75">
            <a:extLst>
              <a:ext uri="{FF2B5EF4-FFF2-40B4-BE49-F238E27FC236}">
                <a16:creationId xmlns:a16="http://schemas.microsoft.com/office/drawing/2014/main" id="{901DDAAC-3239-3866-F0F5-6A206A5EC521}"/>
              </a:ext>
            </a:extLst>
          </p:cNvPr>
          <p:cNvSpPr txBox="1"/>
          <p:nvPr/>
        </p:nvSpPr>
        <p:spPr>
          <a:xfrm>
            <a:off x="2780560" y="3276874"/>
            <a:ext cx="1085281" cy="240066"/>
          </a:xfrm>
          <a:prstGeom prst="rect">
            <a:avLst/>
          </a:prstGeom>
          <a:noFill/>
        </p:spPr>
        <p:txBody>
          <a:bodyPr wrap="square" rtlCol="0">
            <a:spAutoFit/>
          </a:bodyPr>
          <a:lstStyle/>
          <a:p>
            <a:pPr defTabSz="548640" eaLnBrk="1" fontAlgn="auto" hangingPunct="1">
              <a:spcBef>
                <a:spcPts val="0"/>
              </a:spcBef>
              <a:spcAft>
                <a:spcPts val="0"/>
              </a:spcAft>
              <a:defRPr/>
            </a:pPr>
            <a:r>
              <a:rPr lang="en-US" sz="960" i="1">
                <a:solidFill>
                  <a:srgbClr val="F5F5F5">
                    <a:lumMod val="10000"/>
                  </a:srgbClr>
                </a:solidFill>
                <a:latin typeface="+mj-lt"/>
              </a:rPr>
              <a:t>~10% p.a.</a:t>
            </a:r>
          </a:p>
        </p:txBody>
      </p:sp>
      <p:sp>
        <p:nvSpPr>
          <p:cNvPr id="77" name="TextBox 76">
            <a:extLst>
              <a:ext uri="{FF2B5EF4-FFF2-40B4-BE49-F238E27FC236}">
                <a16:creationId xmlns:a16="http://schemas.microsoft.com/office/drawing/2014/main" id="{C3185E3E-1639-4CAB-5BFD-863D2E1B49EE}"/>
              </a:ext>
            </a:extLst>
          </p:cNvPr>
          <p:cNvSpPr txBox="1"/>
          <p:nvPr/>
        </p:nvSpPr>
        <p:spPr>
          <a:xfrm>
            <a:off x="3827905" y="3276874"/>
            <a:ext cx="1085281" cy="240066"/>
          </a:xfrm>
          <a:prstGeom prst="rect">
            <a:avLst/>
          </a:prstGeom>
          <a:noFill/>
        </p:spPr>
        <p:txBody>
          <a:bodyPr wrap="square" rtlCol="0">
            <a:spAutoFit/>
          </a:bodyPr>
          <a:lstStyle/>
          <a:p>
            <a:pPr defTabSz="548640" eaLnBrk="1" fontAlgn="auto" hangingPunct="1">
              <a:spcBef>
                <a:spcPts val="0"/>
              </a:spcBef>
              <a:spcAft>
                <a:spcPts val="0"/>
              </a:spcAft>
              <a:defRPr/>
            </a:pPr>
            <a:r>
              <a:rPr lang="en-US" sz="960" i="1">
                <a:solidFill>
                  <a:srgbClr val="F5F5F5">
                    <a:lumMod val="10000"/>
                  </a:srgbClr>
                </a:solidFill>
                <a:latin typeface="+mj-lt"/>
              </a:rPr>
              <a:t>~17% p.a.</a:t>
            </a:r>
          </a:p>
        </p:txBody>
      </p:sp>
      <p:sp>
        <p:nvSpPr>
          <p:cNvPr id="78" name="TextBox 77">
            <a:extLst>
              <a:ext uri="{FF2B5EF4-FFF2-40B4-BE49-F238E27FC236}">
                <a16:creationId xmlns:a16="http://schemas.microsoft.com/office/drawing/2014/main" id="{566DDB5E-F616-2400-F9AE-0980B97271F8}"/>
              </a:ext>
            </a:extLst>
          </p:cNvPr>
          <p:cNvSpPr txBox="1"/>
          <p:nvPr/>
        </p:nvSpPr>
        <p:spPr>
          <a:xfrm>
            <a:off x="5006620" y="3276874"/>
            <a:ext cx="1085281" cy="240066"/>
          </a:xfrm>
          <a:prstGeom prst="rect">
            <a:avLst/>
          </a:prstGeom>
          <a:noFill/>
        </p:spPr>
        <p:txBody>
          <a:bodyPr wrap="square" rtlCol="0">
            <a:spAutoFit/>
          </a:bodyPr>
          <a:lstStyle/>
          <a:p>
            <a:pPr defTabSz="548640" eaLnBrk="1" fontAlgn="auto" hangingPunct="1">
              <a:spcBef>
                <a:spcPts val="0"/>
              </a:spcBef>
              <a:spcAft>
                <a:spcPts val="0"/>
              </a:spcAft>
              <a:defRPr/>
            </a:pPr>
            <a:r>
              <a:rPr lang="en-US" sz="960" i="1">
                <a:solidFill>
                  <a:srgbClr val="F5F5F5">
                    <a:lumMod val="10000"/>
                  </a:srgbClr>
                </a:solidFill>
                <a:latin typeface="+mj-lt"/>
              </a:rPr>
              <a:t>~10% p.a.</a:t>
            </a:r>
          </a:p>
        </p:txBody>
      </p:sp>
      <p:sp>
        <p:nvSpPr>
          <p:cNvPr id="79" name="TextBox 78">
            <a:extLst>
              <a:ext uri="{FF2B5EF4-FFF2-40B4-BE49-F238E27FC236}">
                <a16:creationId xmlns:a16="http://schemas.microsoft.com/office/drawing/2014/main" id="{626600ED-B2E5-68E7-A4C8-89CCFD0CC8DD}"/>
              </a:ext>
            </a:extLst>
          </p:cNvPr>
          <p:cNvSpPr txBox="1"/>
          <p:nvPr/>
        </p:nvSpPr>
        <p:spPr>
          <a:xfrm>
            <a:off x="6270061" y="3276874"/>
            <a:ext cx="1085281" cy="240066"/>
          </a:xfrm>
          <a:prstGeom prst="rect">
            <a:avLst/>
          </a:prstGeom>
          <a:noFill/>
        </p:spPr>
        <p:txBody>
          <a:bodyPr wrap="square" rtlCol="0">
            <a:spAutoFit/>
          </a:bodyPr>
          <a:lstStyle/>
          <a:p>
            <a:pPr defTabSz="548640" eaLnBrk="1" fontAlgn="auto" hangingPunct="1">
              <a:spcBef>
                <a:spcPts val="0"/>
              </a:spcBef>
              <a:spcAft>
                <a:spcPts val="0"/>
              </a:spcAft>
              <a:defRPr/>
            </a:pPr>
            <a:r>
              <a:rPr lang="en-US" sz="960" i="1">
                <a:solidFill>
                  <a:srgbClr val="F5F5F5">
                    <a:lumMod val="10000"/>
                  </a:srgbClr>
                </a:solidFill>
                <a:latin typeface="+mj-lt"/>
              </a:rPr>
              <a:t>~13% p.a.</a:t>
            </a:r>
          </a:p>
        </p:txBody>
      </p:sp>
      <p:sp>
        <p:nvSpPr>
          <p:cNvPr id="80" name="TextBox 79">
            <a:extLst>
              <a:ext uri="{FF2B5EF4-FFF2-40B4-BE49-F238E27FC236}">
                <a16:creationId xmlns:a16="http://schemas.microsoft.com/office/drawing/2014/main" id="{8376BB36-2FDA-E1B0-2AA5-67E6953113C8}"/>
              </a:ext>
            </a:extLst>
          </p:cNvPr>
          <p:cNvSpPr txBox="1"/>
          <p:nvPr/>
        </p:nvSpPr>
        <p:spPr>
          <a:xfrm>
            <a:off x="9413465" y="5262364"/>
            <a:ext cx="1362629" cy="941796"/>
          </a:xfrm>
          <a:prstGeom prst="rect">
            <a:avLst/>
          </a:prstGeom>
          <a:noFill/>
        </p:spPr>
        <p:txBody>
          <a:bodyPr wrap="square" lIns="109728" tIns="54864" rIns="109728" bIns="54864" rtlCol="0" anchor="t">
            <a:spAutoFit/>
          </a:bodyPr>
          <a:lstStyle/>
          <a:p>
            <a:pPr algn="ctr" defTabSz="548640" eaLnBrk="1" fontAlgn="auto" hangingPunct="1">
              <a:spcBef>
                <a:spcPts val="0"/>
              </a:spcBef>
              <a:spcAft>
                <a:spcPts val="0"/>
              </a:spcAft>
              <a:defRPr/>
            </a:pPr>
            <a:r>
              <a:rPr lang="en-US" sz="1080" b="1">
                <a:solidFill>
                  <a:srgbClr val="1F6898"/>
                </a:solidFill>
                <a:latin typeface="+mj-lt"/>
              </a:rPr>
              <a:t>DKK 1.7 bn</a:t>
            </a:r>
            <a:endParaRPr lang="en-US" sz="1080">
              <a:solidFill>
                <a:srgbClr val="1F6898"/>
              </a:solidFill>
              <a:latin typeface="+mj-lt"/>
            </a:endParaRPr>
          </a:p>
          <a:p>
            <a:pPr algn="ctr" defTabSz="548640" eaLnBrk="1" fontAlgn="auto" hangingPunct="1">
              <a:spcBef>
                <a:spcPts val="0"/>
              </a:spcBef>
              <a:spcAft>
                <a:spcPts val="0"/>
              </a:spcAft>
              <a:defRPr/>
            </a:pPr>
            <a:r>
              <a:rPr lang="en-US" sz="1080">
                <a:solidFill>
                  <a:srgbClr val="1F6898"/>
                </a:solidFill>
                <a:latin typeface="+mj-lt"/>
              </a:rPr>
              <a:t>(€240m)</a:t>
            </a:r>
          </a:p>
          <a:p>
            <a:pPr algn="ctr" defTabSz="548640" eaLnBrk="1" fontAlgn="auto" hangingPunct="1">
              <a:spcBef>
                <a:spcPts val="0"/>
              </a:spcBef>
              <a:spcAft>
                <a:spcPts val="0"/>
              </a:spcAft>
              <a:defRPr/>
            </a:pPr>
            <a:r>
              <a:rPr lang="en-US" sz="1080" i="1">
                <a:solidFill>
                  <a:srgbClr val="1F6898"/>
                </a:solidFill>
                <a:latin typeface="+mj-lt"/>
              </a:rPr>
              <a:t>+36% growth p.a.</a:t>
            </a:r>
          </a:p>
          <a:p>
            <a:pPr algn="ctr" defTabSz="548640" eaLnBrk="1" fontAlgn="auto" hangingPunct="1">
              <a:spcBef>
                <a:spcPts val="0"/>
              </a:spcBef>
              <a:spcAft>
                <a:spcPts val="0"/>
              </a:spcAft>
              <a:defRPr/>
            </a:pPr>
            <a:endParaRPr lang="en-US" sz="1080">
              <a:solidFill>
                <a:srgbClr val="1F6898"/>
              </a:solidFill>
              <a:latin typeface="+mj-lt"/>
            </a:endParaRPr>
          </a:p>
        </p:txBody>
      </p:sp>
      <p:sp>
        <p:nvSpPr>
          <p:cNvPr id="81" name="TextBox 80">
            <a:extLst>
              <a:ext uri="{FF2B5EF4-FFF2-40B4-BE49-F238E27FC236}">
                <a16:creationId xmlns:a16="http://schemas.microsoft.com/office/drawing/2014/main" id="{B7830EC9-1E1D-D65F-0ACE-7880C62EBDED}"/>
              </a:ext>
            </a:extLst>
          </p:cNvPr>
          <p:cNvSpPr txBox="1"/>
          <p:nvPr/>
        </p:nvSpPr>
        <p:spPr>
          <a:xfrm>
            <a:off x="2623910" y="4339523"/>
            <a:ext cx="1176504" cy="406265"/>
          </a:xfrm>
          <a:prstGeom prst="rect">
            <a:avLst/>
          </a:prstGeom>
          <a:noFill/>
        </p:spPr>
        <p:txBody>
          <a:bodyPr wrap="square" lIns="0" tIns="0" rIns="0" bIns="0" rtlCol="0">
            <a:spAutoFit/>
          </a:bodyPr>
          <a:lstStyle/>
          <a:p>
            <a:pPr algn="ctr" defTabSz="548640">
              <a:defRPr/>
            </a:pPr>
            <a:r>
              <a:rPr lang="en-US" sz="1320">
                <a:solidFill>
                  <a:srgbClr val="1F6898">
                    <a:lumMod val="75000"/>
                  </a:srgbClr>
                </a:solidFill>
                <a:latin typeface="+mj-lt"/>
              </a:rPr>
              <a:t>Mature Field </a:t>
            </a:r>
            <a:br>
              <a:rPr lang="en-US" sz="1320">
                <a:solidFill>
                  <a:srgbClr val="1F6898">
                    <a:lumMod val="75000"/>
                  </a:srgbClr>
                </a:solidFill>
                <a:latin typeface="+mj-lt"/>
              </a:rPr>
            </a:br>
            <a:r>
              <a:rPr lang="en-US" sz="1320">
                <a:solidFill>
                  <a:srgbClr val="1F6898">
                    <a:lumMod val="75000"/>
                  </a:srgbClr>
                </a:solidFill>
                <a:latin typeface="+mj-lt"/>
              </a:rPr>
              <a:t>Services</a:t>
            </a:r>
          </a:p>
        </p:txBody>
      </p:sp>
      <p:sp>
        <p:nvSpPr>
          <p:cNvPr id="82" name="TextBox 81">
            <a:extLst>
              <a:ext uri="{FF2B5EF4-FFF2-40B4-BE49-F238E27FC236}">
                <a16:creationId xmlns:a16="http://schemas.microsoft.com/office/drawing/2014/main" id="{044043AD-4EF0-285A-98BE-4516B8BB5C9C}"/>
              </a:ext>
            </a:extLst>
          </p:cNvPr>
          <p:cNvSpPr txBox="1"/>
          <p:nvPr/>
        </p:nvSpPr>
        <p:spPr>
          <a:xfrm>
            <a:off x="3871551" y="4339523"/>
            <a:ext cx="1163927" cy="609398"/>
          </a:xfrm>
          <a:prstGeom prst="rect">
            <a:avLst/>
          </a:prstGeom>
          <a:noFill/>
        </p:spPr>
        <p:txBody>
          <a:bodyPr wrap="square" lIns="0" tIns="0" rIns="0" bIns="0" rtlCol="0">
            <a:spAutoFit/>
          </a:bodyPr>
          <a:lstStyle/>
          <a:p>
            <a:pPr algn="ctr" defTabSz="548640">
              <a:defRPr/>
            </a:pPr>
            <a:r>
              <a:rPr lang="en-US" sz="1320">
                <a:solidFill>
                  <a:srgbClr val="1F6898">
                    <a:lumMod val="75000"/>
                  </a:srgbClr>
                </a:solidFill>
                <a:latin typeface="+mj-lt"/>
              </a:rPr>
              <a:t>Grow BioPharma coverage</a:t>
            </a:r>
          </a:p>
        </p:txBody>
      </p:sp>
      <p:sp>
        <p:nvSpPr>
          <p:cNvPr id="83" name="TextBox 82">
            <a:extLst>
              <a:ext uri="{FF2B5EF4-FFF2-40B4-BE49-F238E27FC236}">
                <a16:creationId xmlns:a16="http://schemas.microsoft.com/office/drawing/2014/main" id="{4D15E2FA-27A1-0EDE-3E0D-074DBC93D585}"/>
              </a:ext>
            </a:extLst>
          </p:cNvPr>
          <p:cNvSpPr txBox="1"/>
          <p:nvPr/>
        </p:nvSpPr>
        <p:spPr>
          <a:xfrm>
            <a:off x="5101687" y="4339523"/>
            <a:ext cx="1186362" cy="609398"/>
          </a:xfrm>
          <a:prstGeom prst="rect">
            <a:avLst/>
          </a:prstGeom>
          <a:noFill/>
        </p:spPr>
        <p:txBody>
          <a:bodyPr wrap="square" lIns="0" tIns="0" rIns="0" bIns="0" rtlCol="0">
            <a:spAutoFit/>
          </a:bodyPr>
          <a:lstStyle/>
          <a:p>
            <a:pPr algn="ctr" defTabSz="548640">
              <a:defRPr/>
            </a:pPr>
            <a:r>
              <a:rPr lang="en-US" sz="1320">
                <a:solidFill>
                  <a:srgbClr val="1F6898">
                    <a:lumMod val="75000"/>
                  </a:srgbClr>
                </a:solidFill>
                <a:latin typeface="+mj-lt"/>
              </a:rPr>
              <a:t>Build Monitoring Position</a:t>
            </a:r>
          </a:p>
        </p:txBody>
      </p:sp>
      <p:sp>
        <p:nvSpPr>
          <p:cNvPr id="84" name="TextBox 83">
            <a:extLst>
              <a:ext uri="{FF2B5EF4-FFF2-40B4-BE49-F238E27FC236}">
                <a16:creationId xmlns:a16="http://schemas.microsoft.com/office/drawing/2014/main" id="{85679796-E433-29B9-403E-ACF667A5F3D9}"/>
              </a:ext>
            </a:extLst>
          </p:cNvPr>
          <p:cNvSpPr txBox="1"/>
          <p:nvPr/>
        </p:nvSpPr>
        <p:spPr>
          <a:xfrm>
            <a:off x="6357126" y="4339523"/>
            <a:ext cx="1158188" cy="203133"/>
          </a:xfrm>
          <a:prstGeom prst="rect">
            <a:avLst/>
          </a:prstGeom>
          <a:noFill/>
        </p:spPr>
        <p:txBody>
          <a:bodyPr wrap="square" lIns="0" tIns="0" rIns="0" bIns="0" rtlCol="0">
            <a:spAutoFit/>
          </a:bodyPr>
          <a:lstStyle/>
          <a:p>
            <a:pPr algn="ctr" defTabSz="548640">
              <a:defRPr/>
            </a:pPr>
            <a:r>
              <a:rPr lang="en-US" sz="1320">
                <a:solidFill>
                  <a:srgbClr val="1F6898">
                    <a:lumMod val="75000"/>
                  </a:srgbClr>
                </a:solidFill>
                <a:latin typeface="+mj-lt"/>
              </a:rPr>
              <a:t>Win in Asia</a:t>
            </a:r>
          </a:p>
        </p:txBody>
      </p:sp>
      <p:sp>
        <p:nvSpPr>
          <p:cNvPr id="85" name="TextBox 84">
            <a:extLst>
              <a:ext uri="{FF2B5EF4-FFF2-40B4-BE49-F238E27FC236}">
                <a16:creationId xmlns:a16="http://schemas.microsoft.com/office/drawing/2014/main" id="{7D0FC3BC-989A-74AA-E90D-CEFBCA32CCFE}"/>
              </a:ext>
            </a:extLst>
          </p:cNvPr>
          <p:cNvSpPr txBox="1"/>
          <p:nvPr/>
        </p:nvSpPr>
        <p:spPr>
          <a:xfrm>
            <a:off x="7591433" y="4339523"/>
            <a:ext cx="1172275" cy="406265"/>
          </a:xfrm>
          <a:prstGeom prst="rect">
            <a:avLst/>
          </a:prstGeom>
          <a:noFill/>
        </p:spPr>
        <p:txBody>
          <a:bodyPr wrap="square" lIns="0" tIns="0" rIns="0" bIns="0" rtlCol="0">
            <a:spAutoFit/>
          </a:bodyPr>
          <a:lstStyle/>
          <a:p>
            <a:pPr algn="ctr" defTabSz="548640">
              <a:defRPr/>
            </a:pPr>
            <a:r>
              <a:rPr lang="en-US" sz="1320">
                <a:solidFill>
                  <a:srgbClr val="1F6898">
                    <a:lumMod val="75000"/>
                  </a:srgbClr>
                </a:solidFill>
                <a:latin typeface="+mj-lt"/>
              </a:rPr>
              <a:t>Strengthen Finance &amp; IT</a:t>
            </a:r>
          </a:p>
        </p:txBody>
      </p:sp>
      <p:sp>
        <p:nvSpPr>
          <p:cNvPr id="86" name="TextBox 85">
            <a:extLst>
              <a:ext uri="{FF2B5EF4-FFF2-40B4-BE49-F238E27FC236}">
                <a16:creationId xmlns:a16="http://schemas.microsoft.com/office/drawing/2014/main" id="{2235A793-A2B5-9FF7-4F65-6D7FC81707DE}"/>
              </a:ext>
            </a:extLst>
          </p:cNvPr>
          <p:cNvSpPr txBox="1"/>
          <p:nvPr/>
        </p:nvSpPr>
        <p:spPr>
          <a:xfrm>
            <a:off x="8832785" y="4339523"/>
            <a:ext cx="1172275" cy="406265"/>
          </a:xfrm>
          <a:prstGeom prst="rect">
            <a:avLst/>
          </a:prstGeom>
          <a:noFill/>
        </p:spPr>
        <p:txBody>
          <a:bodyPr wrap="square" lIns="0" tIns="0" rIns="0" bIns="0" rtlCol="0">
            <a:spAutoFit/>
          </a:bodyPr>
          <a:lstStyle/>
          <a:p>
            <a:pPr algn="ctr" defTabSz="548640">
              <a:defRPr/>
            </a:pPr>
            <a:r>
              <a:rPr lang="en-US" sz="1320">
                <a:solidFill>
                  <a:srgbClr val="1F6898">
                    <a:lumMod val="75000"/>
                  </a:srgbClr>
                </a:solidFill>
                <a:latin typeface="+mj-lt"/>
              </a:rPr>
              <a:t>People &amp; leadership</a:t>
            </a:r>
          </a:p>
        </p:txBody>
      </p:sp>
      <p:pic>
        <p:nvPicPr>
          <p:cNvPr id="87" name="Graphic 86" descr="Plant with solid fill">
            <a:extLst>
              <a:ext uri="{FF2B5EF4-FFF2-40B4-BE49-F238E27FC236}">
                <a16:creationId xmlns:a16="http://schemas.microsoft.com/office/drawing/2014/main" id="{7CE415D3-9DB6-AE46-38A6-0F5FFE87501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290488" y="4021381"/>
            <a:ext cx="326050" cy="326050"/>
          </a:xfrm>
          <a:prstGeom prst="rect">
            <a:avLst/>
          </a:prstGeom>
        </p:spPr>
      </p:pic>
      <p:pic>
        <p:nvPicPr>
          <p:cNvPr id="88" name="Graphic 87" descr="Watering pot outline">
            <a:extLst>
              <a:ext uri="{FF2B5EF4-FFF2-40B4-BE49-F238E27FC236}">
                <a16:creationId xmlns:a16="http://schemas.microsoft.com/office/drawing/2014/main" id="{BDB5565D-2C4A-C807-E23D-E723B8C8A086}"/>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3032633" y="3880417"/>
            <a:ext cx="535346" cy="535346"/>
          </a:xfrm>
          <a:prstGeom prst="rect">
            <a:avLst/>
          </a:prstGeom>
        </p:spPr>
      </p:pic>
      <p:pic>
        <p:nvPicPr>
          <p:cNvPr id="89" name="Graphic 88" descr="Magnifying glass with solid fill">
            <a:extLst>
              <a:ext uri="{FF2B5EF4-FFF2-40B4-BE49-F238E27FC236}">
                <a16:creationId xmlns:a16="http://schemas.microsoft.com/office/drawing/2014/main" id="{24A4D363-4F33-1834-0F79-35DCC2C5BB5E}"/>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28668" y="4034458"/>
            <a:ext cx="332399" cy="332399"/>
          </a:xfrm>
          <a:prstGeom prst="rect">
            <a:avLst/>
          </a:prstGeom>
        </p:spPr>
      </p:pic>
      <p:pic>
        <p:nvPicPr>
          <p:cNvPr id="90" name="Graphic 89" descr="Medal with solid fill">
            <a:extLst>
              <a:ext uri="{FF2B5EF4-FFF2-40B4-BE49-F238E27FC236}">
                <a16:creationId xmlns:a16="http://schemas.microsoft.com/office/drawing/2014/main" id="{63EFCA05-8604-3918-B11F-E09CFF0D541D}"/>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6737827" y="3986958"/>
            <a:ext cx="396782" cy="396782"/>
          </a:xfrm>
          <a:prstGeom prst="rect">
            <a:avLst/>
          </a:prstGeom>
        </p:spPr>
      </p:pic>
      <p:pic>
        <p:nvPicPr>
          <p:cNvPr id="91" name="Graphic 90" descr="Supply And Demand outline">
            <a:extLst>
              <a:ext uri="{FF2B5EF4-FFF2-40B4-BE49-F238E27FC236}">
                <a16:creationId xmlns:a16="http://schemas.microsoft.com/office/drawing/2014/main" id="{D6C86D8E-776F-41E2-7BCD-3C144224BB9A}"/>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7951648" y="3944645"/>
            <a:ext cx="451847" cy="451847"/>
          </a:xfrm>
          <a:prstGeom prst="rect">
            <a:avLst/>
          </a:prstGeom>
        </p:spPr>
      </p:pic>
      <p:pic>
        <p:nvPicPr>
          <p:cNvPr id="92" name="Graphic 91" descr="Group success with solid fill">
            <a:extLst>
              <a:ext uri="{FF2B5EF4-FFF2-40B4-BE49-F238E27FC236}">
                <a16:creationId xmlns:a16="http://schemas.microsoft.com/office/drawing/2014/main" id="{0194BB18-BB7F-F949-446F-B6E381A7A196}"/>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9204901" y="3955955"/>
            <a:ext cx="428046" cy="428046"/>
          </a:xfrm>
          <a:prstGeom prst="rect">
            <a:avLst/>
          </a:prstGeom>
        </p:spPr>
      </p:pic>
      <p:sp>
        <p:nvSpPr>
          <p:cNvPr id="72" name="TextBox 71">
            <a:extLst>
              <a:ext uri="{FF2B5EF4-FFF2-40B4-BE49-F238E27FC236}">
                <a16:creationId xmlns:a16="http://schemas.microsoft.com/office/drawing/2014/main" id="{E385C8C1-E5E8-7312-0439-4DE2FB3F1AB6}"/>
              </a:ext>
            </a:extLst>
          </p:cNvPr>
          <p:cNvSpPr txBox="1"/>
          <p:nvPr/>
        </p:nvSpPr>
        <p:spPr>
          <a:xfrm>
            <a:off x="9962770" y="4339523"/>
            <a:ext cx="1172275" cy="406265"/>
          </a:xfrm>
          <a:prstGeom prst="rect">
            <a:avLst/>
          </a:prstGeom>
          <a:noFill/>
        </p:spPr>
        <p:txBody>
          <a:bodyPr wrap="square" lIns="0" tIns="0" rIns="0" bIns="0" rtlCol="0">
            <a:spAutoFit/>
          </a:bodyPr>
          <a:lstStyle/>
          <a:p>
            <a:pPr algn="ctr" defTabSz="548640">
              <a:defRPr/>
            </a:pPr>
            <a:r>
              <a:rPr lang="en-US" sz="1320">
                <a:solidFill>
                  <a:srgbClr val="1F6898">
                    <a:lumMod val="75000"/>
                  </a:srgbClr>
                </a:solidFill>
                <a:latin typeface="+mj-lt"/>
              </a:rPr>
              <a:t>Technology </a:t>
            </a:r>
            <a:br>
              <a:rPr lang="en-US" sz="1320">
                <a:solidFill>
                  <a:srgbClr val="1F6898">
                    <a:lumMod val="75000"/>
                  </a:srgbClr>
                </a:solidFill>
                <a:latin typeface="+mj-lt"/>
              </a:rPr>
            </a:br>
            <a:r>
              <a:rPr lang="en-US" sz="1320">
                <a:solidFill>
                  <a:srgbClr val="1F6898">
                    <a:lumMod val="75000"/>
                  </a:srgbClr>
                </a:solidFill>
                <a:latin typeface="+mj-lt"/>
              </a:rPr>
              <a:t>leadership</a:t>
            </a:r>
          </a:p>
        </p:txBody>
      </p:sp>
      <p:grpSp>
        <p:nvGrpSpPr>
          <p:cNvPr id="105" name="Group 104">
            <a:extLst>
              <a:ext uri="{FF2B5EF4-FFF2-40B4-BE49-F238E27FC236}">
                <a16:creationId xmlns:a16="http://schemas.microsoft.com/office/drawing/2014/main" id="{19BD2E9F-6339-6259-8BF7-0B5A551E6E91}"/>
              </a:ext>
            </a:extLst>
          </p:cNvPr>
          <p:cNvGrpSpPr/>
          <p:nvPr/>
        </p:nvGrpSpPr>
        <p:grpSpPr>
          <a:xfrm>
            <a:off x="10347660" y="3931689"/>
            <a:ext cx="402494" cy="402494"/>
            <a:chOff x="8010952" y="3018470"/>
            <a:chExt cx="584200" cy="584200"/>
          </a:xfrm>
        </p:grpSpPr>
        <p:pic>
          <p:nvPicPr>
            <p:cNvPr id="100" name="Graphic 99" descr="Crown outline">
              <a:extLst>
                <a:ext uri="{FF2B5EF4-FFF2-40B4-BE49-F238E27FC236}">
                  <a16:creationId xmlns:a16="http://schemas.microsoft.com/office/drawing/2014/main" id="{5E2DA9BF-F692-EA6D-5A51-60F4AEBD835F}"/>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8010952" y="3018470"/>
              <a:ext cx="584200" cy="584200"/>
            </a:xfrm>
            <a:prstGeom prst="rect">
              <a:avLst/>
            </a:prstGeom>
          </p:spPr>
        </p:pic>
        <p:pic>
          <p:nvPicPr>
            <p:cNvPr id="104" name="Graphic 103" descr="Single gear with solid fill">
              <a:extLst>
                <a:ext uri="{FF2B5EF4-FFF2-40B4-BE49-F238E27FC236}">
                  <a16:creationId xmlns:a16="http://schemas.microsoft.com/office/drawing/2014/main" id="{0853C08F-D84C-1136-29CB-4E758D572E28}"/>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8195279" y="3271457"/>
              <a:ext cx="215546" cy="215548"/>
            </a:xfrm>
            <a:prstGeom prst="rect">
              <a:avLst/>
            </a:prstGeom>
          </p:spPr>
        </p:pic>
      </p:grpSp>
    </p:spTree>
    <p:extLst>
      <p:ext uri="{BB962C8B-B14F-4D97-AF65-F5344CB8AC3E}">
        <p14:creationId xmlns:p14="http://schemas.microsoft.com/office/powerpoint/2010/main" val="23762696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0D20701-8187-8C39-86E4-FEDE0824BD8F}"/>
              </a:ext>
            </a:extLst>
          </p:cNvPr>
          <p:cNvSpPr>
            <a:spLocks noGrp="1"/>
          </p:cNvSpPr>
          <p:nvPr>
            <p:ph type="body" sz="half" idx="10"/>
          </p:nvPr>
        </p:nvSpPr>
        <p:spPr/>
        <p:txBody>
          <a:bodyPr/>
          <a:lstStyle/>
          <a:p>
            <a:endParaRPr lang="en-US"/>
          </a:p>
        </p:txBody>
      </p:sp>
      <p:sp>
        <p:nvSpPr>
          <p:cNvPr id="7" name="Title 6">
            <a:extLst>
              <a:ext uri="{FF2B5EF4-FFF2-40B4-BE49-F238E27FC236}">
                <a16:creationId xmlns:a16="http://schemas.microsoft.com/office/drawing/2014/main" id="{4797F65E-0659-9B44-2830-BA4FA350E5D2}"/>
              </a:ext>
            </a:extLst>
          </p:cNvPr>
          <p:cNvSpPr>
            <a:spLocks noGrp="1"/>
          </p:cNvSpPr>
          <p:nvPr>
            <p:ph type="title"/>
          </p:nvPr>
        </p:nvSpPr>
        <p:spPr/>
        <p:txBody>
          <a:bodyPr/>
          <a:lstStyle/>
          <a:p>
            <a:endParaRPr lang="en-US"/>
          </a:p>
        </p:txBody>
      </p:sp>
      <p:sp>
        <p:nvSpPr>
          <p:cNvPr id="8" name="Text Placeholder 7">
            <a:extLst>
              <a:ext uri="{FF2B5EF4-FFF2-40B4-BE49-F238E27FC236}">
                <a16:creationId xmlns:a16="http://schemas.microsoft.com/office/drawing/2014/main" id="{16D54466-C5FE-1A27-8879-593D1661AA7A}"/>
              </a:ext>
            </a:extLst>
          </p:cNvPr>
          <p:cNvSpPr>
            <a:spLocks noGrp="1"/>
          </p:cNvSpPr>
          <p:nvPr>
            <p:ph type="body" sz="half" idx="2"/>
          </p:nvPr>
        </p:nvSpPr>
        <p:spPr/>
        <p:txBody>
          <a:bodyPr/>
          <a:lstStyle/>
          <a:p>
            <a:endParaRPr lang="en-US"/>
          </a:p>
        </p:txBody>
      </p:sp>
      <p:sp>
        <p:nvSpPr>
          <p:cNvPr id="14" name="Rectangle 18">
            <a:extLst>
              <a:ext uri="{FF2B5EF4-FFF2-40B4-BE49-F238E27FC236}">
                <a16:creationId xmlns:a16="http://schemas.microsoft.com/office/drawing/2014/main" id="{FDE65D12-01AB-2DC4-641B-E3F5CD8948F8}"/>
              </a:ext>
            </a:extLst>
          </p:cNvPr>
          <p:cNvSpPr/>
          <p:nvPr/>
        </p:nvSpPr>
        <p:spPr>
          <a:xfrm>
            <a:off x="4283875" y="533411"/>
            <a:ext cx="4291117" cy="6026268"/>
          </a:xfrm>
          <a:custGeom>
            <a:avLst/>
            <a:gdLst>
              <a:gd name="connsiteX0" fmla="*/ 0 w 4291117"/>
              <a:gd name="connsiteY0" fmla="*/ 0 h 6026268"/>
              <a:gd name="connsiteX1" fmla="*/ 4291117 w 4291117"/>
              <a:gd name="connsiteY1" fmla="*/ 0 h 6026268"/>
              <a:gd name="connsiteX2" fmla="*/ 4291117 w 4291117"/>
              <a:gd name="connsiteY2" fmla="*/ 6026268 h 6026268"/>
              <a:gd name="connsiteX3" fmla="*/ 0 w 4291117"/>
              <a:gd name="connsiteY3" fmla="*/ 6026268 h 6026268"/>
              <a:gd name="connsiteX4" fmla="*/ 0 w 4291117"/>
              <a:gd name="connsiteY4" fmla="*/ 0 h 6026268"/>
              <a:gd name="connsiteX0" fmla="*/ 0 w 4291117"/>
              <a:gd name="connsiteY0" fmla="*/ 0 h 6026268"/>
              <a:gd name="connsiteX1" fmla="*/ 4291117 w 4291117"/>
              <a:gd name="connsiteY1" fmla="*/ 0 h 6026268"/>
              <a:gd name="connsiteX2" fmla="*/ 4284491 w 4291117"/>
              <a:gd name="connsiteY2" fmla="*/ 3230060 h 6026268"/>
              <a:gd name="connsiteX3" fmla="*/ 0 w 4291117"/>
              <a:gd name="connsiteY3" fmla="*/ 6026268 h 6026268"/>
              <a:gd name="connsiteX4" fmla="*/ 0 w 4291117"/>
              <a:gd name="connsiteY4" fmla="*/ 0 h 6026268"/>
              <a:gd name="connsiteX0" fmla="*/ 0 w 4291117"/>
              <a:gd name="connsiteY0" fmla="*/ 0 h 6026268"/>
              <a:gd name="connsiteX1" fmla="*/ 4291117 w 4291117"/>
              <a:gd name="connsiteY1" fmla="*/ 0 h 6026268"/>
              <a:gd name="connsiteX2" fmla="*/ 4284491 w 4291117"/>
              <a:gd name="connsiteY2" fmla="*/ 3004773 h 6026268"/>
              <a:gd name="connsiteX3" fmla="*/ 0 w 4291117"/>
              <a:gd name="connsiteY3" fmla="*/ 6026268 h 6026268"/>
              <a:gd name="connsiteX4" fmla="*/ 0 w 4291117"/>
              <a:gd name="connsiteY4" fmla="*/ 0 h 6026268"/>
              <a:gd name="connsiteX0" fmla="*/ 0 w 4291117"/>
              <a:gd name="connsiteY0" fmla="*/ 0 h 6026268"/>
              <a:gd name="connsiteX1" fmla="*/ 4291117 w 4291117"/>
              <a:gd name="connsiteY1" fmla="*/ 0 h 6026268"/>
              <a:gd name="connsiteX2" fmla="*/ 4284491 w 4291117"/>
              <a:gd name="connsiteY2" fmla="*/ 3216808 h 6026268"/>
              <a:gd name="connsiteX3" fmla="*/ 0 w 4291117"/>
              <a:gd name="connsiteY3" fmla="*/ 6026268 h 6026268"/>
              <a:gd name="connsiteX4" fmla="*/ 0 w 4291117"/>
              <a:gd name="connsiteY4" fmla="*/ 0 h 6026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117" h="6026268">
                <a:moveTo>
                  <a:pt x="0" y="0"/>
                </a:moveTo>
                <a:lnTo>
                  <a:pt x="4291117" y="0"/>
                </a:lnTo>
                <a:cubicBezTo>
                  <a:pt x="4288908" y="1076687"/>
                  <a:pt x="4286700" y="2140121"/>
                  <a:pt x="4284491" y="3216808"/>
                </a:cubicBezTo>
                <a:lnTo>
                  <a:pt x="0" y="6026268"/>
                </a:lnTo>
                <a:lnTo>
                  <a:pt x="0"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spTree>
    <p:extLst>
      <p:ext uri="{BB962C8B-B14F-4D97-AF65-F5344CB8AC3E}">
        <p14:creationId xmlns:p14="http://schemas.microsoft.com/office/powerpoint/2010/main" val="314909770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66955152-17A9-2EDD-3B02-721C8C500F40}"/>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5171395E-A2AB-FE2B-ECE7-C388B433FD3F}"/>
              </a:ext>
            </a:extLst>
          </p:cNvPr>
          <p:cNvSpPr/>
          <p:nvPr/>
        </p:nvSpPr>
        <p:spPr>
          <a:xfrm>
            <a:off x="6718048" y="1875017"/>
            <a:ext cx="4225904" cy="3100344"/>
          </a:xfrm>
          <a:prstGeom prst="roundRect">
            <a:avLst>
              <a:gd name="adj" fmla="val 4392"/>
            </a:avLst>
          </a:prstGeom>
          <a:gradFill>
            <a:gsLst>
              <a:gs pos="0">
                <a:schemeClr val="accent1">
                  <a:lumMod val="5000"/>
                  <a:lumOff val="95000"/>
                  <a:alpha val="0"/>
                </a:schemeClr>
              </a:gs>
              <a:gs pos="100000">
                <a:schemeClr val="accent1">
                  <a:alpha val="52000"/>
                </a:schemeClr>
              </a:gs>
            </a:gsLst>
            <a:lin ang="2700000" scaled="0"/>
          </a:gra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srgbClr val="FFFFFF"/>
              </a:solidFill>
              <a:effectLst/>
              <a:uLnTx/>
              <a:uFillTx/>
              <a:latin typeface="Ellab Sans"/>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Ellab Sans"/>
              <a:ea typeface="+mn-ea"/>
              <a:cs typeface="+mn-cs"/>
            </a:endParaRPr>
          </a:p>
        </p:txBody>
      </p:sp>
      <p:sp>
        <p:nvSpPr>
          <p:cNvPr id="28" name="Rectangle: Rounded Corners 27">
            <a:extLst>
              <a:ext uri="{FF2B5EF4-FFF2-40B4-BE49-F238E27FC236}">
                <a16:creationId xmlns:a16="http://schemas.microsoft.com/office/drawing/2014/main" id="{AD1B5904-5268-D918-7BCD-4BC16BEBB87A}"/>
              </a:ext>
            </a:extLst>
          </p:cNvPr>
          <p:cNvSpPr/>
          <p:nvPr/>
        </p:nvSpPr>
        <p:spPr>
          <a:xfrm>
            <a:off x="743739" y="1875017"/>
            <a:ext cx="3740855" cy="3100344"/>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22225">
            <a:gradFill>
              <a:gsLst>
                <a:gs pos="34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10000"/>
              </a:lnSpc>
              <a:spcBef>
                <a:spcPct val="0"/>
              </a:spcBef>
              <a:spcAft>
                <a:spcPct val="0"/>
              </a:spcAft>
              <a:buClrTx/>
              <a:buSzTx/>
              <a:buFontTx/>
              <a:buNone/>
              <a:tabLst/>
              <a:defRPr/>
            </a:pPr>
            <a:endParaRPr kumimoji="0" lang="en-GB" sz="700" b="1" i="0" u="none" strike="noStrike" kern="1200" cap="none" spc="0" normalizeH="0" baseline="0" noProof="0" dirty="0">
              <a:ln>
                <a:noFill/>
              </a:ln>
              <a:solidFill>
                <a:srgbClr val="17AAE2"/>
              </a:solidFill>
              <a:effectLst/>
              <a:uLnTx/>
              <a:uFillTx/>
              <a:latin typeface="Ellab Sans"/>
              <a:ea typeface="+mn-ea"/>
              <a:cs typeface="+mn-cs"/>
            </a:endParaRPr>
          </a:p>
        </p:txBody>
      </p:sp>
      <p:sp>
        <p:nvSpPr>
          <p:cNvPr id="4" name="Oval 3">
            <a:extLst>
              <a:ext uri="{FF2B5EF4-FFF2-40B4-BE49-F238E27FC236}">
                <a16:creationId xmlns:a16="http://schemas.microsoft.com/office/drawing/2014/main" id="{B8AE163E-23C7-F358-B5B6-9B6C5C56AD42}"/>
              </a:ext>
            </a:extLst>
          </p:cNvPr>
          <p:cNvSpPr/>
          <p:nvPr/>
        </p:nvSpPr>
        <p:spPr>
          <a:xfrm>
            <a:off x="2175993" y="3270726"/>
            <a:ext cx="6282624" cy="6282624"/>
          </a:xfrm>
          <a:prstGeom prst="ellipse">
            <a:avLst/>
          </a:prstGeom>
          <a:gradFill flip="none" rotWithShape="1">
            <a:gsLst>
              <a:gs pos="55000">
                <a:schemeClr val="accent1">
                  <a:lumMod val="5000"/>
                  <a:lumOff val="95000"/>
                  <a:alpha val="0"/>
                </a:schemeClr>
              </a:gs>
              <a:gs pos="0">
                <a:schemeClr val="accent1">
                  <a:alpha val="60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graphicFrame>
        <p:nvGraphicFramePr>
          <p:cNvPr id="6" name="Table 5">
            <a:extLst>
              <a:ext uri="{FF2B5EF4-FFF2-40B4-BE49-F238E27FC236}">
                <a16:creationId xmlns:a16="http://schemas.microsoft.com/office/drawing/2014/main" id="{26A60E38-E368-4905-2C6C-D2114D424293}"/>
              </a:ext>
            </a:extLst>
          </p:cNvPr>
          <p:cNvGraphicFramePr>
            <a:graphicFrameLocks noGrp="1"/>
          </p:cNvGraphicFramePr>
          <p:nvPr/>
        </p:nvGraphicFramePr>
        <p:xfrm>
          <a:off x="922225" y="1972996"/>
          <a:ext cx="9842146" cy="3100344"/>
        </p:xfrm>
        <a:graphic>
          <a:graphicData uri="http://schemas.openxmlformats.org/drawingml/2006/table">
            <a:tbl>
              <a:tblPr firstRow="1" bandRow="1">
                <a:tableStyleId>{5C22544A-7EE6-4342-B048-85BDC9FD1C3A}</a:tableStyleId>
              </a:tblPr>
              <a:tblGrid>
                <a:gridCol w="3280715">
                  <a:extLst>
                    <a:ext uri="{9D8B030D-6E8A-4147-A177-3AD203B41FA5}">
                      <a16:colId xmlns:a16="http://schemas.microsoft.com/office/drawing/2014/main" val="353290611"/>
                    </a:ext>
                  </a:extLst>
                </a:gridCol>
                <a:gridCol w="2776084">
                  <a:extLst>
                    <a:ext uri="{9D8B030D-6E8A-4147-A177-3AD203B41FA5}">
                      <a16:colId xmlns:a16="http://schemas.microsoft.com/office/drawing/2014/main" val="3672979565"/>
                    </a:ext>
                  </a:extLst>
                </a:gridCol>
                <a:gridCol w="3785347">
                  <a:extLst>
                    <a:ext uri="{9D8B030D-6E8A-4147-A177-3AD203B41FA5}">
                      <a16:colId xmlns:a16="http://schemas.microsoft.com/office/drawing/2014/main" val="951160451"/>
                    </a:ext>
                  </a:extLst>
                </a:gridCol>
              </a:tblGrid>
              <a:tr h="2655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accent1"/>
                          </a:solidFill>
                          <a:latin typeface="+mj-lt"/>
                          <a:ea typeface="Ellab Sans Light"/>
                        </a:rPr>
                        <a:t>Val</a:t>
                      </a:r>
                      <a:r>
                        <a:rPr lang="en-US" sz="3200" dirty="0">
                          <a:solidFill>
                            <a:schemeClr val="bg2"/>
                          </a:solidFill>
                          <a:latin typeface="+mj-lt"/>
                          <a:ea typeface="Ellab Sans Light"/>
                        </a:rPr>
                        <a:t>Suite</a:t>
                      </a:r>
                    </a:p>
                  </a:txBody>
                  <a:tcPr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3200" dirty="0">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3200" b="1" dirty="0">
                          <a:solidFill>
                            <a:schemeClr val="bg2"/>
                          </a:solidFill>
                          <a:latin typeface="+mj-lt"/>
                        </a:rPr>
                        <a:t>Other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5568817"/>
                  </a:ext>
                </a:extLst>
              </a:tr>
              <a:tr h="776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accent1"/>
                          </a:solidFill>
                          <a:latin typeface="+mn-lt"/>
                          <a:ea typeface="Ellab Sans Light"/>
                          <a:cs typeface="+mn-cs"/>
                        </a:rPr>
                        <a:t>ValSuite used for </a:t>
                      </a:r>
                      <a:r>
                        <a:rPr lang="en-US" sz="1400" b="1" kern="1200" dirty="0">
                          <a:solidFill>
                            <a:schemeClr val="bg2"/>
                          </a:solidFill>
                          <a:latin typeface="+mn-lt"/>
                          <a:ea typeface="Ellab Sans Light"/>
                          <a:cs typeface="+mn-cs"/>
                        </a:rPr>
                        <a:t>all Ellab range</a:t>
                      </a:r>
                      <a:r>
                        <a:rPr lang="en-US" sz="1400" kern="1200" dirty="0">
                          <a:solidFill>
                            <a:schemeClr val="accent1"/>
                          </a:solidFill>
                          <a:latin typeface="+mn-lt"/>
                          <a:ea typeface="Ellab Sans Light"/>
                          <a:cs typeface="+mn-cs"/>
                        </a:rPr>
                        <a:t>. Wireless + Real time + Reporting.</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Need specific software to each hardware, and then you send to the reporting tool software.</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8192479"/>
                  </a:ext>
                </a:extLst>
              </a:tr>
              <a:tr h="4773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ValSuite with </a:t>
                      </a:r>
                      <a:r>
                        <a:rPr lang="en-US" sz="1400" b="1" dirty="0">
                          <a:solidFill>
                            <a:schemeClr val="bg2"/>
                          </a:solidFill>
                          <a:latin typeface="+mj-lt"/>
                          <a:ea typeface="Ellab Sans Light"/>
                        </a:rPr>
                        <a:t>local languag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Only English or limited options</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734595"/>
                  </a:ext>
                </a:extLst>
              </a:tr>
              <a:tr h="4448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IT dept is our friend</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Afraid of IT dept.</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1214006"/>
                  </a:ext>
                </a:extLst>
              </a:tr>
              <a:tr h="464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2"/>
                          </a:solidFill>
                          <a:latin typeface="+mj-lt"/>
                          <a:ea typeface="Ellab Sans Light"/>
                        </a:rPr>
                        <a:t>Different types </a:t>
                      </a:r>
                      <a:r>
                        <a:rPr lang="en-US" sz="1400" dirty="0">
                          <a:solidFill>
                            <a:schemeClr val="accent1"/>
                          </a:solidFill>
                          <a:latin typeface="+mj-lt"/>
                          <a:ea typeface="Ellab Sans Light"/>
                        </a:rPr>
                        <a:t>of calibration availabl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Rigid calibration set-up</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7823148"/>
                  </a:ext>
                </a:extLst>
              </a:tr>
              <a:tr h="265568">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4225377"/>
                  </a:ext>
                </a:extLst>
              </a:tr>
            </a:tbl>
          </a:graphicData>
        </a:graphic>
      </p:graphicFrame>
      <p:sp>
        <p:nvSpPr>
          <p:cNvPr id="5" name="Rectangle 4">
            <a:extLst>
              <a:ext uri="{FF2B5EF4-FFF2-40B4-BE49-F238E27FC236}">
                <a16:creationId xmlns:a16="http://schemas.microsoft.com/office/drawing/2014/main" id="{46678EBF-F80B-D5E1-7843-40E8F8B641F3}"/>
              </a:ext>
            </a:extLst>
          </p:cNvPr>
          <p:cNvSpPr>
            <a:spLocks noGrp="1" noRot="1" noMove="1" noResize="1" noEditPoints="1" noAdjustHandles="1" noChangeArrowheads="1" noChangeShapeType="1"/>
          </p:cNvSpPr>
          <p:nvPr/>
        </p:nvSpPr>
        <p:spPr>
          <a:xfrm>
            <a:off x="-1" y="6374607"/>
            <a:ext cx="988219" cy="48339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sp>
        <p:nvSpPr>
          <p:cNvPr id="9" name="Title 2">
            <a:extLst>
              <a:ext uri="{FF2B5EF4-FFF2-40B4-BE49-F238E27FC236}">
                <a16:creationId xmlns:a16="http://schemas.microsoft.com/office/drawing/2014/main" id="{FEBE54C1-BE25-1EEB-A1AD-970D781097A9}"/>
              </a:ext>
            </a:extLst>
          </p:cNvPr>
          <p:cNvSpPr>
            <a:spLocks noGrp="1"/>
          </p:cNvSpPr>
          <p:nvPr>
            <p:ph type="title"/>
          </p:nvPr>
        </p:nvSpPr>
        <p:spPr>
          <a:xfrm>
            <a:off x="359999" y="936001"/>
            <a:ext cx="11066847" cy="365126"/>
          </a:xfrm>
        </p:spPr>
        <p:txBody>
          <a:bodyPr/>
          <a:lstStyle/>
          <a:p>
            <a:r>
              <a:rPr lang="en-US" dirty="0">
                <a:solidFill>
                  <a:schemeClr val="accent1"/>
                </a:solidFill>
              </a:rPr>
              <a:t>What is the Best Way to </a:t>
            </a:r>
            <a:r>
              <a:rPr lang="en-US" dirty="0">
                <a:solidFill>
                  <a:schemeClr val="bg2"/>
                </a:solidFill>
              </a:rPr>
              <a:t>Show ValSuite</a:t>
            </a:r>
            <a:r>
              <a:rPr lang="en-US" dirty="0">
                <a:solidFill>
                  <a:schemeClr val="accent1"/>
                </a:solidFill>
              </a:rPr>
              <a:t>?</a:t>
            </a:r>
          </a:p>
        </p:txBody>
      </p:sp>
      <p:pic>
        <p:nvPicPr>
          <p:cNvPr id="35" name="Picture 34" descr="A person wearing a white protective suit and face mask&#10;&#10;AI-generated content may be incorrect.">
            <a:extLst>
              <a:ext uri="{FF2B5EF4-FFF2-40B4-BE49-F238E27FC236}">
                <a16:creationId xmlns:a16="http://schemas.microsoft.com/office/drawing/2014/main" id="{2273798D-3AA2-3EE1-3DCA-BFDEF907B069}"/>
              </a:ext>
            </a:extLst>
          </p:cNvPr>
          <p:cNvPicPr>
            <a:picLocks noChangeAspect="1"/>
          </p:cNvPicPr>
          <p:nvPr/>
        </p:nvPicPr>
        <p:blipFill>
          <a:blip r:embed="rId3" cstate="screen">
            <a:extLst>
              <a:ext uri="{BEBA8EAE-BF5A-486C-A8C5-ECC9F3942E4B}">
                <a14:imgProps xmlns:a14="http://schemas.microsoft.com/office/drawing/2010/main">
                  <a14:imgLayer r:embed="rId4">
                    <a14:imgEffect>
                      <a14:colorTemperature colorTemp="4460"/>
                    </a14:imgEffect>
                    <a14:imgEffect>
                      <a14:saturation sat="120000"/>
                    </a14:imgEffect>
                  </a14:imgLayer>
                </a14:imgProps>
              </a:ext>
              <a:ext uri="{28A0092B-C50C-407E-A947-70E740481C1C}">
                <a14:useLocalDpi xmlns:a14="http://schemas.microsoft.com/office/drawing/2010/main"/>
              </a:ext>
            </a:extLst>
          </a:blip>
          <a:srcRect b="12003"/>
          <a:stretch/>
        </p:blipFill>
        <p:spPr>
          <a:xfrm>
            <a:off x="3727842" y="2986819"/>
            <a:ext cx="2767711" cy="3871181"/>
          </a:xfrm>
          <a:prstGeom prst="rect">
            <a:avLst/>
          </a:prstGeom>
        </p:spPr>
      </p:pic>
      <p:sp>
        <p:nvSpPr>
          <p:cNvPr id="3" name="TextBox 2">
            <a:extLst>
              <a:ext uri="{FF2B5EF4-FFF2-40B4-BE49-F238E27FC236}">
                <a16:creationId xmlns:a16="http://schemas.microsoft.com/office/drawing/2014/main" id="{EC3C1E30-EAEF-FE83-4D29-D0A69F0AB026}"/>
              </a:ext>
            </a:extLst>
          </p:cNvPr>
          <p:cNvSpPr txBox="1">
            <a:spLocks noGrp="1" noRot="1" noMove="1" noResize="1" noEditPoints="1" noAdjustHandles="1" noChangeArrowheads="1" noChangeShapeType="1"/>
          </p:cNvSpPr>
          <p:nvPr/>
        </p:nvSpPr>
        <p:spPr>
          <a:xfrm>
            <a:off x="76057" y="6339397"/>
            <a:ext cx="1279420"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Your Life Scie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Complia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Partner</a:t>
            </a:r>
          </a:p>
        </p:txBody>
      </p:sp>
    </p:spTree>
    <p:extLst>
      <p:ext uri="{BB962C8B-B14F-4D97-AF65-F5344CB8AC3E}">
        <p14:creationId xmlns:p14="http://schemas.microsoft.com/office/powerpoint/2010/main" val="8104381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fferent numbers in 3D">
            <a:extLst>
              <a:ext uri="{FF2B5EF4-FFF2-40B4-BE49-F238E27FC236}">
                <a16:creationId xmlns:a16="http://schemas.microsoft.com/office/drawing/2014/main" id="{2F5B8A7C-9683-185D-195D-168E09446F63}"/>
              </a:ext>
            </a:extLst>
          </p:cNvPr>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 contrast="-33000"/>
                    </a14:imgEffect>
                  </a14:imgLayer>
                </a14:imgProps>
              </a:ext>
              <a:ext uri="{28A0092B-C50C-407E-A947-70E740481C1C}">
                <a14:useLocalDpi xmlns:a14="http://schemas.microsoft.com/office/drawing/2010/main"/>
              </a:ext>
            </a:extLst>
          </a:blip>
          <a:stretch>
            <a:fillRect/>
          </a:stretch>
        </p:blipFill>
        <p:spPr>
          <a:xfrm>
            <a:off x="0" y="1073426"/>
            <a:ext cx="9117465" cy="5128846"/>
          </a:xfrm>
          <a:prstGeom prst="rect">
            <a:avLst/>
          </a:prstGeom>
        </p:spPr>
      </p:pic>
      <p:sp>
        <p:nvSpPr>
          <p:cNvPr id="5" name="TextBox 4">
            <a:extLst>
              <a:ext uri="{FF2B5EF4-FFF2-40B4-BE49-F238E27FC236}">
                <a16:creationId xmlns:a16="http://schemas.microsoft.com/office/drawing/2014/main" id="{72B91D12-DBCB-C4B0-F21D-B9CB9091FBB0}"/>
              </a:ext>
            </a:extLst>
          </p:cNvPr>
          <p:cNvSpPr txBox="1"/>
          <p:nvPr/>
        </p:nvSpPr>
        <p:spPr>
          <a:xfrm>
            <a:off x="6648017" y="2954761"/>
            <a:ext cx="5717856"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Ellab Sans"/>
                <a:ea typeface="+mn-ea"/>
                <a:cs typeface="+mn-cs"/>
              </a:rPr>
              <a:t>No limit </a:t>
            </a:r>
            <a:r>
              <a:rPr kumimoji="0" lang="en-US" sz="4800" b="1" i="0" u="none" strike="noStrike" kern="1200" cap="none" spc="0" normalizeH="0" baseline="0" noProof="0" dirty="0">
                <a:ln>
                  <a:noFill/>
                </a:ln>
                <a:solidFill>
                  <a:srgbClr val="17AAE2"/>
                </a:solidFill>
                <a:effectLst/>
                <a:uLnTx/>
                <a:uFillTx/>
                <a:latin typeface="Ellab Sans"/>
                <a:ea typeface="+mn-ea"/>
                <a:cs typeface="+mn-cs"/>
              </a:rPr>
              <a:t>in reports</a:t>
            </a:r>
          </a:p>
        </p:txBody>
      </p:sp>
    </p:spTree>
    <p:extLst>
      <p:ext uri="{BB962C8B-B14F-4D97-AF65-F5344CB8AC3E}">
        <p14:creationId xmlns:p14="http://schemas.microsoft.com/office/powerpoint/2010/main" val="25222185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1BDE0550-6B04-9C1F-E17A-2157F1C2E4BB}"/>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21A76797-E0C5-BD9D-CCBE-C35797C86BED}"/>
              </a:ext>
            </a:extLst>
          </p:cNvPr>
          <p:cNvSpPr/>
          <p:nvPr/>
        </p:nvSpPr>
        <p:spPr>
          <a:xfrm>
            <a:off x="6718048" y="1875017"/>
            <a:ext cx="4225904" cy="3466340"/>
          </a:xfrm>
          <a:prstGeom prst="roundRect">
            <a:avLst>
              <a:gd name="adj" fmla="val 4392"/>
            </a:avLst>
          </a:prstGeom>
          <a:gradFill>
            <a:gsLst>
              <a:gs pos="0">
                <a:schemeClr val="accent1">
                  <a:lumMod val="5000"/>
                  <a:lumOff val="95000"/>
                  <a:alpha val="0"/>
                </a:schemeClr>
              </a:gs>
              <a:gs pos="100000">
                <a:schemeClr val="accent1">
                  <a:alpha val="52000"/>
                </a:schemeClr>
              </a:gs>
            </a:gsLst>
            <a:lin ang="2700000" scaled="0"/>
          </a:gra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srgbClr val="FFFFFF"/>
              </a:solidFill>
              <a:effectLst/>
              <a:uLnTx/>
              <a:uFillTx/>
              <a:latin typeface="Ellab Sans"/>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Ellab Sans"/>
              <a:ea typeface="+mn-ea"/>
              <a:cs typeface="+mn-cs"/>
            </a:endParaRPr>
          </a:p>
        </p:txBody>
      </p:sp>
      <p:sp>
        <p:nvSpPr>
          <p:cNvPr id="28" name="Rectangle: Rounded Corners 27">
            <a:extLst>
              <a:ext uri="{FF2B5EF4-FFF2-40B4-BE49-F238E27FC236}">
                <a16:creationId xmlns:a16="http://schemas.microsoft.com/office/drawing/2014/main" id="{74774284-44E3-D4DB-C7C1-8F161FE4237B}"/>
              </a:ext>
            </a:extLst>
          </p:cNvPr>
          <p:cNvSpPr/>
          <p:nvPr/>
        </p:nvSpPr>
        <p:spPr>
          <a:xfrm>
            <a:off x="743739" y="1875017"/>
            <a:ext cx="3740855" cy="3466340"/>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22225">
            <a:gradFill>
              <a:gsLst>
                <a:gs pos="34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10000"/>
              </a:lnSpc>
              <a:spcBef>
                <a:spcPct val="0"/>
              </a:spcBef>
              <a:spcAft>
                <a:spcPct val="0"/>
              </a:spcAft>
              <a:buClrTx/>
              <a:buSzTx/>
              <a:buFontTx/>
              <a:buNone/>
              <a:tabLst/>
              <a:defRPr/>
            </a:pPr>
            <a:endParaRPr kumimoji="0" lang="en-GB" sz="700" b="1" i="0" u="none" strike="noStrike" kern="1200" cap="none" spc="0" normalizeH="0" baseline="0" noProof="0" dirty="0">
              <a:ln>
                <a:noFill/>
              </a:ln>
              <a:solidFill>
                <a:srgbClr val="17AAE2"/>
              </a:solidFill>
              <a:effectLst/>
              <a:uLnTx/>
              <a:uFillTx/>
              <a:latin typeface="Ellab Sans"/>
              <a:ea typeface="+mn-ea"/>
              <a:cs typeface="+mn-cs"/>
            </a:endParaRPr>
          </a:p>
        </p:txBody>
      </p:sp>
      <p:sp>
        <p:nvSpPr>
          <p:cNvPr id="4" name="Oval 3">
            <a:extLst>
              <a:ext uri="{FF2B5EF4-FFF2-40B4-BE49-F238E27FC236}">
                <a16:creationId xmlns:a16="http://schemas.microsoft.com/office/drawing/2014/main" id="{0173C35D-1DBE-B539-7608-68285EDAEB5A}"/>
              </a:ext>
            </a:extLst>
          </p:cNvPr>
          <p:cNvSpPr/>
          <p:nvPr/>
        </p:nvSpPr>
        <p:spPr>
          <a:xfrm>
            <a:off x="2175993" y="3270726"/>
            <a:ext cx="6282624" cy="6282624"/>
          </a:xfrm>
          <a:prstGeom prst="ellipse">
            <a:avLst/>
          </a:prstGeom>
          <a:gradFill flip="none" rotWithShape="1">
            <a:gsLst>
              <a:gs pos="55000">
                <a:schemeClr val="accent1">
                  <a:lumMod val="5000"/>
                  <a:lumOff val="95000"/>
                  <a:alpha val="0"/>
                </a:schemeClr>
              </a:gs>
              <a:gs pos="0">
                <a:schemeClr val="accent1">
                  <a:alpha val="60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graphicFrame>
        <p:nvGraphicFramePr>
          <p:cNvPr id="6" name="Table 5">
            <a:extLst>
              <a:ext uri="{FF2B5EF4-FFF2-40B4-BE49-F238E27FC236}">
                <a16:creationId xmlns:a16="http://schemas.microsoft.com/office/drawing/2014/main" id="{E63A6150-0075-BF45-F771-190720ED9583}"/>
              </a:ext>
            </a:extLst>
          </p:cNvPr>
          <p:cNvGraphicFramePr>
            <a:graphicFrameLocks noGrp="1"/>
          </p:cNvGraphicFramePr>
          <p:nvPr/>
        </p:nvGraphicFramePr>
        <p:xfrm>
          <a:off x="922225" y="1972996"/>
          <a:ext cx="9842146" cy="4457472"/>
        </p:xfrm>
        <a:graphic>
          <a:graphicData uri="http://schemas.openxmlformats.org/drawingml/2006/table">
            <a:tbl>
              <a:tblPr firstRow="1" bandRow="1">
                <a:tableStyleId>{5C22544A-7EE6-4342-B048-85BDC9FD1C3A}</a:tableStyleId>
              </a:tblPr>
              <a:tblGrid>
                <a:gridCol w="3280715">
                  <a:extLst>
                    <a:ext uri="{9D8B030D-6E8A-4147-A177-3AD203B41FA5}">
                      <a16:colId xmlns:a16="http://schemas.microsoft.com/office/drawing/2014/main" val="353290611"/>
                    </a:ext>
                  </a:extLst>
                </a:gridCol>
                <a:gridCol w="2776084">
                  <a:extLst>
                    <a:ext uri="{9D8B030D-6E8A-4147-A177-3AD203B41FA5}">
                      <a16:colId xmlns:a16="http://schemas.microsoft.com/office/drawing/2014/main" val="3672979565"/>
                    </a:ext>
                  </a:extLst>
                </a:gridCol>
                <a:gridCol w="3785347">
                  <a:extLst>
                    <a:ext uri="{9D8B030D-6E8A-4147-A177-3AD203B41FA5}">
                      <a16:colId xmlns:a16="http://schemas.microsoft.com/office/drawing/2014/main" val="951160451"/>
                    </a:ext>
                  </a:extLst>
                </a:gridCol>
              </a:tblGrid>
              <a:tr h="2655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accent1"/>
                          </a:solidFill>
                          <a:latin typeface="+mj-lt"/>
                          <a:ea typeface="Ellab Sans Light"/>
                        </a:rPr>
                        <a:t>Val</a:t>
                      </a:r>
                      <a:r>
                        <a:rPr lang="en-US" sz="3200" dirty="0">
                          <a:solidFill>
                            <a:schemeClr val="bg2"/>
                          </a:solidFill>
                          <a:latin typeface="+mj-lt"/>
                          <a:ea typeface="Ellab Sans Light"/>
                        </a:rPr>
                        <a:t>Suite</a:t>
                      </a:r>
                    </a:p>
                  </a:txBody>
                  <a:tcPr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3200" dirty="0">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3200" b="1" dirty="0">
                          <a:solidFill>
                            <a:schemeClr val="bg2"/>
                          </a:solidFill>
                          <a:latin typeface="+mj-lt"/>
                        </a:rPr>
                        <a:t>Other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5568817"/>
                  </a:ext>
                </a:extLst>
              </a:tr>
              <a:tr h="776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accent1"/>
                          </a:solidFill>
                          <a:latin typeface="+mn-lt"/>
                          <a:ea typeface="Ellab Sans Light"/>
                          <a:cs typeface="+mn-cs"/>
                        </a:rPr>
                        <a:t>ValSuite used for </a:t>
                      </a:r>
                      <a:r>
                        <a:rPr lang="en-US" sz="1400" b="1" kern="1200" dirty="0">
                          <a:solidFill>
                            <a:schemeClr val="bg2"/>
                          </a:solidFill>
                          <a:latin typeface="+mn-lt"/>
                          <a:ea typeface="Ellab Sans Light"/>
                          <a:cs typeface="+mn-cs"/>
                        </a:rPr>
                        <a:t>all Ellab range</a:t>
                      </a:r>
                      <a:r>
                        <a:rPr lang="en-US" sz="1400" kern="1200" dirty="0">
                          <a:solidFill>
                            <a:schemeClr val="accent1"/>
                          </a:solidFill>
                          <a:latin typeface="+mn-lt"/>
                          <a:ea typeface="Ellab Sans Light"/>
                          <a:cs typeface="+mn-cs"/>
                        </a:rPr>
                        <a:t>. Wireless + Real time + Reporting.</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Need specific software to each hardware, and then you send to the reporting tool software.</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8192479"/>
                  </a:ext>
                </a:extLst>
              </a:tr>
              <a:tr h="4773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ValSuite with </a:t>
                      </a:r>
                      <a:r>
                        <a:rPr lang="en-US" sz="1400" b="1" dirty="0">
                          <a:solidFill>
                            <a:schemeClr val="bg2"/>
                          </a:solidFill>
                          <a:latin typeface="+mj-lt"/>
                          <a:ea typeface="Ellab Sans Light"/>
                        </a:rPr>
                        <a:t>local languag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Only English or limited options</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734595"/>
                  </a:ext>
                </a:extLst>
              </a:tr>
              <a:tr h="4448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IT dept is our friend</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Afraid of IT dept.</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1214006"/>
                  </a:ext>
                </a:extLst>
              </a:tr>
              <a:tr h="464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2"/>
                          </a:solidFill>
                          <a:latin typeface="+mj-lt"/>
                          <a:ea typeface="Ellab Sans Light"/>
                        </a:rPr>
                        <a:t>Different types </a:t>
                      </a:r>
                      <a:r>
                        <a:rPr lang="en-US" sz="1400" dirty="0">
                          <a:solidFill>
                            <a:schemeClr val="accent1"/>
                          </a:solidFill>
                          <a:latin typeface="+mj-lt"/>
                          <a:ea typeface="Ellab Sans Light"/>
                        </a:rPr>
                        <a:t>of calibration availabl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Rigid calibration set-up</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7823148"/>
                  </a:ext>
                </a:extLst>
              </a:tr>
              <a:tr h="388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2"/>
                          </a:solidFill>
                          <a:latin typeface="+mj-lt"/>
                          <a:ea typeface="Ellab Sans Light"/>
                        </a:rPr>
                        <a:t>No limit </a:t>
                      </a:r>
                      <a:r>
                        <a:rPr lang="en-US" sz="1400" dirty="0">
                          <a:solidFill>
                            <a:schemeClr val="accent1"/>
                          </a:solidFill>
                          <a:latin typeface="+mj-lt"/>
                          <a:ea typeface="Ellab Sans Light"/>
                        </a:rPr>
                        <a:t>in #channels in report.</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Large studies… separate reports.</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8268699"/>
                  </a:ext>
                </a:extLst>
              </a:tr>
              <a:tr h="208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latin typeface="+mj-lt"/>
                        <a:ea typeface="Ellab Sans Light"/>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0918703"/>
                  </a:ext>
                </a:extLst>
              </a:tr>
              <a:tr h="663921">
                <a:tc>
                  <a:txBody>
                    <a:bodyPr/>
                    <a:lstStyle/>
                    <a:p>
                      <a:pPr algn="l"/>
                      <a:endParaRPr lang="en-US" sz="1400" dirty="0">
                        <a:solidFill>
                          <a:schemeClr val="accent1"/>
                        </a:solidFill>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5793303"/>
                  </a:ext>
                </a:extLst>
              </a:tr>
              <a:tr h="265568">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4225377"/>
                  </a:ext>
                </a:extLst>
              </a:tr>
            </a:tbl>
          </a:graphicData>
        </a:graphic>
      </p:graphicFrame>
      <p:sp>
        <p:nvSpPr>
          <p:cNvPr id="5" name="Rectangle 4">
            <a:extLst>
              <a:ext uri="{FF2B5EF4-FFF2-40B4-BE49-F238E27FC236}">
                <a16:creationId xmlns:a16="http://schemas.microsoft.com/office/drawing/2014/main" id="{D899506A-4E4E-D5C5-189C-24D7C5E08B81}"/>
              </a:ext>
            </a:extLst>
          </p:cNvPr>
          <p:cNvSpPr>
            <a:spLocks noGrp="1" noRot="1" noMove="1" noResize="1" noEditPoints="1" noAdjustHandles="1" noChangeArrowheads="1" noChangeShapeType="1"/>
          </p:cNvSpPr>
          <p:nvPr/>
        </p:nvSpPr>
        <p:spPr>
          <a:xfrm>
            <a:off x="-1" y="6374607"/>
            <a:ext cx="988219" cy="48339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sp>
        <p:nvSpPr>
          <p:cNvPr id="9" name="Title 2">
            <a:extLst>
              <a:ext uri="{FF2B5EF4-FFF2-40B4-BE49-F238E27FC236}">
                <a16:creationId xmlns:a16="http://schemas.microsoft.com/office/drawing/2014/main" id="{3F28377C-11B4-24AA-54E3-973252F45330}"/>
              </a:ext>
            </a:extLst>
          </p:cNvPr>
          <p:cNvSpPr>
            <a:spLocks noGrp="1"/>
          </p:cNvSpPr>
          <p:nvPr>
            <p:ph type="title"/>
          </p:nvPr>
        </p:nvSpPr>
        <p:spPr>
          <a:xfrm>
            <a:off x="359999" y="936001"/>
            <a:ext cx="9364171" cy="365126"/>
          </a:xfrm>
        </p:spPr>
        <p:txBody>
          <a:bodyPr/>
          <a:lstStyle/>
          <a:p>
            <a:r>
              <a:rPr lang="en-US" dirty="0">
                <a:solidFill>
                  <a:schemeClr val="accent1"/>
                </a:solidFill>
              </a:rPr>
              <a:t>What is the Best Way to </a:t>
            </a:r>
            <a:r>
              <a:rPr lang="en-US" dirty="0">
                <a:solidFill>
                  <a:schemeClr val="bg2"/>
                </a:solidFill>
              </a:rPr>
              <a:t>Show ValSuite</a:t>
            </a:r>
            <a:r>
              <a:rPr lang="en-US" dirty="0">
                <a:solidFill>
                  <a:schemeClr val="accent1"/>
                </a:solidFill>
              </a:rPr>
              <a:t>?</a:t>
            </a:r>
          </a:p>
        </p:txBody>
      </p:sp>
      <p:pic>
        <p:nvPicPr>
          <p:cNvPr id="35" name="Picture 34" descr="A person wearing a white protective suit and face mask&#10;&#10;AI-generated content may be incorrect.">
            <a:extLst>
              <a:ext uri="{FF2B5EF4-FFF2-40B4-BE49-F238E27FC236}">
                <a16:creationId xmlns:a16="http://schemas.microsoft.com/office/drawing/2014/main" id="{508556EF-DD69-EF39-18A3-7CDCF290126B}"/>
              </a:ext>
            </a:extLst>
          </p:cNvPr>
          <p:cNvPicPr>
            <a:picLocks noChangeAspect="1"/>
          </p:cNvPicPr>
          <p:nvPr/>
        </p:nvPicPr>
        <p:blipFill>
          <a:blip r:embed="rId3" cstate="screen">
            <a:extLst>
              <a:ext uri="{BEBA8EAE-BF5A-486C-A8C5-ECC9F3942E4B}">
                <a14:imgProps xmlns:a14="http://schemas.microsoft.com/office/drawing/2010/main">
                  <a14:imgLayer r:embed="rId4">
                    <a14:imgEffect>
                      <a14:colorTemperature colorTemp="4460"/>
                    </a14:imgEffect>
                    <a14:imgEffect>
                      <a14:saturation sat="120000"/>
                    </a14:imgEffect>
                  </a14:imgLayer>
                </a14:imgProps>
              </a:ext>
              <a:ext uri="{28A0092B-C50C-407E-A947-70E740481C1C}">
                <a14:useLocalDpi xmlns:a14="http://schemas.microsoft.com/office/drawing/2010/main"/>
              </a:ext>
            </a:extLst>
          </a:blip>
          <a:srcRect b="12003"/>
          <a:stretch/>
        </p:blipFill>
        <p:spPr>
          <a:xfrm>
            <a:off x="3727842" y="2986819"/>
            <a:ext cx="2767711" cy="3871181"/>
          </a:xfrm>
          <a:prstGeom prst="rect">
            <a:avLst/>
          </a:prstGeom>
        </p:spPr>
      </p:pic>
      <p:sp>
        <p:nvSpPr>
          <p:cNvPr id="3" name="TextBox 2">
            <a:extLst>
              <a:ext uri="{FF2B5EF4-FFF2-40B4-BE49-F238E27FC236}">
                <a16:creationId xmlns:a16="http://schemas.microsoft.com/office/drawing/2014/main" id="{29A0BB1B-812B-6436-B34F-68A4F701478A}"/>
              </a:ext>
            </a:extLst>
          </p:cNvPr>
          <p:cNvSpPr txBox="1">
            <a:spLocks noGrp="1" noRot="1" noMove="1" noResize="1" noEditPoints="1" noAdjustHandles="1" noChangeArrowheads="1" noChangeShapeType="1"/>
          </p:cNvSpPr>
          <p:nvPr/>
        </p:nvSpPr>
        <p:spPr>
          <a:xfrm>
            <a:off x="76057" y="6339397"/>
            <a:ext cx="1279420"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Your Life Scie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Complia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Partner</a:t>
            </a:r>
          </a:p>
        </p:txBody>
      </p:sp>
    </p:spTree>
    <p:extLst>
      <p:ext uri="{BB962C8B-B14F-4D97-AF65-F5344CB8AC3E}">
        <p14:creationId xmlns:p14="http://schemas.microsoft.com/office/powerpoint/2010/main" val="130590259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8" name="Picture 17" descr="Colorful and modern freeway intersections">
            <a:extLst>
              <a:ext uri="{FF2B5EF4-FFF2-40B4-BE49-F238E27FC236}">
                <a16:creationId xmlns:a16="http://schemas.microsoft.com/office/drawing/2014/main" id="{CF17A2D6-7705-533C-EAFF-6910974BAEC7}"/>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6693642" y="866451"/>
            <a:ext cx="4291117" cy="6026268"/>
          </a:xfrm>
          <a:custGeom>
            <a:avLst/>
            <a:gdLst>
              <a:gd name="connsiteX0" fmla="*/ 4291117 w 4291117"/>
              <a:gd name="connsiteY0" fmla="*/ 0 h 6026268"/>
              <a:gd name="connsiteX1" fmla="*/ 4291117 w 4291117"/>
              <a:gd name="connsiteY1" fmla="*/ 6026268 h 6026268"/>
              <a:gd name="connsiteX2" fmla="*/ 0 w 4291117"/>
              <a:gd name="connsiteY2" fmla="*/ 6026268 h 6026268"/>
              <a:gd name="connsiteX3" fmla="*/ 6626 w 4291117"/>
              <a:gd name="connsiteY3" fmla="*/ 2809460 h 6026268"/>
            </a:gdLst>
            <a:ahLst/>
            <a:cxnLst>
              <a:cxn ang="0">
                <a:pos x="connsiteX0" y="connsiteY0"/>
              </a:cxn>
              <a:cxn ang="0">
                <a:pos x="connsiteX1" y="connsiteY1"/>
              </a:cxn>
              <a:cxn ang="0">
                <a:pos x="connsiteX2" y="connsiteY2"/>
              </a:cxn>
              <a:cxn ang="0">
                <a:pos x="connsiteX3" y="connsiteY3"/>
              </a:cxn>
            </a:cxnLst>
            <a:rect l="l" t="t" r="r" b="b"/>
            <a:pathLst>
              <a:path w="4291117" h="6026268">
                <a:moveTo>
                  <a:pt x="4291117" y="0"/>
                </a:moveTo>
                <a:lnTo>
                  <a:pt x="4291117" y="6026268"/>
                </a:lnTo>
                <a:lnTo>
                  <a:pt x="0" y="6026268"/>
                </a:lnTo>
                <a:cubicBezTo>
                  <a:pt x="2209" y="4949581"/>
                  <a:pt x="4417" y="3886147"/>
                  <a:pt x="6626" y="2809460"/>
                </a:cubicBezTo>
                <a:close/>
              </a:path>
            </a:pathLst>
          </a:custGeom>
        </p:spPr>
      </p:pic>
      <p:sp>
        <p:nvSpPr>
          <p:cNvPr id="15" name="Title 14">
            <a:extLst>
              <a:ext uri="{FF2B5EF4-FFF2-40B4-BE49-F238E27FC236}">
                <a16:creationId xmlns:a16="http://schemas.microsoft.com/office/drawing/2014/main" id="{B6C76F76-A750-2982-4A8F-0BE5A062EFA4}"/>
              </a:ext>
            </a:extLst>
          </p:cNvPr>
          <p:cNvSpPr>
            <a:spLocks noGrp="1"/>
          </p:cNvSpPr>
          <p:nvPr>
            <p:ph type="title"/>
          </p:nvPr>
        </p:nvSpPr>
        <p:spPr>
          <a:xfrm>
            <a:off x="360000" y="1728000"/>
            <a:ext cx="5736000" cy="551433"/>
          </a:xfrm>
        </p:spPr>
        <p:txBody>
          <a:bodyPr/>
          <a:lstStyle/>
          <a:p>
            <a:r>
              <a:rPr lang="en-US" dirty="0"/>
              <a:t>Busy Workday</a:t>
            </a:r>
          </a:p>
        </p:txBody>
      </p:sp>
      <p:sp>
        <p:nvSpPr>
          <p:cNvPr id="16" name="Text Placeholder 15">
            <a:extLst>
              <a:ext uri="{FF2B5EF4-FFF2-40B4-BE49-F238E27FC236}">
                <a16:creationId xmlns:a16="http://schemas.microsoft.com/office/drawing/2014/main" id="{B8C21B8E-FFF1-827D-917B-6BD094F894F0}"/>
              </a:ext>
            </a:extLst>
          </p:cNvPr>
          <p:cNvSpPr>
            <a:spLocks noGrp="1"/>
          </p:cNvSpPr>
          <p:nvPr>
            <p:ph type="body" sz="half" idx="10"/>
          </p:nvPr>
        </p:nvSpPr>
        <p:spPr/>
        <p:txBody>
          <a:bodyPr/>
          <a:lstStyle/>
          <a:p>
            <a:endParaRPr lang="en-US"/>
          </a:p>
        </p:txBody>
      </p:sp>
    </p:spTree>
    <p:extLst>
      <p:ext uri="{BB962C8B-B14F-4D97-AF65-F5344CB8AC3E}">
        <p14:creationId xmlns:p14="http://schemas.microsoft.com/office/powerpoint/2010/main" val="318688182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C63F5B50-6092-4BE7-8F6C-2AFAF63B6AFE}"/>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A42E4422-BBC4-E6B5-8D1B-316F9282CB2C}"/>
              </a:ext>
            </a:extLst>
          </p:cNvPr>
          <p:cNvSpPr/>
          <p:nvPr/>
        </p:nvSpPr>
        <p:spPr>
          <a:xfrm>
            <a:off x="6718048" y="1875017"/>
            <a:ext cx="4225904" cy="3871181"/>
          </a:xfrm>
          <a:prstGeom prst="roundRect">
            <a:avLst>
              <a:gd name="adj" fmla="val 4392"/>
            </a:avLst>
          </a:prstGeom>
          <a:gradFill>
            <a:gsLst>
              <a:gs pos="0">
                <a:schemeClr val="accent1">
                  <a:lumMod val="5000"/>
                  <a:lumOff val="95000"/>
                  <a:alpha val="0"/>
                </a:schemeClr>
              </a:gs>
              <a:gs pos="100000">
                <a:schemeClr val="accent1">
                  <a:alpha val="52000"/>
                </a:schemeClr>
              </a:gs>
            </a:gsLst>
            <a:lin ang="2700000" scaled="0"/>
          </a:gra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srgbClr val="FFFFFF"/>
              </a:solidFill>
              <a:effectLst/>
              <a:uLnTx/>
              <a:uFillTx/>
              <a:latin typeface="Ellab Sans"/>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Ellab Sans"/>
              <a:ea typeface="+mn-ea"/>
              <a:cs typeface="+mn-cs"/>
            </a:endParaRPr>
          </a:p>
        </p:txBody>
      </p:sp>
      <p:sp>
        <p:nvSpPr>
          <p:cNvPr id="28" name="Rectangle: Rounded Corners 27">
            <a:extLst>
              <a:ext uri="{FF2B5EF4-FFF2-40B4-BE49-F238E27FC236}">
                <a16:creationId xmlns:a16="http://schemas.microsoft.com/office/drawing/2014/main" id="{460A891F-F078-1B01-B2CC-3344E46E33F0}"/>
              </a:ext>
            </a:extLst>
          </p:cNvPr>
          <p:cNvSpPr/>
          <p:nvPr/>
        </p:nvSpPr>
        <p:spPr>
          <a:xfrm>
            <a:off x="743739" y="1875017"/>
            <a:ext cx="3740855" cy="3871181"/>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22225">
            <a:gradFill>
              <a:gsLst>
                <a:gs pos="34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10000"/>
              </a:lnSpc>
              <a:spcBef>
                <a:spcPct val="0"/>
              </a:spcBef>
              <a:spcAft>
                <a:spcPct val="0"/>
              </a:spcAft>
              <a:buClrTx/>
              <a:buSzTx/>
              <a:buFontTx/>
              <a:buNone/>
              <a:tabLst/>
              <a:defRPr/>
            </a:pPr>
            <a:endParaRPr kumimoji="0" lang="en-GB" sz="700" b="1" i="0" u="none" strike="noStrike" kern="1200" cap="none" spc="0" normalizeH="0" baseline="0" noProof="0" dirty="0">
              <a:ln>
                <a:noFill/>
              </a:ln>
              <a:solidFill>
                <a:srgbClr val="17AAE2"/>
              </a:solidFill>
              <a:effectLst/>
              <a:uLnTx/>
              <a:uFillTx/>
              <a:latin typeface="Ellab Sans"/>
              <a:ea typeface="+mn-ea"/>
              <a:cs typeface="+mn-cs"/>
            </a:endParaRPr>
          </a:p>
        </p:txBody>
      </p:sp>
      <p:sp>
        <p:nvSpPr>
          <p:cNvPr id="4" name="Oval 3">
            <a:extLst>
              <a:ext uri="{FF2B5EF4-FFF2-40B4-BE49-F238E27FC236}">
                <a16:creationId xmlns:a16="http://schemas.microsoft.com/office/drawing/2014/main" id="{AD249F25-177A-E2F0-9E38-7ECF40BEB98E}"/>
              </a:ext>
            </a:extLst>
          </p:cNvPr>
          <p:cNvSpPr/>
          <p:nvPr/>
        </p:nvSpPr>
        <p:spPr>
          <a:xfrm>
            <a:off x="2175993" y="3270726"/>
            <a:ext cx="6282624" cy="6282624"/>
          </a:xfrm>
          <a:prstGeom prst="ellipse">
            <a:avLst/>
          </a:prstGeom>
          <a:gradFill flip="none" rotWithShape="1">
            <a:gsLst>
              <a:gs pos="55000">
                <a:schemeClr val="accent1">
                  <a:lumMod val="5000"/>
                  <a:lumOff val="95000"/>
                  <a:alpha val="0"/>
                </a:schemeClr>
              </a:gs>
              <a:gs pos="0">
                <a:schemeClr val="accent1">
                  <a:alpha val="60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graphicFrame>
        <p:nvGraphicFramePr>
          <p:cNvPr id="6" name="Table 5">
            <a:extLst>
              <a:ext uri="{FF2B5EF4-FFF2-40B4-BE49-F238E27FC236}">
                <a16:creationId xmlns:a16="http://schemas.microsoft.com/office/drawing/2014/main" id="{FB8DD7F4-F41E-937E-7B8A-D75B7040AA2D}"/>
              </a:ext>
            </a:extLst>
          </p:cNvPr>
          <p:cNvGraphicFramePr>
            <a:graphicFrameLocks noGrp="1"/>
          </p:cNvGraphicFramePr>
          <p:nvPr/>
        </p:nvGraphicFramePr>
        <p:xfrm>
          <a:off x="922225" y="1972996"/>
          <a:ext cx="9842146" cy="4670832"/>
        </p:xfrm>
        <a:graphic>
          <a:graphicData uri="http://schemas.openxmlformats.org/drawingml/2006/table">
            <a:tbl>
              <a:tblPr firstRow="1" bandRow="1">
                <a:tableStyleId>{5C22544A-7EE6-4342-B048-85BDC9FD1C3A}</a:tableStyleId>
              </a:tblPr>
              <a:tblGrid>
                <a:gridCol w="3280715">
                  <a:extLst>
                    <a:ext uri="{9D8B030D-6E8A-4147-A177-3AD203B41FA5}">
                      <a16:colId xmlns:a16="http://schemas.microsoft.com/office/drawing/2014/main" val="353290611"/>
                    </a:ext>
                  </a:extLst>
                </a:gridCol>
                <a:gridCol w="2776084">
                  <a:extLst>
                    <a:ext uri="{9D8B030D-6E8A-4147-A177-3AD203B41FA5}">
                      <a16:colId xmlns:a16="http://schemas.microsoft.com/office/drawing/2014/main" val="3672979565"/>
                    </a:ext>
                  </a:extLst>
                </a:gridCol>
                <a:gridCol w="3785347">
                  <a:extLst>
                    <a:ext uri="{9D8B030D-6E8A-4147-A177-3AD203B41FA5}">
                      <a16:colId xmlns:a16="http://schemas.microsoft.com/office/drawing/2014/main" val="951160451"/>
                    </a:ext>
                  </a:extLst>
                </a:gridCol>
              </a:tblGrid>
              <a:tr h="2655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accent1"/>
                          </a:solidFill>
                          <a:latin typeface="+mj-lt"/>
                          <a:ea typeface="Ellab Sans Light"/>
                        </a:rPr>
                        <a:t>Val</a:t>
                      </a:r>
                      <a:r>
                        <a:rPr lang="en-US" sz="3200" dirty="0">
                          <a:solidFill>
                            <a:schemeClr val="bg2"/>
                          </a:solidFill>
                          <a:latin typeface="+mj-lt"/>
                          <a:ea typeface="Ellab Sans Light"/>
                        </a:rPr>
                        <a:t>Suite</a:t>
                      </a:r>
                    </a:p>
                  </a:txBody>
                  <a:tcPr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3200" dirty="0">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3200" dirty="0">
                          <a:latin typeface="+mj-lt"/>
                        </a:rPr>
                        <a:t>Other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5568817"/>
                  </a:ext>
                </a:extLst>
              </a:tr>
              <a:tr h="776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accent1"/>
                          </a:solidFill>
                          <a:latin typeface="+mn-lt"/>
                          <a:ea typeface="Ellab Sans Light"/>
                          <a:cs typeface="+mn-cs"/>
                        </a:rPr>
                        <a:t>ValSuite used for </a:t>
                      </a:r>
                      <a:r>
                        <a:rPr lang="en-US" sz="1400" b="1" kern="1200" dirty="0">
                          <a:solidFill>
                            <a:schemeClr val="bg2"/>
                          </a:solidFill>
                          <a:latin typeface="+mn-lt"/>
                          <a:ea typeface="Ellab Sans Light"/>
                          <a:cs typeface="+mn-cs"/>
                        </a:rPr>
                        <a:t>all Ellab range</a:t>
                      </a:r>
                      <a:r>
                        <a:rPr lang="en-US" sz="1400" kern="1200" dirty="0">
                          <a:solidFill>
                            <a:schemeClr val="accent1"/>
                          </a:solidFill>
                          <a:latin typeface="+mn-lt"/>
                          <a:ea typeface="Ellab Sans Light"/>
                          <a:cs typeface="+mn-cs"/>
                        </a:rPr>
                        <a:t>. Wireless + Real time + Reporting.</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Need specific software to each hardware, and then you send to the reporting tool software.</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8192479"/>
                  </a:ext>
                </a:extLst>
              </a:tr>
              <a:tr h="4773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ValSuite with </a:t>
                      </a:r>
                      <a:r>
                        <a:rPr lang="en-US" sz="1400" b="1" dirty="0">
                          <a:solidFill>
                            <a:schemeClr val="bg2"/>
                          </a:solidFill>
                          <a:latin typeface="+mj-lt"/>
                          <a:ea typeface="Ellab Sans Light"/>
                        </a:rPr>
                        <a:t>local languag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Only English or limited options</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734595"/>
                  </a:ext>
                </a:extLst>
              </a:tr>
              <a:tr h="4448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IT dept is our friend</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Afraid of IT dept.</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1214006"/>
                  </a:ext>
                </a:extLst>
              </a:tr>
              <a:tr h="464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2"/>
                          </a:solidFill>
                          <a:latin typeface="+mj-lt"/>
                          <a:ea typeface="Ellab Sans Light"/>
                        </a:rPr>
                        <a:t>Different types </a:t>
                      </a:r>
                      <a:r>
                        <a:rPr lang="en-US" sz="1400" dirty="0">
                          <a:solidFill>
                            <a:schemeClr val="accent1"/>
                          </a:solidFill>
                          <a:latin typeface="+mj-lt"/>
                          <a:ea typeface="Ellab Sans Light"/>
                        </a:rPr>
                        <a:t>of calibration availabl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Rigid calibration set-up</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7823148"/>
                  </a:ext>
                </a:extLst>
              </a:tr>
              <a:tr h="388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2"/>
                          </a:solidFill>
                          <a:latin typeface="+mj-lt"/>
                          <a:ea typeface="Ellab Sans Light"/>
                        </a:rPr>
                        <a:t>No limit </a:t>
                      </a:r>
                      <a:r>
                        <a:rPr lang="en-US" sz="1400" dirty="0">
                          <a:solidFill>
                            <a:schemeClr val="accent1"/>
                          </a:solidFill>
                          <a:latin typeface="+mj-lt"/>
                          <a:ea typeface="Ellab Sans Light"/>
                        </a:rPr>
                        <a:t>in #channels in report.</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Large studies… separate reports.</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8268699"/>
                  </a:ext>
                </a:extLst>
              </a:tr>
              <a:tr h="208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Get the sensors in… we can set-up the report later.</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Rigid. Not allow for quick reaction.</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0918703"/>
                  </a:ext>
                </a:extLst>
              </a:tr>
              <a:tr h="663921">
                <a:tc>
                  <a:txBody>
                    <a:bodyPr/>
                    <a:lstStyle/>
                    <a:p>
                      <a:pPr algn="l"/>
                      <a:endParaRPr lang="en-US" sz="1400" dirty="0">
                        <a:solidFill>
                          <a:schemeClr val="accent1"/>
                        </a:solidFill>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5793303"/>
                  </a:ext>
                </a:extLst>
              </a:tr>
              <a:tr h="265568">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4225377"/>
                  </a:ext>
                </a:extLst>
              </a:tr>
            </a:tbl>
          </a:graphicData>
        </a:graphic>
      </p:graphicFrame>
      <p:sp>
        <p:nvSpPr>
          <p:cNvPr id="5" name="Rectangle 4">
            <a:extLst>
              <a:ext uri="{FF2B5EF4-FFF2-40B4-BE49-F238E27FC236}">
                <a16:creationId xmlns:a16="http://schemas.microsoft.com/office/drawing/2014/main" id="{FECECB0E-3A64-FD85-625E-69CA56CED205}"/>
              </a:ext>
            </a:extLst>
          </p:cNvPr>
          <p:cNvSpPr>
            <a:spLocks noGrp="1" noRot="1" noMove="1" noResize="1" noEditPoints="1" noAdjustHandles="1" noChangeArrowheads="1" noChangeShapeType="1"/>
          </p:cNvSpPr>
          <p:nvPr/>
        </p:nvSpPr>
        <p:spPr>
          <a:xfrm>
            <a:off x="-1" y="6374607"/>
            <a:ext cx="988219" cy="48339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sp>
        <p:nvSpPr>
          <p:cNvPr id="9" name="Title 2">
            <a:extLst>
              <a:ext uri="{FF2B5EF4-FFF2-40B4-BE49-F238E27FC236}">
                <a16:creationId xmlns:a16="http://schemas.microsoft.com/office/drawing/2014/main" id="{C18560CA-EC23-E266-C331-EDA37E69717D}"/>
              </a:ext>
            </a:extLst>
          </p:cNvPr>
          <p:cNvSpPr>
            <a:spLocks noGrp="1"/>
          </p:cNvSpPr>
          <p:nvPr>
            <p:ph type="title"/>
          </p:nvPr>
        </p:nvSpPr>
        <p:spPr>
          <a:xfrm>
            <a:off x="359999" y="936001"/>
            <a:ext cx="9559663" cy="365126"/>
          </a:xfrm>
        </p:spPr>
        <p:txBody>
          <a:bodyPr/>
          <a:lstStyle/>
          <a:p>
            <a:r>
              <a:rPr lang="en-US" dirty="0">
                <a:solidFill>
                  <a:schemeClr val="accent1"/>
                </a:solidFill>
              </a:rPr>
              <a:t>What is the Best Way to </a:t>
            </a:r>
            <a:r>
              <a:rPr lang="en-US" dirty="0">
                <a:solidFill>
                  <a:schemeClr val="bg2"/>
                </a:solidFill>
              </a:rPr>
              <a:t>Show ValSuite</a:t>
            </a:r>
            <a:r>
              <a:rPr lang="en-US" dirty="0">
                <a:solidFill>
                  <a:schemeClr val="accent1"/>
                </a:solidFill>
              </a:rPr>
              <a:t>?</a:t>
            </a:r>
          </a:p>
        </p:txBody>
      </p:sp>
      <p:pic>
        <p:nvPicPr>
          <p:cNvPr id="35" name="Picture 34" descr="A person wearing a white protective suit and face mask&#10;&#10;AI-generated content may be incorrect.">
            <a:extLst>
              <a:ext uri="{FF2B5EF4-FFF2-40B4-BE49-F238E27FC236}">
                <a16:creationId xmlns:a16="http://schemas.microsoft.com/office/drawing/2014/main" id="{44EAB49A-5A5E-3FCB-1202-29A860676CFF}"/>
              </a:ext>
            </a:extLst>
          </p:cNvPr>
          <p:cNvPicPr>
            <a:picLocks noChangeAspect="1"/>
          </p:cNvPicPr>
          <p:nvPr/>
        </p:nvPicPr>
        <p:blipFill>
          <a:blip r:embed="rId3" cstate="screen">
            <a:extLst>
              <a:ext uri="{BEBA8EAE-BF5A-486C-A8C5-ECC9F3942E4B}">
                <a14:imgProps xmlns:a14="http://schemas.microsoft.com/office/drawing/2010/main">
                  <a14:imgLayer r:embed="rId4">
                    <a14:imgEffect>
                      <a14:colorTemperature colorTemp="4460"/>
                    </a14:imgEffect>
                    <a14:imgEffect>
                      <a14:saturation sat="120000"/>
                    </a14:imgEffect>
                  </a14:imgLayer>
                </a14:imgProps>
              </a:ext>
              <a:ext uri="{28A0092B-C50C-407E-A947-70E740481C1C}">
                <a14:useLocalDpi xmlns:a14="http://schemas.microsoft.com/office/drawing/2010/main"/>
              </a:ext>
            </a:extLst>
          </a:blip>
          <a:srcRect b="12003"/>
          <a:stretch/>
        </p:blipFill>
        <p:spPr>
          <a:xfrm>
            <a:off x="3727842" y="2986819"/>
            <a:ext cx="2767711" cy="3871181"/>
          </a:xfrm>
          <a:prstGeom prst="rect">
            <a:avLst/>
          </a:prstGeom>
        </p:spPr>
      </p:pic>
      <p:sp>
        <p:nvSpPr>
          <p:cNvPr id="3" name="TextBox 2">
            <a:extLst>
              <a:ext uri="{FF2B5EF4-FFF2-40B4-BE49-F238E27FC236}">
                <a16:creationId xmlns:a16="http://schemas.microsoft.com/office/drawing/2014/main" id="{E94604B3-8C0B-98FD-E2F2-40CBEFF5F878}"/>
              </a:ext>
            </a:extLst>
          </p:cNvPr>
          <p:cNvSpPr txBox="1">
            <a:spLocks noGrp="1" noRot="1" noMove="1" noResize="1" noEditPoints="1" noAdjustHandles="1" noChangeArrowheads="1" noChangeShapeType="1"/>
          </p:cNvSpPr>
          <p:nvPr/>
        </p:nvSpPr>
        <p:spPr>
          <a:xfrm>
            <a:off x="76057" y="6339397"/>
            <a:ext cx="1279420"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Your Life Scie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Complia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Partner</a:t>
            </a:r>
          </a:p>
        </p:txBody>
      </p:sp>
    </p:spTree>
    <p:extLst>
      <p:ext uri="{BB962C8B-B14F-4D97-AF65-F5344CB8AC3E}">
        <p14:creationId xmlns:p14="http://schemas.microsoft.com/office/powerpoint/2010/main" val="35711802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3FB3023-FE51-992E-EC94-8767259F5280}"/>
              </a:ext>
            </a:extLst>
          </p:cNvPr>
          <p:cNvSpPr/>
          <p:nvPr/>
        </p:nvSpPr>
        <p:spPr>
          <a:xfrm>
            <a:off x="4492486" y="0"/>
            <a:ext cx="5717855"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pic>
        <p:nvPicPr>
          <p:cNvPr id="13" name="Picture 2" descr="History/Philosophy (BA) - Undergraduate, University of York">
            <a:extLst>
              <a:ext uri="{FF2B5EF4-FFF2-40B4-BE49-F238E27FC236}">
                <a16:creationId xmlns:a16="http://schemas.microsoft.com/office/drawing/2014/main" id="{8D4C2AAC-53B2-7927-B216-11DC4AFC6482}"/>
              </a:ext>
            </a:extLst>
          </p:cNvPr>
          <p:cNvPicPr>
            <a:picLocks noChangeAspect="1" noChangeArrowheads="1"/>
          </p:cNvPicPr>
          <p:nvPr/>
        </p:nvPicPr>
        <p:blipFill rotWithShape="1">
          <a:blip r:embed="rId2" cstate="screen">
            <a:duotone>
              <a:schemeClr val="accent1">
                <a:shade val="45000"/>
                <a:satMod val="135000"/>
              </a:schemeClr>
              <a:prstClr val="white"/>
            </a:duotone>
            <a:alphaModFix amt="58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bwMode="auto">
          <a:xfrm>
            <a:off x="4492486" y="0"/>
            <a:ext cx="7364551" cy="5979885"/>
          </a:xfrm>
          <a:prstGeom prst="rect">
            <a:avLst/>
          </a:prstGeom>
          <a:noFill/>
          <a:effectLst>
            <a:softEdge rad="1117600"/>
          </a:effectLst>
          <a:extLst>
            <a:ext uri="{909E8E84-426E-40DD-AFC4-6F175D3DCCD1}">
              <a14:hiddenFill xmlns:a14="http://schemas.microsoft.com/office/drawing/2010/main">
                <a:solidFill>
                  <a:srgbClr val="FFFFFF"/>
                </a:solidFill>
              </a14:hiddenFill>
            </a:ext>
          </a:extLst>
        </p:spPr>
      </p:pic>
      <p:pic>
        <p:nvPicPr>
          <p:cNvPr id="12" name="Picture 11" descr="History/Philosophy (BA) - Undergraduate, University of York">
            <a:extLst>
              <a:ext uri="{FF2B5EF4-FFF2-40B4-BE49-F238E27FC236}">
                <a16:creationId xmlns:a16="http://schemas.microsoft.com/office/drawing/2014/main" id="{854CC7F5-FAFD-49CA-5DF1-7190D315C657}"/>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587018" y="0"/>
            <a:ext cx="4291117" cy="5978518"/>
          </a:xfrm>
          <a:custGeom>
            <a:avLst/>
            <a:gdLst>
              <a:gd name="connsiteX0" fmla="*/ 0 w 4291117"/>
              <a:gd name="connsiteY0" fmla="*/ 0 h 5978518"/>
              <a:gd name="connsiteX1" fmla="*/ 4291117 w 4291117"/>
              <a:gd name="connsiteY1" fmla="*/ 0 h 5978518"/>
              <a:gd name="connsiteX2" fmla="*/ 4278511 w 4291117"/>
              <a:gd name="connsiteY2" fmla="*/ 3165949 h 5978518"/>
              <a:gd name="connsiteX3" fmla="*/ 0 w 4291117"/>
              <a:gd name="connsiteY3" fmla="*/ 5978518 h 5978518"/>
            </a:gdLst>
            <a:ahLst/>
            <a:cxnLst>
              <a:cxn ang="0">
                <a:pos x="connsiteX0" y="connsiteY0"/>
              </a:cxn>
              <a:cxn ang="0">
                <a:pos x="connsiteX1" y="connsiteY1"/>
              </a:cxn>
              <a:cxn ang="0">
                <a:pos x="connsiteX2" y="connsiteY2"/>
              </a:cxn>
              <a:cxn ang="0">
                <a:pos x="connsiteX3" y="connsiteY3"/>
              </a:cxn>
            </a:cxnLst>
            <a:rect l="l" t="t" r="r" b="b"/>
            <a:pathLst>
              <a:path w="4291117" h="5978518">
                <a:moveTo>
                  <a:pt x="0" y="0"/>
                </a:moveTo>
                <a:lnTo>
                  <a:pt x="4291117" y="0"/>
                </a:lnTo>
                <a:lnTo>
                  <a:pt x="4278511" y="3165949"/>
                </a:lnTo>
                <a:lnTo>
                  <a:pt x="0" y="5978518"/>
                </a:lnTo>
                <a:close/>
              </a:path>
            </a:pathLst>
          </a:custGeom>
          <a:noFill/>
          <a:extLst>
            <a:ext uri="{909E8E84-426E-40DD-AFC4-6F175D3DCCD1}">
              <a14:hiddenFill xmlns:a14="http://schemas.microsoft.com/office/drawing/2010/main">
                <a:solidFill>
                  <a:srgbClr val="FFFFFF"/>
                </a:solidFill>
              </a14:hiddenFill>
            </a:ext>
          </a:extLst>
        </p:spPr>
      </p:pic>
      <p:sp>
        <p:nvSpPr>
          <p:cNvPr id="16" name="Text Placeholder 15">
            <a:extLst>
              <a:ext uri="{FF2B5EF4-FFF2-40B4-BE49-F238E27FC236}">
                <a16:creationId xmlns:a16="http://schemas.microsoft.com/office/drawing/2014/main" id="{52457F3B-849D-D658-C720-B1C903E71645}"/>
              </a:ext>
            </a:extLst>
          </p:cNvPr>
          <p:cNvSpPr>
            <a:spLocks noGrp="1"/>
          </p:cNvSpPr>
          <p:nvPr>
            <p:ph type="body" sz="half" idx="10"/>
          </p:nvPr>
        </p:nvSpPr>
        <p:spPr/>
        <p:txBody>
          <a:bodyPr/>
          <a:lstStyle/>
          <a:p>
            <a:endParaRPr lang="en-US"/>
          </a:p>
        </p:txBody>
      </p:sp>
      <p:sp>
        <p:nvSpPr>
          <p:cNvPr id="15" name="Text Placeholder 14">
            <a:extLst>
              <a:ext uri="{FF2B5EF4-FFF2-40B4-BE49-F238E27FC236}">
                <a16:creationId xmlns:a16="http://schemas.microsoft.com/office/drawing/2014/main" id="{38838ECF-2676-0143-85A5-3AF84A3A66D7}"/>
              </a:ext>
            </a:extLst>
          </p:cNvPr>
          <p:cNvSpPr>
            <a:spLocks noGrp="1"/>
          </p:cNvSpPr>
          <p:nvPr>
            <p:ph type="body" sz="half" idx="2"/>
          </p:nvPr>
        </p:nvSpPr>
        <p:spPr>
          <a:xfrm>
            <a:off x="371475" y="3026546"/>
            <a:ext cx="4237101" cy="385042"/>
          </a:xfrm>
        </p:spPr>
        <p:txBody>
          <a:bodyPr/>
          <a:lstStyle/>
          <a:p>
            <a:r>
              <a:rPr lang="en-US" sz="4400" dirty="0">
                <a:solidFill>
                  <a:schemeClr val="bg2"/>
                </a:solidFill>
              </a:rPr>
              <a:t>Philosophy</a:t>
            </a:r>
          </a:p>
        </p:txBody>
      </p:sp>
    </p:spTree>
    <p:extLst>
      <p:ext uri="{BB962C8B-B14F-4D97-AF65-F5344CB8AC3E}">
        <p14:creationId xmlns:p14="http://schemas.microsoft.com/office/powerpoint/2010/main" val="37506266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1A47CD9-B6F2-922D-52C6-8ED196BAA852}"/>
              </a:ext>
            </a:extLst>
          </p:cNvPr>
          <p:cNvSpPr>
            <a:spLocks noGrp="1"/>
          </p:cNvSpPr>
          <p:nvPr>
            <p:ph type="body" sz="half" idx="10"/>
          </p:nvPr>
        </p:nvSpPr>
        <p:spPr/>
        <p:txBody>
          <a:bodyPr/>
          <a:lstStyle/>
          <a:p>
            <a:pPr marL="342900" indent="-342900">
              <a:buFont typeface="Arial" panose="020B0604020202020204" pitchFamily="34" charset="0"/>
              <a:buChar char="•"/>
            </a:pPr>
            <a:r>
              <a:rPr lang="en-US" dirty="0" err="1"/>
              <a:t>Valsuite</a:t>
            </a:r>
            <a:r>
              <a:rPr lang="en-US" dirty="0"/>
              <a:t> software used for all Ellab range. Wireless + Real time + Reporting.</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err="1"/>
              <a:t>Valsuite</a:t>
            </a:r>
            <a:r>
              <a:rPr lang="en-US" dirty="0"/>
              <a:t> software with local language</a:t>
            </a:r>
          </a:p>
          <a:p>
            <a:pPr marL="342900" indent="-342900">
              <a:buFont typeface="Arial" panose="020B0604020202020204" pitchFamily="34" charset="0"/>
              <a:buChar char="•"/>
            </a:pPr>
            <a:r>
              <a:rPr lang="en-US" dirty="0"/>
              <a:t>IT dept is our friend</a:t>
            </a:r>
          </a:p>
          <a:p>
            <a:pPr marL="342900" indent="-342900">
              <a:buFont typeface="Arial" panose="020B0604020202020204" pitchFamily="34" charset="0"/>
              <a:buChar char="•"/>
            </a:pPr>
            <a:r>
              <a:rPr lang="en-US" dirty="0"/>
              <a:t>Different types of </a:t>
            </a:r>
            <a:r>
              <a:rPr lang="en-US" dirty="0" err="1"/>
              <a:t>calib</a:t>
            </a:r>
            <a:r>
              <a:rPr lang="en-US" dirty="0"/>
              <a:t>. available.</a:t>
            </a:r>
          </a:p>
          <a:p>
            <a:pPr marL="342900" indent="-342900">
              <a:buFont typeface="Arial" panose="020B0604020202020204" pitchFamily="34" charset="0"/>
              <a:buChar char="•"/>
            </a:pPr>
            <a:r>
              <a:rPr lang="en-US" dirty="0"/>
              <a:t>No limit in #channels in report.</a:t>
            </a:r>
          </a:p>
          <a:p>
            <a:pPr marL="342900" indent="-342900">
              <a:buFont typeface="Arial" panose="020B0604020202020204" pitchFamily="34" charset="0"/>
              <a:buChar char="•"/>
            </a:pPr>
            <a:r>
              <a:rPr lang="en-US" dirty="0"/>
              <a:t>Get the sensors in… we can set-up the report later.</a:t>
            </a:r>
          </a:p>
          <a:p>
            <a:pPr marL="342900" indent="-342900">
              <a:buFont typeface="Arial" panose="020B0604020202020204" pitchFamily="34" charset="0"/>
              <a:buChar char="•"/>
            </a:pPr>
            <a:r>
              <a:rPr lang="en-US" dirty="0"/>
              <a:t>Ideology of modern workplace. Different collaborators.	</a:t>
            </a:r>
          </a:p>
          <a:p>
            <a:pPr marL="342900" indent="-342900">
              <a:buFont typeface="Arial" panose="020B0604020202020204" pitchFamily="34" charset="0"/>
              <a:buChar char="•"/>
            </a:pPr>
            <a:endParaRPr lang="en-US" dirty="0"/>
          </a:p>
        </p:txBody>
      </p:sp>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p:txBody>
          <a:bodyPr/>
          <a:lstStyle/>
          <a:p>
            <a:r>
              <a:rPr lang="en-US" dirty="0"/>
              <a:t>What is the best wat to show </a:t>
            </a:r>
            <a:r>
              <a:rPr lang="en-US" dirty="0" err="1"/>
              <a:t>Valsuite</a:t>
            </a:r>
            <a:r>
              <a:rPr lang="en-US" dirty="0"/>
              <a:t>?</a:t>
            </a:r>
          </a:p>
        </p:txBody>
      </p:sp>
      <p:sp>
        <p:nvSpPr>
          <p:cNvPr id="7" name="Text Placeholder 6">
            <a:extLst>
              <a:ext uri="{FF2B5EF4-FFF2-40B4-BE49-F238E27FC236}">
                <a16:creationId xmlns:a16="http://schemas.microsoft.com/office/drawing/2014/main" id="{94E029B1-49E8-47D4-5EB2-38FD7A6F8510}"/>
              </a:ext>
            </a:extLst>
          </p:cNvPr>
          <p:cNvSpPr>
            <a:spLocks noGrp="1"/>
          </p:cNvSpPr>
          <p:nvPr>
            <p:ph type="body" sz="half" idx="2"/>
          </p:nvPr>
        </p:nvSpPr>
        <p:spPr/>
        <p:txBody>
          <a:bodyPr/>
          <a:lstStyle/>
          <a:p>
            <a:r>
              <a:rPr lang="en-US" dirty="0"/>
              <a:t>			</a:t>
            </a:r>
            <a:r>
              <a:rPr lang="en-US" sz="1920" dirty="0" err="1">
                <a:solidFill>
                  <a:schemeClr val="accent2"/>
                </a:solidFill>
              </a:rPr>
              <a:t>Valsuite</a:t>
            </a:r>
            <a:r>
              <a:rPr lang="en-US" dirty="0"/>
              <a:t>					</a:t>
            </a:r>
            <a:r>
              <a:rPr lang="en-US" sz="1920" dirty="0">
                <a:solidFill>
                  <a:schemeClr val="accent2"/>
                </a:solidFill>
              </a:rPr>
              <a:t>Others</a:t>
            </a:r>
          </a:p>
        </p:txBody>
      </p:sp>
      <p:sp>
        <p:nvSpPr>
          <p:cNvPr id="2" name="Text Placeholder 7">
            <a:extLst>
              <a:ext uri="{FF2B5EF4-FFF2-40B4-BE49-F238E27FC236}">
                <a16:creationId xmlns:a16="http://schemas.microsoft.com/office/drawing/2014/main" id="{8FB6AD6F-D42C-06A6-CA7F-DE506FCEC32F}"/>
              </a:ext>
            </a:extLst>
          </p:cNvPr>
          <p:cNvSpPr txBox="1">
            <a:spLocks/>
          </p:cNvSpPr>
          <p:nvPr/>
        </p:nvSpPr>
        <p:spPr>
          <a:xfrm>
            <a:off x="6096000" y="1769223"/>
            <a:ext cx="5366386" cy="4801444"/>
          </a:xfrm>
          <a:prstGeom prst="rect">
            <a:avLst/>
          </a:prstGeom>
        </p:spPr>
        <p:txBody>
          <a:bodyPr/>
          <a:lstStyle>
            <a:lvl1pPr marL="171450" indent="-171450" algn="l" defTabSz="685800" rtl="0" eaLnBrk="1" fontAlgn="base" hangingPunct="1">
              <a:lnSpc>
                <a:spcPct val="90000"/>
              </a:lnSpc>
              <a:spcBef>
                <a:spcPts val="750"/>
              </a:spcBef>
              <a:spcAft>
                <a:spcPct val="0"/>
              </a:spcAft>
              <a:buFont typeface="Arial" panose="020B0604020202020204" pitchFamily="34" charset="0"/>
              <a:buNone/>
              <a:defRPr sz="1600" b="1" i="0" kern="1200">
                <a:solidFill>
                  <a:schemeClr val="tx1"/>
                </a:solidFill>
                <a:latin typeface="+mj-lt"/>
                <a:ea typeface="+mn-ea"/>
                <a:cs typeface="+mn-cs"/>
              </a:defRPr>
            </a:lvl1pPr>
            <a:lvl2pPr marL="301497"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200" b="0" i="0" kern="1200">
                <a:solidFill>
                  <a:schemeClr val="bg2">
                    <a:lumMod val="10000"/>
                  </a:schemeClr>
                </a:solidFill>
                <a:latin typeface="+mn-lt"/>
                <a:ea typeface="+mn-ea"/>
                <a:cs typeface="+mn-cs"/>
              </a:defRPr>
            </a:lvl2pPr>
            <a:lvl3pPr marL="599994"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200" b="0" i="0" kern="1200">
                <a:solidFill>
                  <a:schemeClr val="bg2">
                    <a:lumMod val="10000"/>
                  </a:schemeClr>
                </a:solidFill>
                <a:latin typeface="+mn-lt"/>
                <a:ea typeface="+mn-ea"/>
                <a:cs typeface="+mn-cs"/>
              </a:defRPr>
            </a:lvl3pPr>
            <a:lvl4pPr marL="899991"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200" b="0" i="0" kern="1200">
                <a:solidFill>
                  <a:schemeClr val="bg2">
                    <a:lumMod val="10000"/>
                  </a:schemeClr>
                </a:solidFill>
                <a:latin typeface="+mn-lt"/>
                <a:ea typeface="+mn-ea"/>
                <a:cs typeface="+mn-cs"/>
              </a:defRPr>
            </a:lvl4pPr>
            <a:lvl5pPr marL="1199988"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200" b="0" i="0" kern="1200">
                <a:solidFill>
                  <a:schemeClr val="bg2">
                    <a:lumMod val="1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marR="0" lvl="0" indent="-34290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1920" b="1" i="0" u="none" strike="noStrike" kern="1200" cap="none" spc="0" normalizeH="0" baseline="0" noProof="0" dirty="0">
                <a:ln>
                  <a:noFill/>
                </a:ln>
                <a:solidFill>
                  <a:srgbClr val="000000"/>
                </a:solidFill>
                <a:effectLst/>
                <a:uLnTx/>
                <a:uFillTx/>
                <a:latin typeface="Ellab Sans"/>
                <a:ea typeface="+mn-ea"/>
                <a:cs typeface="+mn-cs"/>
              </a:rPr>
              <a:t>Need specific software to each hardware, and then you send to the reporting tool software.</a:t>
            </a:r>
          </a:p>
          <a:p>
            <a:pPr marL="342900" marR="0" lvl="0" indent="-34290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endParaRPr kumimoji="0" lang="en-US" sz="1920" b="1" i="0" u="none" strike="noStrike" kern="1200" cap="none" spc="0" normalizeH="0" baseline="0" noProof="0" dirty="0">
              <a:ln>
                <a:noFill/>
              </a:ln>
              <a:solidFill>
                <a:srgbClr val="000000"/>
              </a:solidFill>
              <a:effectLst/>
              <a:uLnTx/>
              <a:uFillTx/>
              <a:latin typeface="Ellab Sans"/>
              <a:ea typeface="+mn-ea"/>
              <a:cs typeface="+mn-cs"/>
            </a:endParaRPr>
          </a:p>
          <a:p>
            <a:pPr marL="342900" marR="0" lvl="0" indent="-34290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1920" b="1" i="0" u="none" strike="noStrike" kern="1200" cap="none" spc="0" normalizeH="0" baseline="0" noProof="0" dirty="0">
                <a:ln>
                  <a:noFill/>
                </a:ln>
                <a:solidFill>
                  <a:srgbClr val="000000"/>
                </a:solidFill>
                <a:effectLst/>
                <a:uLnTx/>
                <a:uFillTx/>
                <a:latin typeface="Ellab Sans"/>
                <a:ea typeface="+mn-ea"/>
                <a:cs typeface="+mn-cs"/>
              </a:rPr>
              <a:t>Only English or limited options</a:t>
            </a:r>
          </a:p>
          <a:p>
            <a:pPr marL="342900" marR="0" lvl="0" indent="-34290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1920" b="1" i="0" u="none" strike="noStrike" kern="1200" cap="none" spc="0" normalizeH="0" baseline="0" noProof="0" dirty="0">
                <a:ln>
                  <a:noFill/>
                </a:ln>
                <a:solidFill>
                  <a:srgbClr val="000000"/>
                </a:solidFill>
                <a:effectLst/>
                <a:uLnTx/>
                <a:uFillTx/>
                <a:latin typeface="Ellab Sans"/>
                <a:ea typeface="+mn-ea"/>
                <a:cs typeface="+mn-cs"/>
              </a:rPr>
              <a:t>Afraid of IT dept.</a:t>
            </a:r>
          </a:p>
          <a:p>
            <a:pPr marL="342900" marR="0" lvl="0" indent="-34290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1920" b="1" i="0" u="none" strike="noStrike" kern="1200" cap="none" spc="0" normalizeH="0" baseline="0" noProof="0" dirty="0">
                <a:ln>
                  <a:noFill/>
                </a:ln>
                <a:solidFill>
                  <a:srgbClr val="000000"/>
                </a:solidFill>
                <a:effectLst/>
                <a:uLnTx/>
                <a:uFillTx/>
                <a:latin typeface="Ellab Sans"/>
                <a:ea typeface="+mn-ea"/>
                <a:cs typeface="+mn-cs"/>
              </a:rPr>
              <a:t>Rigid </a:t>
            </a:r>
            <a:r>
              <a:rPr kumimoji="0" lang="en-US" sz="1920" b="1" i="0" u="none" strike="noStrike" kern="1200" cap="none" spc="0" normalizeH="0" baseline="0" noProof="0" dirty="0" err="1">
                <a:ln>
                  <a:noFill/>
                </a:ln>
                <a:solidFill>
                  <a:srgbClr val="000000"/>
                </a:solidFill>
                <a:effectLst/>
                <a:uLnTx/>
                <a:uFillTx/>
                <a:latin typeface="Ellab Sans"/>
                <a:ea typeface="+mn-ea"/>
                <a:cs typeface="+mn-cs"/>
              </a:rPr>
              <a:t>calib</a:t>
            </a:r>
            <a:r>
              <a:rPr kumimoji="0" lang="en-US" sz="1920" b="1" i="0" u="none" strike="noStrike" kern="1200" cap="none" spc="0" normalizeH="0" baseline="0" noProof="0" dirty="0">
                <a:ln>
                  <a:noFill/>
                </a:ln>
                <a:solidFill>
                  <a:srgbClr val="000000"/>
                </a:solidFill>
                <a:effectLst/>
                <a:uLnTx/>
                <a:uFillTx/>
                <a:latin typeface="Ellab Sans"/>
                <a:ea typeface="+mn-ea"/>
                <a:cs typeface="+mn-cs"/>
              </a:rPr>
              <a:t>. set-up</a:t>
            </a:r>
          </a:p>
          <a:p>
            <a:pPr marL="342900" marR="0" lvl="0" indent="-34290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1920" b="1" i="0" u="none" strike="noStrike" kern="1200" cap="none" spc="0" normalizeH="0" baseline="0" noProof="0" dirty="0">
                <a:ln>
                  <a:noFill/>
                </a:ln>
                <a:solidFill>
                  <a:srgbClr val="000000"/>
                </a:solidFill>
                <a:effectLst/>
                <a:uLnTx/>
                <a:uFillTx/>
                <a:latin typeface="Ellab Sans"/>
                <a:ea typeface="+mn-ea"/>
                <a:cs typeface="+mn-cs"/>
              </a:rPr>
              <a:t>Large studies… separate reports.</a:t>
            </a:r>
          </a:p>
          <a:p>
            <a:pPr marL="342900" marR="0" lvl="0" indent="-34290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1920" b="1" i="0" u="none" strike="noStrike" kern="1200" cap="none" spc="0" normalizeH="0" baseline="0" noProof="0" dirty="0">
                <a:ln>
                  <a:noFill/>
                </a:ln>
                <a:solidFill>
                  <a:srgbClr val="000000"/>
                </a:solidFill>
                <a:effectLst/>
                <a:uLnTx/>
                <a:uFillTx/>
                <a:latin typeface="Ellab Sans"/>
                <a:ea typeface="+mn-ea"/>
                <a:cs typeface="+mn-cs"/>
              </a:rPr>
              <a:t>Rigid. Not allow for quick reaction.</a:t>
            </a:r>
          </a:p>
          <a:p>
            <a:pPr marL="342900" marR="0" lvl="0" indent="-34290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endParaRPr kumimoji="0" lang="en-US" sz="1920" b="1" i="0" u="none" strike="noStrike" kern="1200" cap="none" spc="0" normalizeH="0" baseline="0" noProof="0" dirty="0">
              <a:ln>
                <a:noFill/>
              </a:ln>
              <a:solidFill>
                <a:srgbClr val="000000"/>
              </a:solidFill>
              <a:effectLst/>
              <a:uLnTx/>
              <a:uFillTx/>
              <a:latin typeface="Ellab Sans"/>
              <a:ea typeface="+mn-ea"/>
              <a:cs typeface="+mn-cs"/>
            </a:endParaRPr>
          </a:p>
          <a:p>
            <a:pPr marL="342900" marR="0" lvl="0" indent="-34290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1920" b="1" i="0" u="none" strike="noStrike" kern="1200" cap="none" spc="0" normalizeH="0" baseline="0" noProof="0" dirty="0">
                <a:ln>
                  <a:noFill/>
                </a:ln>
                <a:solidFill>
                  <a:srgbClr val="000000"/>
                </a:solidFill>
                <a:effectLst/>
                <a:uLnTx/>
                <a:uFillTx/>
                <a:latin typeface="Ellab Sans"/>
                <a:ea typeface="+mn-ea"/>
                <a:cs typeface="+mn-cs"/>
              </a:rPr>
              <a:t>Old style workplace. “The validator guy”.</a:t>
            </a:r>
          </a:p>
          <a:p>
            <a:pPr marL="342900" marR="0" lvl="0" indent="-34290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endParaRPr kumimoji="0" lang="en-US" sz="1920" b="1" i="0" u="none" strike="noStrike" kern="1200" cap="none" spc="0" normalizeH="0" baseline="0" noProof="0" dirty="0">
              <a:ln>
                <a:noFill/>
              </a:ln>
              <a:solidFill>
                <a:srgbClr val="000000"/>
              </a:solidFill>
              <a:effectLst/>
              <a:uLnTx/>
              <a:uFillTx/>
              <a:latin typeface="Ellab Sans"/>
              <a:ea typeface="+mn-ea"/>
              <a:cs typeface="+mn-cs"/>
            </a:endParaRPr>
          </a:p>
        </p:txBody>
      </p:sp>
    </p:spTree>
    <p:extLst>
      <p:ext uri="{BB962C8B-B14F-4D97-AF65-F5344CB8AC3E}">
        <p14:creationId xmlns:p14="http://schemas.microsoft.com/office/powerpoint/2010/main" val="159016881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FFBF9F35-B08B-9027-4541-CC40E264A599}"/>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E5D01976-F6C6-6A9B-4AE3-FB45FB1C358E}"/>
              </a:ext>
            </a:extLst>
          </p:cNvPr>
          <p:cNvSpPr/>
          <p:nvPr/>
        </p:nvSpPr>
        <p:spPr>
          <a:xfrm>
            <a:off x="6718048" y="1875017"/>
            <a:ext cx="4225904" cy="4361276"/>
          </a:xfrm>
          <a:prstGeom prst="roundRect">
            <a:avLst>
              <a:gd name="adj" fmla="val 4392"/>
            </a:avLst>
          </a:prstGeom>
          <a:gradFill>
            <a:gsLst>
              <a:gs pos="0">
                <a:schemeClr val="accent1">
                  <a:lumMod val="5000"/>
                  <a:lumOff val="95000"/>
                  <a:alpha val="0"/>
                </a:schemeClr>
              </a:gs>
              <a:gs pos="100000">
                <a:schemeClr val="accent1">
                  <a:alpha val="52000"/>
                </a:schemeClr>
              </a:gs>
            </a:gsLst>
            <a:lin ang="2700000" scaled="0"/>
          </a:gra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srgbClr val="FFFFFF"/>
              </a:solidFill>
              <a:effectLst/>
              <a:uLnTx/>
              <a:uFillTx/>
              <a:latin typeface="Ellab Sans"/>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Ellab Sans"/>
              <a:ea typeface="+mn-ea"/>
              <a:cs typeface="+mn-cs"/>
            </a:endParaRPr>
          </a:p>
        </p:txBody>
      </p:sp>
      <p:sp>
        <p:nvSpPr>
          <p:cNvPr id="28" name="Rectangle: Rounded Corners 27">
            <a:extLst>
              <a:ext uri="{FF2B5EF4-FFF2-40B4-BE49-F238E27FC236}">
                <a16:creationId xmlns:a16="http://schemas.microsoft.com/office/drawing/2014/main" id="{7EA0FB40-9DB3-4533-3F02-F3AFB17FDAE3}"/>
              </a:ext>
            </a:extLst>
          </p:cNvPr>
          <p:cNvSpPr/>
          <p:nvPr/>
        </p:nvSpPr>
        <p:spPr>
          <a:xfrm>
            <a:off x="743739" y="1875017"/>
            <a:ext cx="3740855" cy="4361276"/>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22225">
            <a:gradFill>
              <a:gsLst>
                <a:gs pos="34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10000"/>
              </a:lnSpc>
              <a:spcBef>
                <a:spcPct val="0"/>
              </a:spcBef>
              <a:spcAft>
                <a:spcPct val="0"/>
              </a:spcAft>
              <a:buClrTx/>
              <a:buSzTx/>
              <a:buFontTx/>
              <a:buNone/>
              <a:tabLst/>
              <a:defRPr/>
            </a:pPr>
            <a:endParaRPr kumimoji="0" lang="en-GB" sz="700" b="1" i="0" u="none" strike="noStrike" kern="1200" cap="none" spc="0" normalizeH="0" baseline="0" noProof="0" dirty="0">
              <a:ln>
                <a:noFill/>
              </a:ln>
              <a:solidFill>
                <a:srgbClr val="17AAE2"/>
              </a:solidFill>
              <a:effectLst/>
              <a:uLnTx/>
              <a:uFillTx/>
              <a:latin typeface="Ellab Sans"/>
              <a:ea typeface="+mn-ea"/>
              <a:cs typeface="+mn-cs"/>
            </a:endParaRPr>
          </a:p>
        </p:txBody>
      </p:sp>
      <p:sp>
        <p:nvSpPr>
          <p:cNvPr id="4" name="Oval 3">
            <a:extLst>
              <a:ext uri="{FF2B5EF4-FFF2-40B4-BE49-F238E27FC236}">
                <a16:creationId xmlns:a16="http://schemas.microsoft.com/office/drawing/2014/main" id="{6696960E-F70B-0C82-F2A0-8E0AA4D59EC9}"/>
              </a:ext>
            </a:extLst>
          </p:cNvPr>
          <p:cNvSpPr/>
          <p:nvPr/>
        </p:nvSpPr>
        <p:spPr>
          <a:xfrm>
            <a:off x="2175993" y="3270726"/>
            <a:ext cx="6282624" cy="6282624"/>
          </a:xfrm>
          <a:prstGeom prst="ellipse">
            <a:avLst/>
          </a:prstGeom>
          <a:gradFill flip="none" rotWithShape="1">
            <a:gsLst>
              <a:gs pos="55000">
                <a:schemeClr val="accent1">
                  <a:lumMod val="5000"/>
                  <a:lumOff val="95000"/>
                  <a:alpha val="0"/>
                </a:schemeClr>
              </a:gs>
              <a:gs pos="0">
                <a:schemeClr val="accent1">
                  <a:alpha val="60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graphicFrame>
        <p:nvGraphicFramePr>
          <p:cNvPr id="6" name="Table 5">
            <a:extLst>
              <a:ext uri="{FF2B5EF4-FFF2-40B4-BE49-F238E27FC236}">
                <a16:creationId xmlns:a16="http://schemas.microsoft.com/office/drawing/2014/main" id="{AEDA00D2-D113-4D7E-A776-345187499237}"/>
              </a:ext>
            </a:extLst>
          </p:cNvPr>
          <p:cNvGraphicFramePr>
            <a:graphicFrameLocks noGrp="1"/>
          </p:cNvGraphicFramePr>
          <p:nvPr/>
        </p:nvGraphicFramePr>
        <p:xfrm>
          <a:off x="922225" y="1972996"/>
          <a:ext cx="9842146" cy="4738431"/>
        </p:xfrm>
        <a:graphic>
          <a:graphicData uri="http://schemas.openxmlformats.org/drawingml/2006/table">
            <a:tbl>
              <a:tblPr firstRow="1" bandRow="1">
                <a:tableStyleId>{5C22544A-7EE6-4342-B048-85BDC9FD1C3A}</a:tableStyleId>
              </a:tblPr>
              <a:tblGrid>
                <a:gridCol w="3280715">
                  <a:extLst>
                    <a:ext uri="{9D8B030D-6E8A-4147-A177-3AD203B41FA5}">
                      <a16:colId xmlns:a16="http://schemas.microsoft.com/office/drawing/2014/main" val="353290611"/>
                    </a:ext>
                  </a:extLst>
                </a:gridCol>
                <a:gridCol w="2776084">
                  <a:extLst>
                    <a:ext uri="{9D8B030D-6E8A-4147-A177-3AD203B41FA5}">
                      <a16:colId xmlns:a16="http://schemas.microsoft.com/office/drawing/2014/main" val="3672979565"/>
                    </a:ext>
                  </a:extLst>
                </a:gridCol>
                <a:gridCol w="3785347">
                  <a:extLst>
                    <a:ext uri="{9D8B030D-6E8A-4147-A177-3AD203B41FA5}">
                      <a16:colId xmlns:a16="http://schemas.microsoft.com/office/drawing/2014/main" val="951160451"/>
                    </a:ext>
                  </a:extLst>
                </a:gridCol>
              </a:tblGrid>
              <a:tr h="2655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accent1"/>
                          </a:solidFill>
                          <a:latin typeface="+mj-lt"/>
                          <a:ea typeface="Ellab Sans Light"/>
                        </a:rPr>
                        <a:t>Val</a:t>
                      </a:r>
                      <a:r>
                        <a:rPr lang="en-US" sz="3200" dirty="0">
                          <a:solidFill>
                            <a:schemeClr val="bg2"/>
                          </a:solidFill>
                          <a:latin typeface="+mj-lt"/>
                          <a:ea typeface="Ellab Sans Light"/>
                        </a:rPr>
                        <a:t>Suite</a:t>
                      </a:r>
                    </a:p>
                  </a:txBody>
                  <a:tcPr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3200" dirty="0">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3200" dirty="0">
                          <a:latin typeface="+mj-lt"/>
                        </a:rPr>
                        <a:t>Other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5568817"/>
                  </a:ext>
                </a:extLst>
              </a:tr>
              <a:tr h="776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accent1"/>
                          </a:solidFill>
                          <a:latin typeface="+mn-lt"/>
                          <a:ea typeface="Ellab Sans Light"/>
                          <a:cs typeface="+mn-cs"/>
                        </a:rPr>
                        <a:t>ValSuite used for </a:t>
                      </a:r>
                      <a:r>
                        <a:rPr lang="en-US" sz="1400" b="1" kern="1200" dirty="0">
                          <a:solidFill>
                            <a:schemeClr val="bg2"/>
                          </a:solidFill>
                          <a:latin typeface="+mn-lt"/>
                          <a:ea typeface="Ellab Sans Light"/>
                          <a:cs typeface="+mn-cs"/>
                        </a:rPr>
                        <a:t>all Ellab range</a:t>
                      </a:r>
                      <a:r>
                        <a:rPr lang="en-US" sz="1400" kern="1200" dirty="0">
                          <a:solidFill>
                            <a:schemeClr val="accent1"/>
                          </a:solidFill>
                          <a:latin typeface="+mn-lt"/>
                          <a:ea typeface="Ellab Sans Light"/>
                          <a:cs typeface="+mn-cs"/>
                        </a:rPr>
                        <a:t>. Wireless + Real time + Reporting.</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Need specific software to each hardware, and then you send to the reporting tool software.</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8192479"/>
                  </a:ext>
                </a:extLst>
              </a:tr>
              <a:tr h="4773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ValSuite with </a:t>
                      </a:r>
                      <a:r>
                        <a:rPr lang="en-US" sz="1400" b="1" dirty="0">
                          <a:solidFill>
                            <a:schemeClr val="bg2"/>
                          </a:solidFill>
                          <a:latin typeface="+mj-lt"/>
                          <a:ea typeface="Ellab Sans Light"/>
                        </a:rPr>
                        <a:t>local languag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Only English or limited options</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734595"/>
                  </a:ext>
                </a:extLst>
              </a:tr>
              <a:tr h="4448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IT dept is our friend</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Afraid of IT dept.</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1214006"/>
                  </a:ext>
                </a:extLst>
              </a:tr>
              <a:tr h="464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2"/>
                          </a:solidFill>
                          <a:latin typeface="+mj-lt"/>
                          <a:ea typeface="Ellab Sans Light"/>
                        </a:rPr>
                        <a:t>Different types </a:t>
                      </a:r>
                      <a:r>
                        <a:rPr lang="en-US" sz="1400" dirty="0">
                          <a:solidFill>
                            <a:schemeClr val="accent1"/>
                          </a:solidFill>
                          <a:latin typeface="+mj-lt"/>
                          <a:ea typeface="Ellab Sans Light"/>
                        </a:rPr>
                        <a:t>of calibration availabl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Rigid calibration set-up</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7823148"/>
                  </a:ext>
                </a:extLst>
              </a:tr>
              <a:tr h="388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2"/>
                          </a:solidFill>
                          <a:latin typeface="+mj-lt"/>
                          <a:ea typeface="Ellab Sans Light"/>
                        </a:rPr>
                        <a:t>No limit </a:t>
                      </a:r>
                      <a:r>
                        <a:rPr lang="en-US" sz="1400" dirty="0">
                          <a:solidFill>
                            <a:schemeClr val="accent1"/>
                          </a:solidFill>
                          <a:latin typeface="+mj-lt"/>
                          <a:ea typeface="Ellab Sans Light"/>
                        </a:rPr>
                        <a:t>in #channels in report.</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Large studies… separate reports.</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8268699"/>
                  </a:ext>
                </a:extLst>
              </a:tr>
              <a:tr h="208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Get the sensors in… we can set-up the report later.</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Rigid. Not allow for quick reaction.</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0918703"/>
                  </a:ext>
                </a:extLst>
              </a:tr>
              <a:tr h="6639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latin typeface="+mj-lt"/>
                          <a:ea typeface="Ellab Sans Light"/>
                        </a:rPr>
                        <a:t>Ideology of </a:t>
                      </a:r>
                      <a:r>
                        <a:rPr lang="en-US" sz="1400" b="1" dirty="0">
                          <a:solidFill>
                            <a:schemeClr val="bg2"/>
                          </a:solidFill>
                          <a:latin typeface="+mj-lt"/>
                          <a:ea typeface="Ellab Sans Light"/>
                        </a:rPr>
                        <a:t>modern workplace</a:t>
                      </a:r>
                      <a:r>
                        <a:rPr lang="en-US" sz="1400" dirty="0">
                          <a:solidFill>
                            <a:schemeClr val="accent1"/>
                          </a:solidFill>
                          <a:latin typeface="+mj-lt"/>
                          <a:ea typeface="Ellab Sans Light"/>
                        </a:rPr>
                        <a:t>. Different collaborators.</a:t>
                      </a:r>
                    </a:p>
                    <a:p>
                      <a:pPr algn="l"/>
                      <a:endParaRPr lang="en-US" sz="1400" dirty="0">
                        <a:solidFill>
                          <a:schemeClr val="accent1"/>
                        </a:solidFill>
                        <a:latin typeface="+mj-lt"/>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1"/>
                          </a:solidFill>
                        </a:rPr>
                        <a:t>Old style workplace. “The validator gu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5793303"/>
                  </a:ext>
                </a:extLst>
              </a:tr>
              <a:tr h="265568">
                <a:tc>
                  <a:txBody>
                    <a:bodyPr/>
                    <a:lstStyle/>
                    <a:p>
                      <a:pPr algn="l"/>
                      <a:endParaRPr lang="en-US" sz="1400" dirty="0">
                        <a:latin typeface="+mj-lt"/>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accent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4225377"/>
                  </a:ext>
                </a:extLst>
              </a:tr>
            </a:tbl>
          </a:graphicData>
        </a:graphic>
      </p:graphicFrame>
      <p:sp>
        <p:nvSpPr>
          <p:cNvPr id="5" name="Rectangle 4">
            <a:extLst>
              <a:ext uri="{FF2B5EF4-FFF2-40B4-BE49-F238E27FC236}">
                <a16:creationId xmlns:a16="http://schemas.microsoft.com/office/drawing/2014/main" id="{3E2F7FD1-CD8E-1A6C-3F53-872645293DF2}"/>
              </a:ext>
            </a:extLst>
          </p:cNvPr>
          <p:cNvSpPr>
            <a:spLocks noGrp="1" noRot="1" noMove="1" noResize="1" noEditPoints="1" noAdjustHandles="1" noChangeArrowheads="1" noChangeShapeType="1"/>
          </p:cNvSpPr>
          <p:nvPr/>
        </p:nvSpPr>
        <p:spPr>
          <a:xfrm>
            <a:off x="-1" y="6374607"/>
            <a:ext cx="988219" cy="48339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lab Sans"/>
              <a:ea typeface="+mn-ea"/>
              <a:cs typeface="+mn-cs"/>
            </a:endParaRPr>
          </a:p>
        </p:txBody>
      </p:sp>
      <p:sp>
        <p:nvSpPr>
          <p:cNvPr id="9" name="Title 2">
            <a:extLst>
              <a:ext uri="{FF2B5EF4-FFF2-40B4-BE49-F238E27FC236}">
                <a16:creationId xmlns:a16="http://schemas.microsoft.com/office/drawing/2014/main" id="{9D43C5B5-C647-0F87-0CB3-777D128E06F3}"/>
              </a:ext>
            </a:extLst>
          </p:cNvPr>
          <p:cNvSpPr>
            <a:spLocks noGrp="1"/>
          </p:cNvSpPr>
          <p:nvPr>
            <p:ph type="title"/>
          </p:nvPr>
        </p:nvSpPr>
        <p:spPr>
          <a:xfrm>
            <a:off x="360000" y="936001"/>
            <a:ext cx="9647950" cy="365126"/>
          </a:xfrm>
        </p:spPr>
        <p:txBody>
          <a:bodyPr/>
          <a:lstStyle/>
          <a:p>
            <a:r>
              <a:rPr lang="en-US" dirty="0">
                <a:solidFill>
                  <a:schemeClr val="accent1"/>
                </a:solidFill>
              </a:rPr>
              <a:t>What is the Best Way to </a:t>
            </a:r>
            <a:r>
              <a:rPr lang="en-US" dirty="0">
                <a:solidFill>
                  <a:schemeClr val="bg2"/>
                </a:solidFill>
              </a:rPr>
              <a:t>Show ValSuite</a:t>
            </a:r>
            <a:r>
              <a:rPr lang="en-US" dirty="0">
                <a:solidFill>
                  <a:schemeClr val="accent1"/>
                </a:solidFill>
              </a:rPr>
              <a:t>?</a:t>
            </a:r>
          </a:p>
        </p:txBody>
      </p:sp>
      <p:pic>
        <p:nvPicPr>
          <p:cNvPr id="35" name="Picture 34" descr="A person wearing a white protective suit and face mask&#10;&#10;AI-generated content may be incorrect.">
            <a:extLst>
              <a:ext uri="{FF2B5EF4-FFF2-40B4-BE49-F238E27FC236}">
                <a16:creationId xmlns:a16="http://schemas.microsoft.com/office/drawing/2014/main" id="{27C69960-7687-18EC-331A-C86350586C41}"/>
              </a:ext>
            </a:extLst>
          </p:cNvPr>
          <p:cNvPicPr>
            <a:picLocks noChangeAspect="1"/>
          </p:cNvPicPr>
          <p:nvPr/>
        </p:nvPicPr>
        <p:blipFill>
          <a:blip r:embed="rId3" cstate="screen">
            <a:extLst>
              <a:ext uri="{BEBA8EAE-BF5A-486C-A8C5-ECC9F3942E4B}">
                <a14:imgProps xmlns:a14="http://schemas.microsoft.com/office/drawing/2010/main">
                  <a14:imgLayer r:embed="rId4">
                    <a14:imgEffect>
                      <a14:colorTemperature colorTemp="4460"/>
                    </a14:imgEffect>
                    <a14:imgEffect>
                      <a14:saturation sat="120000"/>
                    </a14:imgEffect>
                  </a14:imgLayer>
                </a14:imgProps>
              </a:ext>
              <a:ext uri="{28A0092B-C50C-407E-A947-70E740481C1C}">
                <a14:useLocalDpi xmlns:a14="http://schemas.microsoft.com/office/drawing/2010/main"/>
              </a:ext>
            </a:extLst>
          </a:blip>
          <a:srcRect b="12003"/>
          <a:stretch/>
        </p:blipFill>
        <p:spPr>
          <a:xfrm>
            <a:off x="3727842" y="2986819"/>
            <a:ext cx="2767711" cy="3871181"/>
          </a:xfrm>
          <a:prstGeom prst="rect">
            <a:avLst/>
          </a:prstGeom>
        </p:spPr>
      </p:pic>
      <p:sp>
        <p:nvSpPr>
          <p:cNvPr id="3" name="TextBox 2">
            <a:extLst>
              <a:ext uri="{FF2B5EF4-FFF2-40B4-BE49-F238E27FC236}">
                <a16:creationId xmlns:a16="http://schemas.microsoft.com/office/drawing/2014/main" id="{BF86337D-AE13-D0CF-60B4-467615234D34}"/>
              </a:ext>
            </a:extLst>
          </p:cNvPr>
          <p:cNvSpPr txBox="1">
            <a:spLocks noGrp="1" noRot="1" noMove="1" noResize="1" noEditPoints="1" noAdjustHandles="1" noChangeArrowheads="1" noChangeShapeType="1"/>
          </p:cNvSpPr>
          <p:nvPr/>
        </p:nvSpPr>
        <p:spPr>
          <a:xfrm>
            <a:off x="76057" y="6339397"/>
            <a:ext cx="1279420"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Your Life Scie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17AAE2"/>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Complian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Ellab Sans SemiBold" panose="02000503000000020004" pitchFamily="2" charset="0"/>
                <a:ea typeface="Ellab Sans SemiBold" panose="02000503000000020004" pitchFamily="2" charset="0"/>
                <a:cs typeface="Ellab Sans SemiBold" panose="02000503000000020004" pitchFamily="2" charset="0"/>
              </a:rPr>
              <a:t>Partner</a:t>
            </a:r>
          </a:p>
        </p:txBody>
      </p:sp>
    </p:spTree>
    <p:extLst>
      <p:ext uri="{BB962C8B-B14F-4D97-AF65-F5344CB8AC3E}">
        <p14:creationId xmlns:p14="http://schemas.microsoft.com/office/powerpoint/2010/main" val="371972581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68E8A3-A156-B439-F9D3-ABA768C8D4B8}"/>
              </a:ext>
            </a:extLst>
          </p:cNvPr>
          <p:cNvSpPr>
            <a:spLocks noGrp="1"/>
          </p:cNvSpPr>
          <p:nvPr>
            <p:ph type="body" sz="half" idx="10"/>
          </p:nvPr>
        </p:nvSpPr>
        <p:spPr/>
        <p:txBody>
          <a:bodyPr/>
          <a:lstStyle/>
          <a:p>
            <a:endParaRPr lang="en-US"/>
          </a:p>
        </p:txBody>
      </p:sp>
      <p:sp>
        <p:nvSpPr>
          <p:cNvPr id="5" name="Title 4">
            <a:extLst>
              <a:ext uri="{FF2B5EF4-FFF2-40B4-BE49-F238E27FC236}">
                <a16:creationId xmlns:a16="http://schemas.microsoft.com/office/drawing/2014/main" id="{8A53FD6C-DD14-2D02-38A4-9EC372F062AC}"/>
              </a:ext>
            </a:extLst>
          </p:cNvPr>
          <p:cNvSpPr>
            <a:spLocks noGrp="1"/>
          </p:cNvSpPr>
          <p:nvPr>
            <p:ph type="title"/>
          </p:nvPr>
        </p:nvSpPr>
        <p:spPr>
          <a:effectLst>
            <a:outerShdw blurRad="50800" dist="38100" dir="2700000" algn="tl" rotWithShape="0">
              <a:prstClr val="black">
                <a:alpha val="40000"/>
              </a:prstClr>
            </a:outerShdw>
          </a:effectLst>
        </p:spPr>
        <p:txBody>
          <a:bodyPr/>
          <a:lstStyle/>
          <a:p>
            <a:r>
              <a:rPr lang="en-US" sz="8640" dirty="0">
                <a:latin typeface="+mn-lt"/>
              </a:rPr>
              <a:t>Major trends</a:t>
            </a:r>
          </a:p>
        </p:txBody>
      </p:sp>
      <p:sp>
        <p:nvSpPr>
          <p:cNvPr id="2" name="Text Placeholder 1">
            <a:extLst>
              <a:ext uri="{FF2B5EF4-FFF2-40B4-BE49-F238E27FC236}">
                <a16:creationId xmlns:a16="http://schemas.microsoft.com/office/drawing/2014/main" id="{FE3DF59C-3082-AB55-3747-78BEA011E150}"/>
              </a:ext>
            </a:extLst>
          </p:cNvPr>
          <p:cNvSpPr>
            <a:spLocks noGrp="1"/>
          </p:cNvSpPr>
          <p:nvPr>
            <p:ph type="body" sz="half" idx="2"/>
          </p:nvPr>
        </p:nvSpPr>
        <p:spPr/>
        <p:txBody>
          <a:bodyPr/>
          <a:lstStyle/>
          <a:p>
            <a:endParaRPr lang="en-US"/>
          </a:p>
        </p:txBody>
      </p:sp>
      <p:pic>
        <p:nvPicPr>
          <p:cNvPr id="15" name="Graphic 14">
            <a:extLst>
              <a:ext uri="{FF2B5EF4-FFF2-40B4-BE49-F238E27FC236}">
                <a16:creationId xmlns:a16="http://schemas.microsoft.com/office/drawing/2014/main" id="{BCE61699-07C9-69B9-2B2D-C1D3F2B7D0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05544" y="2915043"/>
            <a:ext cx="5530520" cy="3702358"/>
          </a:xfrm>
          <a:prstGeom prst="rect">
            <a:avLst/>
          </a:prstGeom>
        </p:spPr>
      </p:pic>
    </p:spTree>
    <p:extLst>
      <p:ext uri="{BB962C8B-B14F-4D97-AF65-F5344CB8AC3E}">
        <p14:creationId xmlns:p14="http://schemas.microsoft.com/office/powerpoint/2010/main" val="11560846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4FD7B5-2138-4F96-B324-348373C99781}"/>
            </a:ext>
          </a:extLst>
        </p:cNvPr>
        <p:cNvGrpSpPr/>
        <p:nvPr/>
      </p:nvGrpSpPr>
      <p:grpSpPr>
        <a:xfrm>
          <a:off x="0" y="0"/>
          <a:ext cx="0" cy="0"/>
          <a:chOff x="0" y="0"/>
          <a:chExt cx="0" cy="0"/>
        </a:xfrm>
      </p:grpSpPr>
      <p:pic>
        <p:nvPicPr>
          <p:cNvPr id="6" name="Picture 5" descr="A close-up of a person wearing a white coat&#10;&#10;AI-generated content may be incorrect.">
            <a:extLst>
              <a:ext uri="{FF2B5EF4-FFF2-40B4-BE49-F238E27FC236}">
                <a16:creationId xmlns:a16="http://schemas.microsoft.com/office/drawing/2014/main" id="{156BF71F-6F36-9971-C735-1266134604D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600" y="1"/>
            <a:ext cx="10972800" cy="6515099"/>
          </a:xfrm>
          <a:prstGeom prst="rect">
            <a:avLst/>
          </a:prstGeom>
        </p:spPr>
      </p:pic>
      <p:sp>
        <p:nvSpPr>
          <p:cNvPr id="5" name="Text Placeholder 4">
            <a:extLst>
              <a:ext uri="{FF2B5EF4-FFF2-40B4-BE49-F238E27FC236}">
                <a16:creationId xmlns:a16="http://schemas.microsoft.com/office/drawing/2014/main" id="{D31FCA6C-A4E7-786A-7893-0BCA0E318BCF}"/>
              </a:ext>
            </a:extLst>
          </p:cNvPr>
          <p:cNvSpPr>
            <a:spLocks noGrp="1"/>
          </p:cNvSpPr>
          <p:nvPr>
            <p:ph type="body" sz="half" idx="2"/>
          </p:nvPr>
        </p:nvSpPr>
        <p:spPr>
          <a:xfrm>
            <a:off x="1905151" y="3783533"/>
            <a:ext cx="5562449" cy="1385530"/>
          </a:xfrm>
        </p:spPr>
        <p:txBody>
          <a:bodyPr/>
          <a:lstStyle/>
          <a:p>
            <a:pPr>
              <a:lnSpc>
                <a:spcPct val="100000"/>
              </a:lnSpc>
            </a:pPr>
            <a:r>
              <a:rPr lang="en-US" sz="1620"/>
              <a:t>With global expertise and local reach, we deliver tailored solutions that ensure consistent support across sites and markets – protecting your products and accelerating your path to success.</a:t>
            </a:r>
          </a:p>
        </p:txBody>
      </p:sp>
      <p:sp>
        <p:nvSpPr>
          <p:cNvPr id="7" name="TextBox 6">
            <a:extLst>
              <a:ext uri="{FF2B5EF4-FFF2-40B4-BE49-F238E27FC236}">
                <a16:creationId xmlns:a16="http://schemas.microsoft.com/office/drawing/2014/main" id="{3910A0BF-60DF-51D2-E132-F4CBCBC33E5D}"/>
              </a:ext>
            </a:extLst>
          </p:cNvPr>
          <p:cNvSpPr txBox="1"/>
          <p:nvPr/>
        </p:nvSpPr>
        <p:spPr>
          <a:xfrm>
            <a:off x="1905152" y="1780682"/>
            <a:ext cx="5948128" cy="1809726"/>
          </a:xfrm>
          <a:prstGeom prst="rect">
            <a:avLst/>
          </a:prstGeom>
          <a:noFill/>
        </p:spPr>
        <p:txBody>
          <a:bodyPr wrap="square" rtlCol="0">
            <a:spAutoFit/>
          </a:bodyPr>
          <a:lstStyle/>
          <a:p>
            <a:pPr defTabSz="822960"/>
            <a:r>
              <a:rPr lang="en-US" sz="2790" b="1">
                <a:solidFill>
                  <a:srgbClr val="00004B"/>
                </a:solidFill>
                <a:latin typeface="Ellab Sans"/>
              </a:rPr>
              <a:t>At Ellab, we’re more than a service provider, we’re your dedicated partner in </a:t>
            </a:r>
            <a:r>
              <a:rPr lang="en-US" sz="2790" b="1">
                <a:solidFill>
                  <a:srgbClr val="17AAE2"/>
                </a:solidFill>
                <a:latin typeface="Ellab Sans"/>
              </a:rPr>
              <a:t>mastering life science compliance</a:t>
            </a:r>
            <a:r>
              <a:rPr lang="en-US" sz="2790" b="1">
                <a:solidFill>
                  <a:srgbClr val="00004B"/>
                </a:solidFill>
                <a:latin typeface="Ellab Sans"/>
              </a:rPr>
              <a:t>. </a:t>
            </a:r>
          </a:p>
        </p:txBody>
      </p:sp>
      <p:pic>
        <p:nvPicPr>
          <p:cNvPr id="9" name="Picture 8" descr="A blue and black stripe&#10;&#10;AI-generated content may be incorrect.">
            <a:extLst>
              <a:ext uri="{FF2B5EF4-FFF2-40B4-BE49-F238E27FC236}">
                <a16:creationId xmlns:a16="http://schemas.microsoft.com/office/drawing/2014/main" id="{3FB59671-1E36-88D3-311B-BF09886265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35430" y="3903050"/>
            <a:ext cx="2104721" cy="6172200"/>
          </a:xfrm>
          <a:prstGeom prst="rect">
            <a:avLst/>
          </a:prstGeom>
        </p:spPr>
      </p:pic>
      <p:sp>
        <p:nvSpPr>
          <p:cNvPr id="2" name="Tekstfelt 1">
            <a:extLst>
              <a:ext uri="{FF2B5EF4-FFF2-40B4-BE49-F238E27FC236}">
                <a16:creationId xmlns:a16="http://schemas.microsoft.com/office/drawing/2014/main" id="{CAAC4A03-955C-D2C3-4E4B-249A29B6DC7B}"/>
              </a:ext>
            </a:extLst>
          </p:cNvPr>
          <p:cNvSpPr txBox="1"/>
          <p:nvPr/>
        </p:nvSpPr>
        <p:spPr>
          <a:xfrm>
            <a:off x="10709517" y="6140605"/>
            <a:ext cx="581251" cy="271869"/>
          </a:xfrm>
          <a:prstGeom prst="rect">
            <a:avLst/>
          </a:prstGeom>
          <a:noFill/>
        </p:spPr>
        <p:txBody>
          <a:bodyPr wrap="square" rIns="0" rtlCol="0">
            <a:spAutoFit/>
          </a:bodyPr>
          <a:lstStyle/>
          <a:p>
            <a:pPr algn="r" defTabSz="822960">
              <a:lnSpc>
                <a:spcPts val="1440"/>
              </a:lnSpc>
            </a:pPr>
            <a:fld id="{21BE3427-6350-7449-907E-202CD6E1E8BD}" type="slidenum">
              <a:rPr lang="da-DK" sz="1260">
                <a:solidFill>
                  <a:srgbClr val="FFFFFF"/>
                </a:solidFill>
                <a:latin typeface="Ellab Sans"/>
              </a:rPr>
              <a:pPr algn="r" defTabSz="822960">
                <a:lnSpc>
                  <a:spcPts val="1440"/>
                </a:lnSpc>
              </a:pPr>
              <a:t>8</a:t>
            </a:fld>
            <a:endParaRPr lang="da-DK" sz="1260">
              <a:solidFill>
                <a:srgbClr val="FFFFFF"/>
              </a:solidFill>
              <a:latin typeface="Ellab Sans"/>
            </a:endParaRPr>
          </a:p>
        </p:txBody>
      </p:sp>
    </p:spTree>
    <p:extLst>
      <p:ext uri="{BB962C8B-B14F-4D97-AF65-F5344CB8AC3E}">
        <p14:creationId xmlns:p14="http://schemas.microsoft.com/office/powerpoint/2010/main" val="2698771799"/>
      </p:ext>
    </p:extLst>
  </p:cSld>
  <p:clrMapOvr>
    <a:masterClrMapping/>
  </p:clrMapOvr>
  <mc:AlternateContent xmlns:mc="http://schemas.openxmlformats.org/markup-compatibility/2006" xmlns:p14="http://schemas.microsoft.com/office/powerpoint/2010/main">
    <mc:Choice Requires="p14">
      <p:transition spd="slow" p14:dur="1500">
        <p:push dir="r"/>
      </p:transition>
    </mc:Choice>
    <mc:Fallback xmlns="">
      <p:transition spd="slow">
        <p:push dir="r"/>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2959EF0-35FA-9E15-FA62-AA5DD1E9EC6A}"/>
              </a:ext>
            </a:extLst>
          </p:cNvPr>
          <p:cNvSpPr>
            <a:spLocks noGrp="1"/>
          </p:cNvSpPr>
          <p:nvPr>
            <p:ph type="body" sz="half" idx="10"/>
          </p:nvPr>
        </p:nvSpPr>
        <p:spPr/>
        <p:txBody>
          <a:bodyPr/>
          <a:lstStyle/>
          <a:p>
            <a:pPr marL="342900" indent="-342900">
              <a:buFont typeface="Arial" panose="020B0604020202020204" pitchFamily="34" charset="0"/>
              <a:buChar char="•"/>
            </a:pPr>
            <a:r>
              <a:rPr lang="en-US" dirty="0"/>
              <a:t>Validation of </a:t>
            </a:r>
            <a:r>
              <a:rPr lang="en-US" dirty="0">
                <a:solidFill>
                  <a:schemeClr val="accent1"/>
                </a:solidFill>
              </a:rPr>
              <a:t>deeper</a:t>
            </a:r>
            <a:r>
              <a:rPr lang="en-US" dirty="0"/>
              <a:t> parts of the manufacturing proces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Document </a:t>
            </a:r>
            <a:r>
              <a:rPr lang="en-US" dirty="0">
                <a:solidFill>
                  <a:schemeClr val="accent1"/>
                </a:solidFill>
              </a:rPr>
              <a:t>harmonization</a:t>
            </a:r>
            <a:r>
              <a:rPr lang="en-US" dirty="0"/>
              <a:t> of processes worldwide.</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New therapies.</a:t>
            </a:r>
          </a:p>
          <a:p>
            <a:endParaRPr lang="en-DK" dirty="0"/>
          </a:p>
        </p:txBody>
      </p:sp>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p:txBody>
          <a:bodyPr/>
          <a:lstStyle/>
          <a:p>
            <a:r>
              <a:rPr lang="en-US" sz="2640" dirty="0"/>
              <a:t>Increasing regulatory stringency</a:t>
            </a:r>
          </a:p>
        </p:txBody>
      </p:sp>
      <p:sp>
        <p:nvSpPr>
          <p:cNvPr id="3" name="Text Placeholder 2">
            <a:extLst>
              <a:ext uri="{FF2B5EF4-FFF2-40B4-BE49-F238E27FC236}">
                <a16:creationId xmlns:a16="http://schemas.microsoft.com/office/drawing/2014/main" id="{6E080FD2-A6CA-80D9-1247-AC0686810DC6}"/>
              </a:ext>
            </a:extLst>
          </p:cNvPr>
          <p:cNvSpPr>
            <a:spLocks noGrp="1"/>
          </p:cNvSpPr>
          <p:nvPr>
            <p:ph type="body" sz="half" idx="2"/>
          </p:nvPr>
        </p:nvSpPr>
        <p:spPr/>
        <p:txBody>
          <a:bodyPr/>
          <a:lstStyle/>
          <a:p>
            <a:endParaRPr lang="en-US"/>
          </a:p>
        </p:txBody>
      </p:sp>
      <p:pic>
        <p:nvPicPr>
          <p:cNvPr id="11" name="Picture Placeholder 10" descr="Icon&#10;&#10;Description automatically generated with low confidence">
            <a:extLst>
              <a:ext uri="{FF2B5EF4-FFF2-40B4-BE49-F238E27FC236}">
                <a16:creationId xmlns:a16="http://schemas.microsoft.com/office/drawing/2014/main" id="{73406FA6-85B7-E8DA-2733-9065A2E65E25}"/>
              </a:ext>
            </a:extLst>
          </p:cNvPr>
          <p:cNvPicPr>
            <a:picLocks noGrp="1" noChangeAspect="1"/>
          </p:cNvPicPr>
          <p:nvPr>
            <p:ph type="pic" sz="quarter" idx="4294967295"/>
          </p:nvPr>
        </p:nvPicPr>
        <p:blipFill>
          <a:blip r:embed="rId2" cstate="screen">
            <a:extLst>
              <a:ext uri="{28A0092B-C50C-407E-A947-70E740481C1C}">
                <a14:useLocalDpi xmlns:a14="http://schemas.microsoft.com/office/drawing/2010/main"/>
              </a:ext>
            </a:extLst>
          </a:blip>
          <a:srcRect/>
          <a:stretch>
            <a:fillRect/>
          </a:stretch>
        </p:blipFill>
        <p:spPr>
          <a:xfrm>
            <a:off x="6137275" y="3175"/>
            <a:ext cx="6054725" cy="6432550"/>
          </a:xfrm>
        </p:spPr>
      </p:pic>
      <p:sp>
        <p:nvSpPr>
          <p:cNvPr id="5" name="Title 5">
            <a:extLst>
              <a:ext uri="{FF2B5EF4-FFF2-40B4-BE49-F238E27FC236}">
                <a16:creationId xmlns:a16="http://schemas.microsoft.com/office/drawing/2014/main" id="{07D3E47F-C956-8A9B-D4BB-6F8FD1B1B247}"/>
              </a:ext>
            </a:extLst>
          </p:cNvPr>
          <p:cNvSpPr txBox="1">
            <a:spLocks/>
          </p:cNvSpPr>
          <p:nvPr/>
        </p:nvSpPr>
        <p:spPr>
          <a:xfrm>
            <a:off x="793364" y="2307719"/>
            <a:ext cx="4159637" cy="2618611"/>
          </a:xfrm>
          <a:prstGeom prst="rect">
            <a:avLst/>
          </a:prstGeom>
        </p:spPr>
        <p:txBody>
          <a:bodyPr spcFirstLastPara="1" wrap="square" lIns="109710" tIns="109710" rIns="109710" bIns="109710" anchor="b" anchorCtr="0">
            <a:noAutofit/>
          </a:bodyPr>
          <a:lstStyle>
            <a:lvl1pPr lvl="0" algn="l" defTabSz="685800" rtl="0" eaLnBrk="1" fontAlgn="base" hangingPunct="1">
              <a:lnSpc>
                <a:spcPct val="100000"/>
              </a:lnSpc>
              <a:spcBef>
                <a:spcPts val="0"/>
              </a:spcBef>
              <a:spcAft>
                <a:spcPts val="0"/>
              </a:spcAft>
              <a:buSzPts val="2400"/>
              <a:buNone/>
              <a:defRPr sz="2400" b="1" i="0" kern="1200">
                <a:solidFill>
                  <a:schemeClr val="tx1"/>
                </a:solidFill>
                <a:latin typeface="+mj-lt"/>
                <a:ea typeface="+mj-ea"/>
                <a:cs typeface="+mj-cs"/>
              </a:defRPr>
            </a:lvl1pPr>
            <a:lvl2pPr lvl="1"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2pPr>
            <a:lvl3pPr lvl="2"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3pPr>
            <a:lvl4pPr lvl="3"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4pPr>
            <a:lvl5pPr lvl="4"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5pPr>
            <a:lvl6pPr marL="457200" lvl="5"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6pPr>
            <a:lvl7pPr marL="914400" lvl="6"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7pPr>
            <a:lvl8pPr marL="1371600" lvl="7"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8pPr>
            <a:lvl9pPr marL="1828800" lvl="8"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9pPr>
          </a:lstStyle>
          <a:p>
            <a:pPr marL="342900" indent="-342900">
              <a:buFont typeface="Arial" panose="020B0604020202020204" pitchFamily="34" charset="0"/>
              <a:buChar char="•"/>
            </a:pPr>
            <a:endParaRPr lang="en-US" sz="1920" dirty="0"/>
          </a:p>
        </p:txBody>
      </p:sp>
    </p:spTree>
    <p:extLst>
      <p:ext uri="{BB962C8B-B14F-4D97-AF65-F5344CB8AC3E}">
        <p14:creationId xmlns:p14="http://schemas.microsoft.com/office/powerpoint/2010/main" val="67155877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617EFF32-D96F-E6A4-DF55-8299315A68C8}"/>
              </a:ext>
            </a:extLst>
          </p:cNvPr>
          <p:cNvSpPr/>
          <p:nvPr/>
        </p:nvSpPr>
        <p:spPr>
          <a:xfrm>
            <a:off x="-1514587" y="-1629173"/>
            <a:ext cx="11317337" cy="10542329"/>
          </a:xfrm>
          <a:custGeom>
            <a:avLst/>
            <a:gdLst>
              <a:gd name="connsiteX0" fmla="*/ 4715513 w 9431114"/>
              <a:gd name="connsiteY0" fmla="*/ 8785273 h 8785274"/>
              <a:gd name="connsiteX1" fmla="*/ 4715602 w 9431114"/>
              <a:gd name="connsiteY1" fmla="*/ 8785273 h 8785274"/>
              <a:gd name="connsiteX2" fmla="*/ 4715557 w 9431114"/>
              <a:gd name="connsiteY2" fmla="*/ 8785274 h 8785274"/>
              <a:gd name="connsiteX3" fmla="*/ 4715557 w 9431114"/>
              <a:gd name="connsiteY3" fmla="*/ 0 h 8785274"/>
              <a:gd name="connsiteX4" fmla="*/ 9431114 w 9431114"/>
              <a:gd name="connsiteY4" fmla="*/ 4392637 h 8785274"/>
              <a:gd name="connsiteX5" fmla="*/ 8748427 w 9431114"/>
              <a:gd name="connsiteY5" fmla="*/ 6670379 h 8785274"/>
              <a:gd name="connsiteX6" fmla="*/ 8713146 w 9431114"/>
              <a:gd name="connsiteY6" fmla="*/ 6721643 h 8785274"/>
              <a:gd name="connsiteX7" fmla="*/ 717968 w 9431114"/>
              <a:gd name="connsiteY7" fmla="*/ 6721643 h 8785274"/>
              <a:gd name="connsiteX8" fmla="*/ 682687 w 9431114"/>
              <a:gd name="connsiteY8" fmla="*/ 6670379 h 8785274"/>
              <a:gd name="connsiteX9" fmla="*/ 0 w 9431114"/>
              <a:gd name="connsiteY9" fmla="*/ 4392637 h 8785274"/>
              <a:gd name="connsiteX10" fmla="*/ 4715557 w 9431114"/>
              <a:gd name="connsiteY10" fmla="*/ 0 h 878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1114" h="8785274">
                <a:moveTo>
                  <a:pt x="4715513" y="8785273"/>
                </a:moveTo>
                <a:lnTo>
                  <a:pt x="4715602" y="8785273"/>
                </a:lnTo>
                <a:lnTo>
                  <a:pt x="4715557" y="8785274"/>
                </a:lnTo>
                <a:close/>
                <a:moveTo>
                  <a:pt x="4715557" y="0"/>
                </a:moveTo>
                <a:cubicBezTo>
                  <a:pt x="7319887" y="0"/>
                  <a:pt x="9431114" y="1966651"/>
                  <a:pt x="9431114" y="4392637"/>
                </a:cubicBezTo>
                <a:cubicBezTo>
                  <a:pt x="9431114" y="5226570"/>
                  <a:pt x="9181643" y="6006226"/>
                  <a:pt x="8748427" y="6670379"/>
                </a:cubicBezTo>
                <a:lnTo>
                  <a:pt x="8713146" y="6721643"/>
                </a:lnTo>
                <a:lnTo>
                  <a:pt x="717968" y="6721643"/>
                </a:lnTo>
                <a:lnTo>
                  <a:pt x="682687" y="6670379"/>
                </a:lnTo>
                <a:cubicBezTo>
                  <a:pt x="249471" y="6006226"/>
                  <a:pt x="0" y="5226570"/>
                  <a:pt x="0" y="4392637"/>
                </a:cubicBezTo>
                <a:cubicBezTo>
                  <a:pt x="0" y="1966651"/>
                  <a:pt x="2111227" y="0"/>
                  <a:pt x="47155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DK"/>
          </a:p>
        </p:txBody>
      </p:sp>
      <p:pic>
        <p:nvPicPr>
          <p:cNvPr id="9" name="Picture 8" descr="Collaborative meeting table">
            <a:extLst>
              <a:ext uri="{FF2B5EF4-FFF2-40B4-BE49-F238E27FC236}">
                <a16:creationId xmlns:a16="http://schemas.microsoft.com/office/drawing/2014/main" id="{AD18443C-701A-B030-12E5-DC9CCBD5F16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10800000">
            <a:off x="609601" y="1441667"/>
            <a:ext cx="4676101" cy="6033427"/>
          </a:xfrm>
          <a:custGeom>
            <a:avLst/>
            <a:gdLst>
              <a:gd name="connsiteX0" fmla="*/ 2350800 w 3643892"/>
              <a:gd name="connsiteY0" fmla="*/ 0 h 4701600"/>
              <a:gd name="connsiteX1" fmla="*/ 3471331 w 3643892"/>
              <a:gd name="connsiteY1" fmla="*/ 283729 h 4701600"/>
              <a:gd name="connsiteX2" fmla="*/ 3643892 w 3643892"/>
              <a:gd name="connsiteY2" fmla="*/ 388562 h 4701600"/>
              <a:gd name="connsiteX3" fmla="*/ 3643892 w 3643892"/>
              <a:gd name="connsiteY3" fmla="*/ 4313038 h 4701600"/>
              <a:gd name="connsiteX4" fmla="*/ 3471331 w 3643892"/>
              <a:gd name="connsiteY4" fmla="*/ 4417871 h 4701600"/>
              <a:gd name="connsiteX5" fmla="*/ 2350800 w 3643892"/>
              <a:gd name="connsiteY5" fmla="*/ 4701600 h 4701600"/>
              <a:gd name="connsiteX6" fmla="*/ 0 w 3643892"/>
              <a:gd name="connsiteY6" fmla="*/ 2350800 h 4701600"/>
              <a:gd name="connsiteX7" fmla="*/ 2350800 w 3643892"/>
              <a:gd name="connsiteY7" fmla="*/ 0 h 47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3892" h="4701600">
                <a:moveTo>
                  <a:pt x="2350800" y="0"/>
                </a:moveTo>
                <a:cubicBezTo>
                  <a:pt x="2756522" y="0"/>
                  <a:pt x="3138238" y="102782"/>
                  <a:pt x="3471331" y="283729"/>
                </a:cubicBezTo>
                <a:lnTo>
                  <a:pt x="3643892" y="388562"/>
                </a:lnTo>
                <a:lnTo>
                  <a:pt x="3643892" y="4313038"/>
                </a:lnTo>
                <a:lnTo>
                  <a:pt x="3471331" y="4417871"/>
                </a:lnTo>
                <a:cubicBezTo>
                  <a:pt x="3138238" y="4598818"/>
                  <a:pt x="2756522" y="4701600"/>
                  <a:pt x="2350800" y="4701600"/>
                </a:cubicBezTo>
                <a:cubicBezTo>
                  <a:pt x="1052489" y="4701600"/>
                  <a:pt x="0" y="3649111"/>
                  <a:pt x="0" y="2350800"/>
                </a:cubicBezTo>
                <a:cubicBezTo>
                  <a:pt x="0" y="1052489"/>
                  <a:pt x="1052489" y="0"/>
                  <a:pt x="2350800" y="0"/>
                </a:cubicBezTo>
                <a:close/>
              </a:path>
            </a:pathLst>
          </a:custGeom>
        </p:spPr>
      </p:pic>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p:txBody>
          <a:bodyPr/>
          <a:lstStyle/>
          <a:p>
            <a:r>
              <a:rPr lang="en-US" dirty="0"/>
              <a:t>Shortage of skilled labor for Biopharma</a:t>
            </a:r>
          </a:p>
        </p:txBody>
      </p:sp>
      <p:sp>
        <p:nvSpPr>
          <p:cNvPr id="2" name="Text Placeholder 1">
            <a:extLst>
              <a:ext uri="{FF2B5EF4-FFF2-40B4-BE49-F238E27FC236}">
                <a16:creationId xmlns:a16="http://schemas.microsoft.com/office/drawing/2014/main" id="{669399E4-0537-3074-AE9D-8D0BCB453D95}"/>
              </a:ext>
            </a:extLst>
          </p:cNvPr>
          <p:cNvSpPr>
            <a:spLocks noGrp="1"/>
          </p:cNvSpPr>
          <p:nvPr>
            <p:ph type="body" sz="half" idx="2"/>
          </p:nvPr>
        </p:nvSpPr>
        <p:spPr/>
        <p:txBody>
          <a:bodyPr/>
          <a:lstStyle/>
          <a:p>
            <a:endParaRPr lang="en-US"/>
          </a:p>
        </p:txBody>
      </p:sp>
      <p:sp>
        <p:nvSpPr>
          <p:cNvPr id="7" name="Title 5">
            <a:extLst>
              <a:ext uri="{FF2B5EF4-FFF2-40B4-BE49-F238E27FC236}">
                <a16:creationId xmlns:a16="http://schemas.microsoft.com/office/drawing/2014/main" id="{D0A1C4CA-DF3D-7678-AF2E-F73FFFE3D371}"/>
              </a:ext>
            </a:extLst>
          </p:cNvPr>
          <p:cNvSpPr txBox="1">
            <a:spLocks/>
          </p:cNvSpPr>
          <p:nvPr/>
        </p:nvSpPr>
        <p:spPr>
          <a:xfrm>
            <a:off x="5742782" y="5060446"/>
            <a:ext cx="4059968" cy="375904"/>
          </a:xfrm>
          <a:prstGeom prst="rect">
            <a:avLst/>
          </a:prstGeom>
        </p:spPr>
        <p:txBody>
          <a:bodyPr spcFirstLastPara="1" wrap="square" lIns="109710" tIns="109710" rIns="109710" bIns="109710" anchor="b" anchorCtr="0">
            <a:noAutofit/>
          </a:bodyPr>
          <a:lstStyle>
            <a:lvl1pPr lvl="0" algn="l" defTabSz="685800" rtl="0" eaLnBrk="1" fontAlgn="base" hangingPunct="1">
              <a:lnSpc>
                <a:spcPct val="100000"/>
              </a:lnSpc>
              <a:spcBef>
                <a:spcPts val="0"/>
              </a:spcBef>
              <a:spcAft>
                <a:spcPts val="0"/>
              </a:spcAft>
              <a:buSzPts val="2400"/>
              <a:buNone/>
              <a:defRPr sz="2400" b="1" i="0" kern="1200">
                <a:solidFill>
                  <a:schemeClr val="tx1"/>
                </a:solidFill>
                <a:latin typeface="+mj-lt"/>
                <a:ea typeface="+mj-ea"/>
                <a:cs typeface="+mj-cs"/>
              </a:defRPr>
            </a:lvl1pPr>
            <a:lvl2pPr lvl="1"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2pPr>
            <a:lvl3pPr lvl="2"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3pPr>
            <a:lvl4pPr lvl="3"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4pPr>
            <a:lvl5pPr lvl="4"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5pPr>
            <a:lvl6pPr marL="457200" lvl="5"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6pPr>
            <a:lvl7pPr marL="914400" lvl="6"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7pPr>
            <a:lvl8pPr marL="1371600" lvl="7"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8pPr>
            <a:lvl9pPr marL="1828800" lvl="8"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9pPr>
          </a:lstStyle>
          <a:p>
            <a:r>
              <a:rPr lang="en-US" sz="2160" dirty="0">
                <a:solidFill>
                  <a:schemeClr val="accent4"/>
                </a:solidFill>
              </a:rPr>
              <a:t>Need for technology that eases on-boarding.</a:t>
            </a:r>
          </a:p>
        </p:txBody>
      </p:sp>
      <p:sp>
        <p:nvSpPr>
          <p:cNvPr id="13" name="TextBox 12">
            <a:extLst>
              <a:ext uri="{FF2B5EF4-FFF2-40B4-BE49-F238E27FC236}">
                <a16:creationId xmlns:a16="http://schemas.microsoft.com/office/drawing/2014/main" id="{0DC36251-3998-6955-2F31-EEB6CD90987F}"/>
              </a:ext>
            </a:extLst>
          </p:cNvPr>
          <p:cNvSpPr txBox="1"/>
          <p:nvPr/>
        </p:nvSpPr>
        <p:spPr>
          <a:xfrm>
            <a:off x="5742781" y="2062446"/>
            <a:ext cx="2557310" cy="646331"/>
          </a:xfrm>
          <a:prstGeom prst="rect">
            <a:avLst/>
          </a:prstGeom>
          <a:noFill/>
        </p:spPr>
        <p:txBody>
          <a:bodyPr wrap="square" rtlCol="0">
            <a:spAutoFit/>
          </a:bodyPr>
          <a:lstStyle/>
          <a:p>
            <a:pPr eaLnBrk="1" fontAlgn="auto" hangingPunct="1">
              <a:spcBef>
                <a:spcPts val="0"/>
              </a:spcBef>
              <a:spcAft>
                <a:spcPts val="0"/>
              </a:spcAft>
            </a:pPr>
            <a:r>
              <a:rPr lang="en-US" b="1" dirty="0">
                <a:solidFill>
                  <a:schemeClr val="accent1"/>
                </a:solidFill>
                <a:latin typeface="+mj-lt"/>
              </a:rPr>
              <a:t>Multilingual</a:t>
            </a:r>
            <a:r>
              <a:rPr lang="en-US" b="1" dirty="0">
                <a:solidFill>
                  <a:srgbClr val="95DBF8"/>
                </a:solidFill>
                <a:latin typeface="+mj-lt"/>
              </a:rPr>
              <a:t> </a:t>
            </a:r>
            <a:r>
              <a:rPr lang="en-US" b="1" dirty="0">
                <a:solidFill>
                  <a:schemeClr val="accent4"/>
                </a:solidFill>
                <a:latin typeface="+mj-lt"/>
              </a:rPr>
              <a:t>environment</a:t>
            </a:r>
            <a:r>
              <a:rPr lang="en-US" b="1" dirty="0">
                <a:solidFill>
                  <a:srgbClr val="1F6898"/>
                </a:solidFill>
                <a:latin typeface="+mj-lt"/>
              </a:rPr>
              <a:t>.</a:t>
            </a:r>
          </a:p>
        </p:txBody>
      </p:sp>
      <p:sp>
        <p:nvSpPr>
          <p:cNvPr id="14" name="TextBox 13">
            <a:extLst>
              <a:ext uri="{FF2B5EF4-FFF2-40B4-BE49-F238E27FC236}">
                <a16:creationId xmlns:a16="http://schemas.microsoft.com/office/drawing/2014/main" id="{DBCF9CA5-EC4A-6688-D81A-A41359CD597A}"/>
              </a:ext>
            </a:extLst>
          </p:cNvPr>
          <p:cNvSpPr txBox="1"/>
          <p:nvPr/>
        </p:nvSpPr>
        <p:spPr>
          <a:xfrm>
            <a:off x="5742781" y="3126882"/>
            <a:ext cx="3605645" cy="646331"/>
          </a:xfrm>
          <a:prstGeom prst="rect">
            <a:avLst/>
          </a:prstGeom>
          <a:noFill/>
        </p:spPr>
        <p:txBody>
          <a:bodyPr wrap="square" rtlCol="0">
            <a:spAutoFit/>
          </a:bodyPr>
          <a:lstStyle/>
          <a:p>
            <a:pPr eaLnBrk="1" fontAlgn="auto" hangingPunct="1">
              <a:spcBef>
                <a:spcPts val="0"/>
              </a:spcBef>
              <a:spcAft>
                <a:spcPts val="0"/>
              </a:spcAft>
            </a:pPr>
            <a:r>
              <a:rPr lang="en-US" b="1" dirty="0">
                <a:solidFill>
                  <a:schemeClr val="accent1"/>
                </a:solidFill>
                <a:latin typeface="+mj-lt"/>
              </a:rPr>
              <a:t>Flexible</a:t>
            </a:r>
            <a:r>
              <a:rPr lang="en-US" b="1" dirty="0">
                <a:solidFill>
                  <a:srgbClr val="1F6898"/>
                </a:solidFill>
                <a:latin typeface="+mj-lt"/>
              </a:rPr>
              <a:t> </a:t>
            </a:r>
            <a:r>
              <a:rPr lang="en-US" b="1" dirty="0">
                <a:solidFill>
                  <a:schemeClr val="accent4"/>
                </a:solidFill>
                <a:latin typeface="+mj-lt"/>
              </a:rPr>
              <a:t>workgroups and </a:t>
            </a:r>
            <a:r>
              <a:rPr lang="en-US" b="1" dirty="0">
                <a:solidFill>
                  <a:schemeClr val="accent1"/>
                </a:solidFill>
                <a:latin typeface="+mj-lt"/>
              </a:rPr>
              <a:t>multitasking</a:t>
            </a:r>
            <a:r>
              <a:rPr lang="en-US" b="1" dirty="0">
                <a:solidFill>
                  <a:srgbClr val="1F6898"/>
                </a:solidFill>
                <a:latin typeface="+mj-lt"/>
              </a:rPr>
              <a:t> </a:t>
            </a:r>
            <a:r>
              <a:rPr lang="en-US" b="1" dirty="0">
                <a:solidFill>
                  <a:schemeClr val="accent4"/>
                </a:solidFill>
                <a:latin typeface="+mj-lt"/>
              </a:rPr>
              <a:t>team members.</a:t>
            </a:r>
          </a:p>
        </p:txBody>
      </p:sp>
    </p:spTree>
    <p:extLst>
      <p:ext uri="{BB962C8B-B14F-4D97-AF65-F5344CB8AC3E}">
        <p14:creationId xmlns:p14="http://schemas.microsoft.com/office/powerpoint/2010/main" val="185831629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indoor, floor&#10;&#10;Description automatically generated">
            <a:extLst>
              <a:ext uri="{FF2B5EF4-FFF2-40B4-BE49-F238E27FC236}">
                <a16:creationId xmlns:a16="http://schemas.microsoft.com/office/drawing/2014/main" id="{DA0D9B88-B4D7-0241-D8E0-0BA030D4E79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600" y="3568539"/>
            <a:ext cx="10972800" cy="2854922"/>
          </a:xfrm>
          <a:prstGeom prst="rect">
            <a:avLst/>
          </a:prstGeom>
          <a:gradFill>
            <a:gsLst>
              <a:gs pos="99000">
                <a:srgbClr val="1F6898"/>
              </a:gs>
              <a:gs pos="0">
                <a:srgbClr val="9EC9DF">
                  <a:alpha val="0"/>
                </a:srgbClr>
              </a:gs>
            </a:gsLst>
            <a:lin ang="5400000" scaled="1"/>
          </a:gradFill>
        </p:spPr>
      </p:pic>
      <p:sp>
        <p:nvSpPr>
          <p:cNvPr id="19" name="Rectangle 18">
            <a:extLst>
              <a:ext uri="{FF2B5EF4-FFF2-40B4-BE49-F238E27FC236}">
                <a16:creationId xmlns:a16="http://schemas.microsoft.com/office/drawing/2014/main" id="{A7EFFBAB-7FA9-76C4-E4A5-EEE31480E491}"/>
              </a:ext>
            </a:extLst>
          </p:cNvPr>
          <p:cNvSpPr/>
          <p:nvPr/>
        </p:nvSpPr>
        <p:spPr>
          <a:xfrm>
            <a:off x="609600" y="3551811"/>
            <a:ext cx="10972800" cy="2888378"/>
          </a:xfrm>
          <a:prstGeom prst="rect">
            <a:avLst/>
          </a:prstGeom>
          <a:gradFill>
            <a:gsLst>
              <a:gs pos="0">
                <a:schemeClr val="bg1"/>
              </a:gs>
              <a:gs pos="100000">
                <a:srgbClr val="9EC9DF">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8" name="Oval 27">
            <a:extLst>
              <a:ext uri="{FF2B5EF4-FFF2-40B4-BE49-F238E27FC236}">
                <a16:creationId xmlns:a16="http://schemas.microsoft.com/office/drawing/2014/main" id="{2B1A90A1-9FE6-6643-97AF-222DC089C6F3}"/>
              </a:ext>
            </a:extLst>
          </p:cNvPr>
          <p:cNvSpPr/>
          <p:nvPr/>
        </p:nvSpPr>
        <p:spPr>
          <a:xfrm>
            <a:off x="-295278" y="-4347860"/>
            <a:ext cx="12294720" cy="5866560"/>
          </a:xfrm>
          <a:prstGeom prst="ellipse">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0" name="Text Placeholder 29">
            <a:extLst>
              <a:ext uri="{FF2B5EF4-FFF2-40B4-BE49-F238E27FC236}">
                <a16:creationId xmlns:a16="http://schemas.microsoft.com/office/drawing/2014/main" id="{0D5D8F34-D685-7498-FCF3-27B244DCBC6D}"/>
              </a:ext>
            </a:extLst>
          </p:cNvPr>
          <p:cNvSpPr>
            <a:spLocks noGrp="1"/>
          </p:cNvSpPr>
          <p:nvPr>
            <p:ph type="body" sz="half" idx="10"/>
          </p:nvPr>
        </p:nvSpPr>
        <p:spPr/>
        <p:txBody>
          <a:bodyPr/>
          <a:lstStyle/>
          <a:p>
            <a:endParaRPr lang="en-US"/>
          </a:p>
        </p:txBody>
      </p:sp>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p:txBody>
          <a:bodyPr/>
          <a:lstStyle/>
          <a:p>
            <a:pPr algn="ctr"/>
            <a:r>
              <a:rPr lang="en-US" dirty="0"/>
              <a:t>Multiproduct facilities - Barrier world</a:t>
            </a:r>
          </a:p>
        </p:txBody>
      </p:sp>
      <p:sp>
        <p:nvSpPr>
          <p:cNvPr id="29" name="Text Placeholder 28">
            <a:extLst>
              <a:ext uri="{FF2B5EF4-FFF2-40B4-BE49-F238E27FC236}">
                <a16:creationId xmlns:a16="http://schemas.microsoft.com/office/drawing/2014/main" id="{FF6CDB08-735A-1874-F3B4-3B5207328040}"/>
              </a:ext>
            </a:extLst>
          </p:cNvPr>
          <p:cNvSpPr>
            <a:spLocks noGrp="1"/>
          </p:cNvSpPr>
          <p:nvPr>
            <p:ph type="body" sz="half" idx="2"/>
          </p:nvPr>
        </p:nvSpPr>
        <p:spPr/>
        <p:txBody>
          <a:bodyPr/>
          <a:lstStyle/>
          <a:p>
            <a:endParaRPr lang="en-US"/>
          </a:p>
        </p:txBody>
      </p:sp>
      <p:sp>
        <p:nvSpPr>
          <p:cNvPr id="16" name="Rectangle 15">
            <a:extLst>
              <a:ext uri="{FF2B5EF4-FFF2-40B4-BE49-F238E27FC236}">
                <a16:creationId xmlns:a16="http://schemas.microsoft.com/office/drawing/2014/main" id="{9BF38C7E-AE91-BCC7-253F-B5692F0332DE}"/>
              </a:ext>
            </a:extLst>
          </p:cNvPr>
          <p:cNvSpPr/>
          <p:nvPr/>
        </p:nvSpPr>
        <p:spPr>
          <a:xfrm>
            <a:off x="609600" y="3897715"/>
            <a:ext cx="10972800" cy="2542475"/>
          </a:xfrm>
          <a:prstGeom prst="rect">
            <a:avLst/>
          </a:prstGeom>
          <a:gradFill flip="none" rotWithShape="1">
            <a:gsLst>
              <a:gs pos="99000">
                <a:srgbClr val="1F6898"/>
              </a:gs>
              <a:gs pos="0">
                <a:srgbClr val="9EC9DF">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21" name="TextBox 20">
            <a:extLst>
              <a:ext uri="{FF2B5EF4-FFF2-40B4-BE49-F238E27FC236}">
                <a16:creationId xmlns:a16="http://schemas.microsoft.com/office/drawing/2014/main" id="{04D6E06C-6AF8-FB7E-9B29-3A58E49D0E7D}"/>
              </a:ext>
            </a:extLst>
          </p:cNvPr>
          <p:cNvSpPr txBox="1"/>
          <p:nvPr/>
        </p:nvSpPr>
        <p:spPr>
          <a:xfrm>
            <a:off x="1933326" y="2013359"/>
            <a:ext cx="3689412" cy="867930"/>
          </a:xfrm>
          <a:prstGeom prst="rect">
            <a:avLst/>
          </a:prstGeom>
          <a:noFill/>
        </p:spPr>
        <p:txBody>
          <a:bodyPr wrap="square" rtlCol="0">
            <a:spAutoFit/>
          </a:bodyPr>
          <a:lstStyle/>
          <a:p>
            <a:pPr algn="r" eaLnBrk="1" fontAlgn="auto" hangingPunct="1">
              <a:spcBef>
                <a:spcPts val="0"/>
              </a:spcBef>
              <a:spcAft>
                <a:spcPts val="0"/>
              </a:spcAft>
            </a:pPr>
            <a:r>
              <a:rPr lang="en-US" sz="1680" dirty="0">
                <a:solidFill>
                  <a:srgbClr val="1F6898"/>
                </a:solidFill>
                <a:latin typeface="+mj-lt"/>
              </a:rPr>
              <a:t>Design and validation of multiproduct facilities raises complexity.</a:t>
            </a:r>
          </a:p>
        </p:txBody>
      </p:sp>
      <p:sp>
        <p:nvSpPr>
          <p:cNvPr id="22" name="TextBox 21">
            <a:extLst>
              <a:ext uri="{FF2B5EF4-FFF2-40B4-BE49-F238E27FC236}">
                <a16:creationId xmlns:a16="http://schemas.microsoft.com/office/drawing/2014/main" id="{7065137F-5280-0C76-5CC8-086C6837F286}"/>
              </a:ext>
            </a:extLst>
          </p:cNvPr>
          <p:cNvSpPr txBox="1"/>
          <p:nvPr/>
        </p:nvSpPr>
        <p:spPr>
          <a:xfrm>
            <a:off x="6110570" y="1794349"/>
            <a:ext cx="3689412" cy="1126462"/>
          </a:xfrm>
          <a:prstGeom prst="rect">
            <a:avLst/>
          </a:prstGeom>
          <a:noFill/>
        </p:spPr>
        <p:txBody>
          <a:bodyPr wrap="square" rtlCol="0">
            <a:spAutoFit/>
          </a:bodyPr>
          <a:lstStyle/>
          <a:p>
            <a:pPr eaLnBrk="1" fontAlgn="auto" hangingPunct="1">
              <a:spcBef>
                <a:spcPts val="0"/>
              </a:spcBef>
              <a:spcAft>
                <a:spcPts val="0"/>
              </a:spcAft>
            </a:pPr>
            <a:r>
              <a:rPr lang="en-US" sz="1680" dirty="0">
                <a:solidFill>
                  <a:schemeClr val="accent5">
                    <a:lumMod val="40000"/>
                    <a:lumOff val="60000"/>
                  </a:schemeClr>
                </a:solidFill>
                <a:latin typeface="+mj-lt"/>
              </a:rPr>
              <a:t>Increase in demand for an agile and responsive validation teams as product changeover is expected to be faster.</a:t>
            </a:r>
          </a:p>
        </p:txBody>
      </p:sp>
      <p:sp>
        <p:nvSpPr>
          <p:cNvPr id="23" name="TextBox 22">
            <a:extLst>
              <a:ext uri="{FF2B5EF4-FFF2-40B4-BE49-F238E27FC236}">
                <a16:creationId xmlns:a16="http://schemas.microsoft.com/office/drawing/2014/main" id="{91F82D9A-64AB-B09C-5D77-A46232006A8E}"/>
              </a:ext>
            </a:extLst>
          </p:cNvPr>
          <p:cNvSpPr txBox="1"/>
          <p:nvPr/>
        </p:nvSpPr>
        <p:spPr>
          <a:xfrm>
            <a:off x="3568265" y="3224014"/>
            <a:ext cx="4596778" cy="867930"/>
          </a:xfrm>
          <a:prstGeom prst="rect">
            <a:avLst/>
          </a:prstGeom>
          <a:noFill/>
        </p:spPr>
        <p:txBody>
          <a:bodyPr wrap="square" rtlCol="0">
            <a:spAutoFit/>
          </a:bodyPr>
          <a:lstStyle/>
          <a:p>
            <a:pPr algn="ctr" eaLnBrk="1" fontAlgn="auto" hangingPunct="1">
              <a:spcBef>
                <a:spcPts val="0"/>
              </a:spcBef>
              <a:spcAft>
                <a:spcPts val="0"/>
              </a:spcAft>
            </a:pPr>
            <a:r>
              <a:rPr lang="en-US" sz="1680" dirty="0">
                <a:solidFill>
                  <a:schemeClr val="accent5"/>
                </a:solidFill>
                <a:latin typeface="+mj-lt"/>
              </a:rPr>
              <a:t>Process machinery for multipurpose facilities might offer challenges on traditional validation equipment.</a:t>
            </a:r>
          </a:p>
        </p:txBody>
      </p:sp>
      <p:cxnSp>
        <p:nvCxnSpPr>
          <p:cNvPr id="25" name="Straight Connector 24">
            <a:extLst>
              <a:ext uri="{FF2B5EF4-FFF2-40B4-BE49-F238E27FC236}">
                <a16:creationId xmlns:a16="http://schemas.microsoft.com/office/drawing/2014/main" id="{E45CCCDA-6344-9DB1-1DF2-B69605143842}"/>
              </a:ext>
            </a:extLst>
          </p:cNvPr>
          <p:cNvCxnSpPr/>
          <p:nvPr/>
        </p:nvCxnSpPr>
        <p:spPr>
          <a:xfrm>
            <a:off x="5866654" y="1921119"/>
            <a:ext cx="0" cy="1018158"/>
          </a:xfrm>
          <a:prstGeom prst="line">
            <a:avLst/>
          </a:prstGeom>
          <a:ln w="28575" cap="rnd"/>
        </p:spPr>
        <p:style>
          <a:lnRef idx="1">
            <a:schemeClr val="accent6"/>
          </a:lnRef>
          <a:fillRef idx="0">
            <a:schemeClr val="accent6"/>
          </a:fillRef>
          <a:effectRef idx="0">
            <a:schemeClr val="accent6"/>
          </a:effectRef>
          <a:fontRef idx="minor">
            <a:schemeClr val="tx1"/>
          </a:fontRef>
        </p:style>
      </p:cxnSp>
      <p:cxnSp>
        <p:nvCxnSpPr>
          <p:cNvPr id="26" name="Straight Connector 25">
            <a:extLst>
              <a:ext uri="{FF2B5EF4-FFF2-40B4-BE49-F238E27FC236}">
                <a16:creationId xmlns:a16="http://schemas.microsoft.com/office/drawing/2014/main" id="{A2CBEB9A-437B-4B14-9763-43720D4D0E1A}"/>
              </a:ext>
            </a:extLst>
          </p:cNvPr>
          <p:cNvCxnSpPr>
            <a:cxnSpLocks/>
          </p:cNvCxnSpPr>
          <p:nvPr/>
        </p:nvCxnSpPr>
        <p:spPr>
          <a:xfrm flipH="1">
            <a:off x="2228749" y="3072750"/>
            <a:ext cx="7436183" cy="0"/>
          </a:xfrm>
          <a:prstGeom prst="line">
            <a:avLst/>
          </a:prstGeom>
          <a:ln w="28575" cap="rnd"/>
        </p:spPr>
        <p:style>
          <a:lnRef idx="1">
            <a:schemeClr val="accent6"/>
          </a:lnRef>
          <a:fillRef idx="0">
            <a:schemeClr val="accent6"/>
          </a:fillRef>
          <a:effectRef idx="0">
            <a:schemeClr val="accent6"/>
          </a:effectRef>
          <a:fontRef idx="minor">
            <a:schemeClr val="tx1"/>
          </a:fontRef>
        </p:style>
      </p:cxnSp>
      <p:grpSp>
        <p:nvGrpSpPr>
          <p:cNvPr id="2" name="Graphic 100">
            <a:extLst>
              <a:ext uri="{FF2B5EF4-FFF2-40B4-BE49-F238E27FC236}">
                <a16:creationId xmlns:a16="http://schemas.microsoft.com/office/drawing/2014/main" id="{B886DBBB-FE41-35C8-41C9-0D7787C12BFD}"/>
              </a:ext>
            </a:extLst>
          </p:cNvPr>
          <p:cNvGrpSpPr/>
          <p:nvPr/>
        </p:nvGrpSpPr>
        <p:grpSpPr>
          <a:xfrm>
            <a:off x="9743040" y="340999"/>
            <a:ext cx="1335127" cy="886834"/>
            <a:chOff x="7611200" y="284166"/>
            <a:chExt cx="1112606" cy="739028"/>
          </a:xfrm>
        </p:grpSpPr>
        <p:sp>
          <p:nvSpPr>
            <p:cNvPr id="3" name="Freeform 56">
              <a:extLst>
                <a:ext uri="{FF2B5EF4-FFF2-40B4-BE49-F238E27FC236}">
                  <a16:creationId xmlns:a16="http://schemas.microsoft.com/office/drawing/2014/main" id="{4938414E-CE51-26FB-C875-02D02CE154F1}"/>
                </a:ext>
              </a:extLst>
            </p:cNvPr>
            <p:cNvSpPr/>
            <p:nvPr/>
          </p:nvSpPr>
          <p:spPr>
            <a:xfrm>
              <a:off x="8065090" y="981314"/>
              <a:ext cx="184529" cy="41880"/>
            </a:xfrm>
            <a:custGeom>
              <a:avLst/>
              <a:gdLst>
                <a:gd name="connsiteX0" fmla="*/ 0 w 184529"/>
                <a:gd name="connsiteY0" fmla="*/ 0 h 41880"/>
                <a:gd name="connsiteX1" fmla="*/ 184529 w 184529"/>
                <a:gd name="connsiteY1" fmla="*/ 0 h 41880"/>
                <a:gd name="connsiteX2" fmla="*/ 184529 w 184529"/>
                <a:gd name="connsiteY2" fmla="*/ 41880 h 41880"/>
                <a:gd name="connsiteX3" fmla="*/ 0 w 184529"/>
                <a:gd name="connsiteY3" fmla="*/ 41880 h 41880"/>
              </a:gdLst>
              <a:ahLst/>
              <a:cxnLst>
                <a:cxn ang="0">
                  <a:pos x="connsiteX0" y="connsiteY0"/>
                </a:cxn>
                <a:cxn ang="0">
                  <a:pos x="connsiteX1" y="connsiteY1"/>
                </a:cxn>
                <a:cxn ang="0">
                  <a:pos x="connsiteX2" y="connsiteY2"/>
                </a:cxn>
                <a:cxn ang="0">
                  <a:pos x="connsiteX3" y="connsiteY3"/>
                </a:cxn>
              </a:cxnLst>
              <a:rect l="l" t="t" r="r" b="b"/>
              <a:pathLst>
                <a:path w="184529" h="41880">
                  <a:moveTo>
                    <a:pt x="0" y="0"/>
                  </a:moveTo>
                  <a:lnTo>
                    <a:pt x="184529" y="0"/>
                  </a:lnTo>
                  <a:lnTo>
                    <a:pt x="184529" y="41880"/>
                  </a:lnTo>
                  <a:lnTo>
                    <a:pt x="0" y="41880"/>
                  </a:lnTo>
                  <a:close/>
                </a:path>
              </a:pathLst>
            </a:custGeom>
            <a:solidFill>
              <a:srgbClr val="1D1D1B"/>
            </a:solidFill>
            <a:ln w="12664" cap="flat">
              <a:noFill/>
              <a:prstDash val="solid"/>
              <a:miter/>
            </a:ln>
          </p:spPr>
          <p:txBody>
            <a:bodyPr rtlCol="0" anchor="ctr"/>
            <a:lstStyle/>
            <a:p>
              <a:endParaRPr lang="en-US"/>
            </a:p>
          </p:txBody>
        </p:sp>
        <p:sp>
          <p:nvSpPr>
            <p:cNvPr id="4" name="Freeform 57">
              <a:extLst>
                <a:ext uri="{FF2B5EF4-FFF2-40B4-BE49-F238E27FC236}">
                  <a16:creationId xmlns:a16="http://schemas.microsoft.com/office/drawing/2014/main" id="{10F5D149-5F0B-A7AE-DF58-E6D5CD58F7E1}"/>
                </a:ext>
              </a:extLst>
            </p:cNvPr>
            <p:cNvSpPr/>
            <p:nvPr/>
          </p:nvSpPr>
          <p:spPr>
            <a:xfrm>
              <a:off x="8065090" y="284175"/>
              <a:ext cx="184529" cy="41880"/>
            </a:xfrm>
            <a:custGeom>
              <a:avLst/>
              <a:gdLst>
                <a:gd name="connsiteX0" fmla="*/ 0 w 184529"/>
                <a:gd name="connsiteY0" fmla="*/ 0 h 41880"/>
                <a:gd name="connsiteX1" fmla="*/ 184529 w 184529"/>
                <a:gd name="connsiteY1" fmla="*/ 0 h 41880"/>
                <a:gd name="connsiteX2" fmla="*/ 184529 w 184529"/>
                <a:gd name="connsiteY2" fmla="*/ 41880 h 41880"/>
                <a:gd name="connsiteX3" fmla="*/ 0 w 184529"/>
                <a:gd name="connsiteY3" fmla="*/ 41880 h 41880"/>
              </a:gdLst>
              <a:ahLst/>
              <a:cxnLst>
                <a:cxn ang="0">
                  <a:pos x="connsiteX0" y="connsiteY0"/>
                </a:cxn>
                <a:cxn ang="0">
                  <a:pos x="connsiteX1" y="connsiteY1"/>
                </a:cxn>
                <a:cxn ang="0">
                  <a:pos x="connsiteX2" y="connsiteY2"/>
                </a:cxn>
                <a:cxn ang="0">
                  <a:pos x="connsiteX3" y="connsiteY3"/>
                </a:cxn>
              </a:cxnLst>
              <a:rect l="l" t="t" r="r" b="b"/>
              <a:pathLst>
                <a:path w="184529" h="41880">
                  <a:moveTo>
                    <a:pt x="0" y="0"/>
                  </a:moveTo>
                  <a:lnTo>
                    <a:pt x="184529" y="0"/>
                  </a:lnTo>
                  <a:lnTo>
                    <a:pt x="184529" y="41880"/>
                  </a:lnTo>
                  <a:lnTo>
                    <a:pt x="0" y="41880"/>
                  </a:lnTo>
                  <a:close/>
                </a:path>
              </a:pathLst>
            </a:custGeom>
            <a:solidFill>
              <a:srgbClr val="1D1D1B"/>
            </a:solidFill>
            <a:ln w="12664" cap="flat">
              <a:noFill/>
              <a:prstDash val="solid"/>
              <a:miter/>
            </a:ln>
          </p:spPr>
          <p:txBody>
            <a:bodyPr rtlCol="0" anchor="ctr"/>
            <a:lstStyle/>
            <a:p>
              <a:endParaRPr lang="en-US"/>
            </a:p>
          </p:txBody>
        </p:sp>
        <p:sp>
          <p:nvSpPr>
            <p:cNvPr id="5" name="Freeform 58">
              <a:extLst>
                <a:ext uri="{FF2B5EF4-FFF2-40B4-BE49-F238E27FC236}">
                  <a16:creationId xmlns:a16="http://schemas.microsoft.com/office/drawing/2014/main" id="{A39B9248-56F7-4C64-2389-CA71901F0903}"/>
                </a:ext>
              </a:extLst>
            </p:cNvPr>
            <p:cNvSpPr/>
            <p:nvPr/>
          </p:nvSpPr>
          <p:spPr>
            <a:xfrm>
              <a:off x="7611200" y="284166"/>
              <a:ext cx="928953" cy="738998"/>
            </a:xfrm>
            <a:custGeom>
              <a:avLst/>
              <a:gdLst>
                <a:gd name="connsiteX0" fmla="*/ 835856 w 928953"/>
                <a:gd name="connsiteY0" fmla="*/ 129348 h 738998"/>
                <a:gd name="connsiteX1" fmla="*/ 928952 w 928953"/>
                <a:gd name="connsiteY1" fmla="*/ 373724 h 738998"/>
                <a:gd name="connsiteX2" fmla="*/ 687905 w 928953"/>
                <a:gd name="connsiteY2" fmla="*/ 707088 h 738998"/>
                <a:gd name="connsiteX3" fmla="*/ 422261 w 928953"/>
                <a:gd name="connsiteY3" fmla="*/ 738739 h 738998"/>
                <a:gd name="connsiteX4" fmla="*/ 59346 w 928953"/>
                <a:gd name="connsiteY4" fmla="*/ 566442 h 738998"/>
                <a:gd name="connsiteX5" fmla="*/ 36221 w 928953"/>
                <a:gd name="connsiteY5" fmla="*/ 210589 h 738998"/>
                <a:gd name="connsiteX6" fmla="*/ 317565 w 928953"/>
                <a:gd name="connsiteY6" fmla="*/ 11729 h 738998"/>
                <a:gd name="connsiteX7" fmla="*/ 681889 w 928953"/>
                <a:gd name="connsiteY7" fmla="*/ 31485 h 738998"/>
                <a:gd name="connsiteX8" fmla="*/ 835856 w 928953"/>
                <a:gd name="connsiteY8" fmla="*/ 129348 h 73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953" h="738998">
                  <a:moveTo>
                    <a:pt x="835856" y="129348"/>
                  </a:moveTo>
                  <a:cubicBezTo>
                    <a:pt x="896114" y="196814"/>
                    <a:pt x="929236" y="283759"/>
                    <a:pt x="928952" y="373724"/>
                  </a:cubicBezTo>
                  <a:cubicBezTo>
                    <a:pt x="925917" y="523314"/>
                    <a:pt x="830184" y="655711"/>
                    <a:pt x="687905" y="707088"/>
                  </a:cubicBezTo>
                  <a:cubicBezTo>
                    <a:pt x="605509" y="733926"/>
                    <a:pt x="513834" y="740469"/>
                    <a:pt x="422261" y="738739"/>
                  </a:cubicBezTo>
                  <a:cubicBezTo>
                    <a:pt x="276874" y="734728"/>
                    <a:pt x="140410" y="684838"/>
                    <a:pt x="59346" y="566442"/>
                  </a:cubicBezTo>
                  <a:cubicBezTo>
                    <a:pt x="-7731" y="467563"/>
                    <a:pt x="-21426" y="316651"/>
                    <a:pt x="36221" y="210589"/>
                  </a:cubicBezTo>
                  <a:cubicBezTo>
                    <a:pt x="85377" y="102522"/>
                    <a:pt x="197486" y="29968"/>
                    <a:pt x="317565" y="11729"/>
                  </a:cubicBezTo>
                  <a:cubicBezTo>
                    <a:pt x="438958" y="-8966"/>
                    <a:pt x="563521" y="-2211"/>
                    <a:pt x="681889" y="31485"/>
                  </a:cubicBezTo>
                  <a:cubicBezTo>
                    <a:pt x="740531" y="51203"/>
                    <a:pt x="793392" y="84802"/>
                    <a:pt x="835856" y="129348"/>
                  </a:cubicBezTo>
                  <a:close/>
                </a:path>
              </a:pathLst>
            </a:custGeom>
            <a:solidFill>
              <a:srgbClr val="1D1D1B"/>
            </a:solidFill>
            <a:ln w="12664" cap="flat">
              <a:noFill/>
              <a:prstDash val="solid"/>
              <a:miter/>
            </a:ln>
          </p:spPr>
          <p:txBody>
            <a:bodyPr rtlCol="0" anchor="ctr"/>
            <a:lstStyle/>
            <a:p>
              <a:endParaRPr lang="en-US"/>
            </a:p>
          </p:txBody>
        </p:sp>
        <p:sp>
          <p:nvSpPr>
            <p:cNvPr id="7" name="Freeform 59">
              <a:extLst>
                <a:ext uri="{FF2B5EF4-FFF2-40B4-BE49-F238E27FC236}">
                  <a16:creationId xmlns:a16="http://schemas.microsoft.com/office/drawing/2014/main" id="{1F150DF3-1C14-0FAE-B4E1-8FF5B57405B1}"/>
                </a:ext>
              </a:extLst>
            </p:cNvPr>
            <p:cNvSpPr/>
            <p:nvPr/>
          </p:nvSpPr>
          <p:spPr>
            <a:xfrm>
              <a:off x="7648818" y="292586"/>
              <a:ext cx="513653" cy="722735"/>
            </a:xfrm>
            <a:custGeom>
              <a:avLst/>
              <a:gdLst>
                <a:gd name="connsiteX0" fmla="*/ 501893 w 513653"/>
                <a:gd name="connsiteY0" fmla="*/ 722736 h 722735"/>
                <a:gd name="connsiteX1" fmla="*/ 419052 w 513653"/>
                <a:gd name="connsiteY1" fmla="*/ 722736 h 722735"/>
                <a:gd name="connsiteX2" fmla="*/ 0 w 513653"/>
                <a:gd name="connsiteY2" fmla="*/ 361368 h 722735"/>
                <a:gd name="connsiteX3" fmla="*/ 419052 w 513653"/>
                <a:gd name="connsiteY3" fmla="*/ 0 h 722735"/>
                <a:gd name="connsiteX4" fmla="*/ 491524 w 513653"/>
                <a:gd name="connsiteY4" fmla="*/ 0 h 722735"/>
                <a:gd name="connsiteX5" fmla="*/ 497075 w 513653"/>
                <a:gd name="connsiteY5" fmla="*/ 6964 h 722735"/>
                <a:gd name="connsiteX6" fmla="*/ 491524 w 513653"/>
                <a:gd name="connsiteY6" fmla="*/ 12448 h 722735"/>
                <a:gd name="connsiteX7" fmla="*/ 82841 w 513653"/>
                <a:gd name="connsiteY7" fmla="*/ 361368 h 722735"/>
                <a:gd name="connsiteX8" fmla="*/ 491524 w 513653"/>
                <a:gd name="connsiteY8" fmla="*/ 710301 h 722735"/>
                <a:gd name="connsiteX9" fmla="*/ 502502 w 513653"/>
                <a:gd name="connsiteY9" fmla="*/ 710150 h 722735"/>
                <a:gd name="connsiteX10" fmla="*/ 507985 w 513653"/>
                <a:gd name="connsiteY10" fmla="*/ 710226 h 722735"/>
                <a:gd name="connsiteX11" fmla="*/ 513617 w 513653"/>
                <a:gd name="connsiteY11" fmla="*/ 717127 h 722735"/>
                <a:gd name="connsiteX12" fmla="*/ 508214 w 513653"/>
                <a:gd name="connsiteY12" fmla="*/ 722661 h 722735"/>
                <a:gd name="connsiteX13" fmla="*/ 501893 w 513653"/>
                <a:gd name="connsiteY13" fmla="*/ 722736 h 722735"/>
                <a:gd name="connsiteX14" fmla="*/ 372219 w 513653"/>
                <a:gd name="connsiteY14" fmla="*/ 14754 h 722735"/>
                <a:gd name="connsiteX15" fmla="*/ 12603 w 513653"/>
                <a:gd name="connsiteY15" fmla="*/ 361368 h 722735"/>
                <a:gd name="connsiteX16" fmla="*/ 372219 w 513653"/>
                <a:gd name="connsiteY16" fmla="*/ 707994 h 722735"/>
                <a:gd name="connsiteX17" fmla="*/ 70187 w 513653"/>
                <a:gd name="connsiteY17" fmla="*/ 361368 h 722735"/>
                <a:gd name="connsiteX18" fmla="*/ 372219 w 513653"/>
                <a:gd name="connsiteY18" fmla="*/ 14754 h 72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3653" h="722735">
                  <a:moveTo>
                    <a:pt x="501893" y="722736"/>
                  </a:moveTo>
                  <a:lnTo>
                    <a:pt x="419052" y="722736"/>
                  </a:lnTo>
                  <a:cubicBezTo>
                    <a:pt x="187981" y="722736"/>
                    <a:pt x="0" y="560679"/>
                    <a:pt x="0" y="361368"/>
                  </a:cubicBezTo>
                  <a:cubicBezTo>
                    <a:pt x="0" y="162056"/>
                    <a:pt x="187981" y="0"/>
                    <a:pt x="419052" y="0"/>
                  </a:cubicBezTo>
                  <a:lnTo>
                    <a:pt x="491524" y="0"/>
                  </a:lnTo>
                  <a:cubicBezTo>
                    <a:pt x="495004" y="409"/>
                    <a:pt x="497490" y="3527"/>
                    <a:pt x="497075" y="6964"/>
                  </a:cubicBezTo>
                  <a:cubicBezTo>
                    <a:pt x="496730" y="9839"/>
                    <a:pt x="494434" y="12106"/>
                    <a:pt x="491524" y="12448"/>
                  </a:cubicBezTo>
                  <a:cubicBezTo>
                    <a:pt x="266151" y="12448"/>
                    <a:pt x="82841" y="168976"/>
                    <a:pt x="82841" y="361368"/>
                  </a:cubicBezTo>
                  <a:cubicBezTo>
                    <a:pt x="82841" y="553760"/>
                    <a:pt x="266190" y="710301"/>
                    <a:pt x="491524" y="710301"/>
                  </a:cubicBezTo>
                  <a:cubicBezTo>
                    <a:pt x="495192" y="710301"/>
                    <a:pt x="498872" y="710301"/>
                    <a:pt x="502502" y="710150"/>
                  </a:cubicBezTo>
                  <a:cubicBezTo>
                    <a:pt x="504622" y="710213"/>
                    <a:pt x="506462" y="710326"/>
                    <a:pt x="507985" y="710226"/>
                  </a:cubicBezTo>
                  <a:cubicBezTo>
                    <a:pt x="511470" y="710595"/>
                    <a:pt x="513991" y="713685"/>
                    <a:pt x="513617" y="717127"/>
                  </a:cubicBezTo>
                  <a:cubicBezTo>
                    <a:pt x="513306" y="719974"/>
                    <a:pt x="511082" y="722252"/>
                    <a:pt x="508214" y="722661"/>
                  </a:cubicBezTo>
                  <a:cubicBezTo>
                    <a:pt x="506107" y="722736"/>
                    <a:pt x="504025" y="722736"/>
                    <a:pt x="501893" y="722736"/>
                  </a:cubicBezTo>
                  <a:close/>
                  <a:moveTo>
                    <a:pt x="372219" y="14754"/>
                  </a:moveTo>
                  <a:cubicBezTo>
                    <a:pt x="170086" y="34760"/>
                    <a:pt x="12603" y="182577"/>
                    <a:pt x="12603" y="361368"/>
                  </a:cubicBezTo>
                  <a:cubicBezTo>
                    <a:pt x="12603" y="540159"/>
                    <a:pt x="170098" y="687988"/>
                    <a:pt x="372219" y="707994"/>
                  </a:cubicBezTo>
                  <a:cubicBezTo>
                    <a:pt x="197818" y="663757"/>
                    <a:pt x="70187" y="525104"/>
                    <a:pt x="70187" y="361368"/>
                  </a:cubicBezTo>
                  <a:cubicBezTo>
                    <a:pt x="70187" y="197632"/>
                    <a:pt x="197818" y="58991"/>
                    <a:pt x="372219" y="14754"/>
                  </a:cubicBezTo>
                  <a:close/>
                </a:path>
              </a:pathLst>
            </a:custGeom>
            <a:solidFill>
              <a:srgbClr val="FFFFFF"/>
            </a:solidFill>
            <a:ln w="12664" cap="flat">
              <a:noFill/>
              <a:prstDash val="solid"/>
              <a:miter/>
            </a:ln>
          </p:spPr>
          <p:txBody>
            <a:bodyPr rtlCol="0" anchor="ctr"/>
            <a:lstStyle/>
            <a:p>
              <a:endParaRPr lang="en-US"/>
            </a:p>
          </p:txBody>
        </p:sp>
        <p:sp>
          <p:nvSpPr>
            <p:cNvPr id="8" name="Freeform 60">
              <a:extLst>
                <a:ext uri="{FF2B5EF4-FFF2-40B4-BE49-F238E27FC236}">
                  <a16:creationId xmlns:a16="http://schemas.microsoft.com/office/drawing/2014/main" id="{523C5DE0-E574-2CAF-D79C-FF6C41696B81}"/>
                </a:ext>
              </a:extLst>
            </p:cNvPr>
            <p:cNvSpPr/>
            <p:nvPr/>
          </p:nvSpPr>
          <p:spPr>
            <a:xfrm>
              <a:off x="7725312" y="298816"/>
              <a:ext cx="426223" cy="710288"/>
            </a:xfrm>
            <a:custGeom>
              <a:avLst/>
              <a:gdLst>
                <a:gd name="connsiteX0" fmla="*/ 38 w 426223"/>
                <a:gd name="connsiteY0" fmla="*/ 355138 h 710288"/>
                <a:gd name="connsiteX1" fmla="*/ 415067 w 426223"/>
                <a:gd name="connsiteY1" fmla="*/ 710288 h 710288"/>
                <a:gd name="connsiteX2" fmla="*/ 426223 w 426223"/>
                <a:gd name="connsiteY2" fmla="*/ 710138 h 710288"/>
                <a:gd name="connsiteX3" fmla="*/ 22427 w 426223"/>
                <a:gd name="connsiteY3" fmla="*/ 355138 h 710288"/>
                <a:gd name="connsiteX4" fmla="*/ 426185 w 426223"/>
                <a:gd name="connsiteY4" fmla="*/ 125 h 710288"/>
                <a:gd name="connsiteX5" fmla="*/ 415029 w 426223"/>
                <a:gd name="connsiteY5" fmla="*/ 0 h 710288"/>
                <a:gd name="connsiteX6" fmla="*/ 0 w 426223"/>
                <a:gd name="connsiteY6" fmla="*/ 355138 h 71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223" h="710288">
                  <a:moveTo>
                    <a:pt x="38" y="355138"/>
                  </a:moveTo>
                  <a:cubicBezTo>
                    <a:pt x="38" y="551178"/>
                    <a:pt x="185951" y="710288"/>
                    <a:pt x="415067" y="710288"/>
                  </a:cubicBezTo>
                  <a:cubicBezTo>
                    <a:pt x="418798" y="710288"/>
                    <a:pt x="422530" y="710288"/>
                    <a:pt x="426223" y="710138"/>
                  </a:cubicBezTo>
                  <a:cubicBezTo>
                    <a:pt x="202323" y="705124"/>
                    <a:pt x="22427" y="547956"/>
                    <a:pt x="22427" y="355138"/>
                  </a:cubicBezTo>
                  <a:cubicBezTo>
                    <a:pt x="22427" y="162320"/>
                    <a:pt x="202285" y="5202"/>
                    <a:pt x="426185" y="125"/>
                  </a:cubicBezTo>
                  <a:cubicBezTo>
                    <a:pt x="422492" y="50"/>
                    <a:pt x="418760" y="0"/>
                    <a:pt x="415029" y="0"/>
                  </a:cubicBezTo>
                  <a:cubicBezTo>
                    <a:pt x="185951" y="0"/>
                    <a:pt x="0" y="159111"/>
                    <a:pt x="0" y="355138"/>
                  </a:cubicBezTo>
                  <a:close/>
                </a:path>
              </a:pathLst>
            </a:custGeom>
            <a:solidFill>
              <a:srgbClr val="FFFFFF"/>
            </a:solidFill>
            <a:ln w="12664" cap="flat">
              <a:noFill/>
              <a:prstDash val="solid"/>
              <a:miter/>
            </a:ln>
          </p:spPr>
          <p:txBody>
            <a:bodyPr rtlCol="0" anchor="ctr"/>
            <a:lstStyle/>
            <a:p>
              <a:endParaRPr lang="en-US"/>
            </a:p>
          </p:txBody>
        </p:sp>
        <p:sp>
          <p:nvSpPr>
            <p:cNvPr id="9" name="Freeform 61">
              <a:extLst>
                <a:ext uri="{FF2B5EF4-FFF2-40B4-BE49-F238E27FC236}">
                  <a16:creationId xmlns:a16="http://schemas.microsoft.com/office/drawing/2014/main" id="{1E4310D3-BEC6-EE83-628E-7B7718FB9277}"/>
                </a:ext>
              </a:extLst>
            </p:cNvPr>
            <p:cNvSpPr/>
            <p:nvPr/>
          </p:nvSpPr>
          <p:spPr>
            <a:xfrm>
              <a:off x="7722216" y="295708"/>
              <a:ext cx="429383" cy="716505"/>
            </a:xfrm>
            <a:custGeom>
              <a:avLst/>
              <a:gdLst>
                <a:gd name="connsiteX0" fmla="*/ 418164 w 429383"/>
                <a:gd name="connsiteY0" fmla="*/ 716506 h 716505"/>
                <a:gd name="connsiteX1" fmla="*/ 0 w 429383"/>
                <a:gd name="connsiteY1" fmla="*/ 360503 h 716505"/>
                <a:gd name="connsiteX2" fmla="*/ 0 w 429383"/>
                <a:gd name="connsiteY2" fmla="*/ 360503 h 716505"/>
                <a:gd name="connsiteX3" fmla="*/ 0 w 429383"/>
                <a:gd name="connsiteY3" fmla="*/ 358247 h 716505"/>
                <a:gd name="connsiteX4" fmla="*/ 418126 w 429383"/>
                <a:gd name="connsiteY4" fmla="*/ 0 h 716505"/>
                <a:gd name="connsiteX5" fmla="*/ 429345 w 429383"/>
                <a:gd name="connsiteY5" fmla="*/ 125 h 716505"/>
                <a:gd name="connsiteX6" fmla="*/ 429345 w 429383"/>
                <a:gd name="connsiteY6" fmla="*/ 6393 h 716505"/>
                <a:gd name="connsiteX7" fmla="*/ 145527 w 429383"/>
                <a:gd name="connsiteY7" fmla="*/ 112667 h 716505"/>
                <a:gd name="connsiteX8" fmla="*/ 28659 w 429383"/>
                <a:gd name="connsiteY8" fmla="*/ 358247 h 716505"/>
                <a:gd name="connsiteX9" fmla="*/ 145539 w 429383"/>
                <a:gd name="connsiteY9" fmla="*/ 603851 h 716505"/>
                <a:gd name="connsiteX10" fmla="*/ 429383 w 429383"/>
                <a:gd name="connsiteY10" fmla="*/ 710150 h 716505"/>
                <a:gd name="connsiteX11" fmla="*/ 429383 w 429383"/>
                <a:gd name="connsiteY11" fmla="*/ 716343 h 716505"/>
                <a:gd name="connsiteX12" fmla="*/ 418164 w 429383"/>
                <a:gd name="connsiteY12" fmla="*/ 716506 h 716505"/>
                <a:gd name="connsiteX13" fmla="*/ 6244 w 429383"/>
                <a:gd name="connsiteY13" fmla="*/ 356354 h 716505"/>
                <a:gd name="connsiteX14" fmla="*/ 6244 w 429383"/>
                <a:gd name="connsiteY14" fmla="*/ 358259 h 716505"/>
                <a:gd name="connsiteX15" fmla="*/ 294252 w 429383"/>
                <a:gd name="connsiteY15" fmla="*/ 694042 h 716505"/>
                <a:gd name="connsiteX16" fmla="*/ 141338 w 429383"/>
                <a:gd name="connsiteY16" fmla="*/ 608502 h 716505"/>
                <a:gd name="connsiteX17" fmla="*/ 22376 w 429383"/>
                <a:gd name="connsiteY17" fmla="*/ 358247 h 716505"/>
                <a:gd name="connsiteX18" fmla="*/ 141351 w 429383"/>
                <a:gd name="connsiteY18" fmla="*/ 108017 h 716505"/>
                <a:gd name="connsiteX19" fmla="*/ 294391 w 429383"/>
                <a:gd name="connsiteY19" fmla="*/ 22438 h 716505"/>
                <a:gd name="connsiteX20" fmla="*/ 6244 w 429383"/>
                <a:gd name="connsiteY20" fmla="*/ 356354 h 71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9383" h="716505">
                  <a:moveTo>
                    <a:pt x="418164" y="716506"/>
                  </a:moveTo>
                  <a:cubicBezTo>
                    <a:pt x="188438" y="716506"/>
                    <a:pt x="1409" y="557006"/>
                    <a:pt x="0" y="360503"/>
                  </a:cubicBezTo>
                  <a:lnTo>
                    <a:pt x="0" y="360503"/>
                  </a:lnTo>
                  <a:lnTo>
                    <a:pt x="0" y="358247"/>
                  </a:lnTo>
                  <a:cubicBezTo>
                    <a:pt x="-38" y="160715"/>
                    <a:pt x="187550" y="0"/>
                    <a:pt x="418126" y="0"/>
                  </a:cubicBezTo>
                  <a:cubicBezTo>
                    <a:pt x="421933" y="0"/>
                    <a:pt x="425627" y="0"/>
                    <a:pt x="429345" y="125"/>
                  </a:cubicBezTo>
                  <a:lnTo>
                    <a:pt x="429345" y="6393"/>
                  </a:lnTo>
                  <a:cubicBezTo>
                    <a:pt x="324993" y="7564"/>
                    <a:pt x="224437" y="45217"/>
                    <a:pt x="145527" y="112667"/>
                  </a:cubicBezTo>
                  <a:cubicBezTo>
                    <a:pt x="72436" y="173976"/>
                    <a:pt x="29812" y="263544"/>
                    <a:pt x="28659" y="358247"/>
                  </a:cubicBezTo>
                  <a:cubicBezTo>
                    <a:pt x="29815" y="452958"/>
                    <a:pt x="72442" y="542534"/>
                    <a:pt x="145539" y="603851"/>
                  </a:cubicBezTo>
                  <a:cubicBezTo>
                    <a:pt x="224451" y="671320"/>
                    <a:pt x="325018" y="708982"/>
                    <a:pt x="429383" y="710150"/>
                  </a:cubicBezTo>
                  <a:lnTo>
                    <a:pt x="429383" y="716343"/>
                  </a:lnTo>
                  <a:cubicBezTo>
                    <a:pt x="425715" y="716506"/>
                    <a:pt x="421933" y="716506"/>
                    <a:pt x="418164" y="716506"/>
                  </a:cubicBezTo>
                  <a:close/>
                  <a:moveTo>
                    <a:pt x="6244" y="356354"/>
                  </a:moveTo>
                  <a:lnTo>
                    <a:pt x="6244" y="358259"/>
                  </a:lnTo>
                  <a:cubicBezTo>
                    <a:pt x="6244" y="515515"/>
                    <a:pt x="127466" y="649003"/>
                    <a:pt x="294252" y="694042"/>
                  </a:cubicBezTo>
                  <a:cubicBezTo>
                    <a:pt x="237836" y="676287"/>
                    <a:pt x="185767" y="647159"/>
                    <a:pt x="141338" y="608502"/>
                  </a:cubicBezTo>
                  <a:cubicBezTo>
                    <a:pt x="66896" y="546008"/>
                    <a:pt x="23508" y="454733"/>
                    <a:pt x="22376" y="358247"/>
                  </a:cubicBezTo>
                  <a:cubicBezTo>
                    <a:pt x="23520" y="261766"/>
                    <a:pt x="66912" y="170503"/>
                    <a:pt x="141351" y="108017"/>
                  </a:cubicBezTo>
                  <a:cubicBezTo>
                    <a:pt x="185811" y="69329"/>
                    <a:pt x="237927" y="40186"/>
                    <a:pt x="294391" y="22438"/>
                  </a:cubicBezTo>
                  <a:cubicBezTo>
                    <a:pt x="128215" y="67264"/>
                    <a:pt x="7209" y="199901"/>
                    <a:pt x="6244" y="356354"/>
                  </a:cubicBezTo>
                  <a:close/>
                </a:path>
              </a:pathLst>
            </a:custGeom>
            <a:solidFill>
              <a:srgbClr val="FFFFFF"/>
            </a:solidFill>
            <a:ln w="12664" cap="flat">
              <a:noFill/>
              <a:prstDash val="solid"/>
              <a:miter/>
            </a:ln>
          </p:spPr>
          <p:txBody>
            <a:bodyPr rtlCol="0" anchor="ctr"/>
            <a:lstStyle/>
            <a:p>
              <a:endParaRPr lang="en-US"/>
            </a:p>
          </p:txBody>
        </p:sp>
        <p:sp>
          <p:nvSpPr>
            <p:cNvPr id="10" name="Freeform 62">
              <a:extLst>
                <a:ext uri="{FF2B5EF4-FFF2-40B4-BE49-F238E27FC236}">
                  <a16:creationId xmlns:a16="http://schemas.microsoft.com/office/drawing/2014/main" id="{3A223CA8-17E8-1FE5-DBC6-FE602FF99365}"/>
                </a:ext>
              </a:extLst>
            </p:cNvPr>
            <p:cNvSpPr/>
            <p:nvPr/>
          </p:nvSpPr>
          <p:spPr>
            <a:xfrm>
              <a:off x="7734489" y="466915"/>
              <a:ext cx="600154" cy="22200"/>
            </a:xfrm>
            <a:custGeom>
              <a:avLst/>
              <a:gdLst>
                <a:gd name="connsiteX0" fmla="*/ 600154 w 600154"/>
                <a:gd name="connsiteY0" fmla="*/ 11094 h 22200"/>
                <a:gd name="connsiteX1" fmla="*/ 300065 w 600154"/>
                <a:gd name="connsiteY1" fmla="*/ 22200 h 22200"/>
                <a:gd name="connsiteX2" fmla="*/ 0 w 600154"/>
                <a:gd name="connsiteY2" fmla="*/ 11094 h 22200"/>
                <a:gd name="connsiteX3" fmla="*/ 300065 w 600154"/>
                <a:gd name="connsiteY3" fmla="*/ 0 h 22200"/>
                <a:gd name="connsiteX4" fmla="*/ 600154 w 600154"/>
                <a:gd name="connsiteY4" fmla="*/ 11094 h 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54" h="22200">
                  <a:moveTo>
                    <a:pt x="600154" y="11094"/>
                  </a:moveTo>
                  <a:cubicBezTo>
                    <a:pt x="600154" y="17198"/>
                    <a:pt x="465708" y="22200"/>
                    <a:pt x="300065" y="22200"/>
                  </a:cubicBezTo>
                  <a:cubicBezTo>
                    <a:pt x="134421" y="22200"/>
                    <a:pt x="0" y="17186"/>
                    <a:pt x="0" y="11094"/>
                  </a:cubicBezTo>
                  <a:cubicBezTo>
                    <a:pt x="0" y="5002"/>
                    <a:pt x="134434" y="0"/>
                    <a:pt x="300065" y="0"/>
                  </a:cubicBezTo>
                  <a:cubicBezTo>
                    <a:pt x="465695" y="0"/>
                    <a:pt x="600154" y="4964"/>
                    <a:pt x="600154" y="11094"/>
                  </a:cubicBezTo>
                  <a:close/>
                </a:path>
              </a:pathLst>
            </a:custGeom>
            <a:solidFill>
              <a:srgbClr val="FFFFFF"/>
            </a:solidFill>
            <a:ln w="12664" cap="flat">
              <a:noFill/>
              <a:prstDash val="solid"/>
              <a:miter/>
            </a:ln>
          </p:spPr>
          <p:txBody>
            <a:bodyPr rtlCol="0" anchor="ctr"/>
            <a:lstStyle/>
            <a:p>
              <a:endParaRPr lang="en-US"/>
            </a:p>
          </p:txBody>
        </p:sp>
        <p:sp>
          <p:nvSpPr>
            <p:cNvPr id="11" name="Freeform 63">
              <a:extLst>
                <a:ext uri="{FF2B5EF4-FFF2-40B4-BE49-F238E27FC236}">
                  <a16:creationId xmlns:a16="http://schemas.microsoft.com/office/drawing/2014/main" id="{4482F4BC-4771-425B-6AD0-D1E8439EDBBA}"/>
                </a:ext>
              </a:extLst>
            </p:cNvPr>
            <p:cNvSpPr/>
            <p:nvPr/>
          </p:nvSpPr>
          <p:spPr>
            <a:xfrm>
              <a:off x="7731341" y="463844"/>
              <a:ext cx="606437" cy="28405"/>
            </a:xfrm>
            <a:custGeom>
              <a:avLst/>
              <a:gdLst>
                <a:gd name="connsiteX0" fmla="*/ 303212 w 606437"/>
                <a:gd name="connsiteY0" fmla="*/ 28405 h 28405"/>
                <a:gd name="connsiteX1" fmla="*/ 90938 w 606437"/>
                <a:gd name="connsiteY1" fmla="*/ 25146 h 28405"/>
                <a:gd name="connsiteX2" fmla="*/ 0 w 606437"/>
                <a:gd name="connsiteY2" fmla="*/ 14203 h 28405"/>
                <a:gd name="connsiteX3" fmla="*/ 90951 w 606437"/>
                <a:gd name="connsiteY3" fmla="*/ 3272 h 28405"/>
                <a:gd name="connsiteX4" fmla="*/ 303212 w 606437"/>
                <a:gd name="connsiteY4" fmla="*/ 0 h 28405"/>
                <a:gd name="connsiteX5" fmla="*/ 515486 w 606437"/>
                <a:gd name="connsiteY5" fmla="*/ 3259 h 28405"/>
                <a:gd name="connsiteX6" fmla="*/ 606437 w 606437"/>
                <a:gd name="connsiteY6" fmla="*/ 14203 h 28405"/>
                <a:gd name="connsiteX7" fmla="*/ 515486 w 606437"/>
                <a:gd name="connsiteY7" fmla="*/ 25146 h 28405"/>
                <a:gd name="connsiteX8" fmla="*/ 303212 w 606437"/>
                <a:gd name="connsiteY8" fmla="*/ 28405 h 28405"/>
                <a:gd name="connsiteX9" fmla="*/ 14799 w 606437"/>
                <a:gd name="connsiteY9" fmla="*/ 14165 h 28405"/>
                <a:gd name="connsiteX10" fmla="*/ 303212 w 606437"/>
                <a:gd name="connsiteY10" fmla="*/ 22162 h 28405"/>
                <a:gd name="connsiteX11" fmla="*/ 591803 w 606437"/>
                <a:gd name="connsiteY11" fmla="*/ 14152 h 28405"/>
                <a:gd name="connsiteX12" fmla="*/ 303212 w 606437"/>
                <a:gd name="connsiteY12" fmla="*/ 6167 h 28405"/>
                <a:gd name="connsiteX13" fmla="*/ 14799 w 606437"/>
                <a:gd name="connsiteY13" fmla="*/ 14165 h 2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437" h="28405">
                  <a:moveTo>
                    <a:pt x="303212" y="28405"/>
                  </a:moveTo>
                  <a:cubicBezTo>
                    <a:pt x="223176" y="28405"/>
                    <a:pt x="147786" y="27252"/>
                    <a:pt x="90938" y="25146"/>
                  </a:cubicBezTo>
                  <a:cubicBezTo>
                    <a:pt x="0" y="21761"/>
                    <a:pt x="0" y="18088"/>
                    <a:pt x="0" y="14203"/>
                  </a:cubicBezTo>
                  <a:cubicBezTo>
                    <a:pt x="0" y="10317"/>
                    <a:pt x="0" y="6681"/>
                    <a:pt x="90951" y="3272"/>
                  </a:cubicBezTo>
                  <a:cubicBezTo>
                    <a:pt x="147786" y="1166"/>
                    <a:pt x="223164" y="0"/>
                    <a:pt x="303212" y="0"/>
                  </a:cubicBezTo>
                  <a:cubicBezTo>
                    <a:pt x="383261" y="0"/>
                    <a:pt x="458753" y="1166"/>
                    <a:pt x="515486" y="3259"/>
                  </a:cubicBezTo>
                  <a:cubicBezTo>
                    <a:pt x="606437" y="6619"/>
                    <a:pt x="606437" y="10304"/>
                    <a:pt x="606437" y="14203"/>
                  </a:cubicBezTo>
                  <a:cubicBezTo>
                    <a:pt x="606437" y="18101"/>
                    <a:pt x="606437" y="21724"/>
                    <a:pt x="515486" y="25146"/>
                  </a:cubicBezTo>
                  <a:cubicBezTo>
                    <a:pt x="458677" y="27214"/>
                    <a:pt x="383286" y="28405"/>
                    <a:pt x="303212" y="28405"/>
                  </a:cubicBezTo>
                  <a:close/>
                  <a:moveTo>
                    <a:pt x="14799" y="14165"/>
                  </a:moveTo>
                  <a:cubicBezTo>
                    <a:pt x="47455" y="18314"/>
                    <a:pt x="158028" y="22162"/>
                    <a:pt x="303212" y="22162"/>
                  </a:cubicBezTo>
                  <a:cubicBezTo>
                    <a:pt x="448650" y="22162"/>
                    <a:pt x="559337" y="18302"/>
                    <a:pt x="591803" y="14152"/>
                  </a:cubicBezTo>
                  <a:cubicBezTo>
                    <a:pt x="560073" y="10016"/>
                    <a:pt x="452978" y="6167"/>
                    <a:pt x="303212" y="6167"/>
                  </a:cubicBezTo>
                  <a:cubicBezTo>
                    <a:pt x="158016" y="6167"/>
                    <a:pt x="47455" y="10016"/>
                    <a:pt x="14799" y="14165"/>
                  </a:cubicBezTo>
                  <a:close/>
                </a:path>
              </a:pathLst>
            </a:custGeom>
            <a:solidFill>
              <a:srgbClr val="FFFFFF"/>
            </a:solidFill>
            <a:ln w="12664" cap="flat">
              <a:noFill/>
              <a:prstDash val="solid"/>
              <a:miter/>
            </a:ln>
          </p:spPr>
          <p:txBody>
            <a:bodyPr rtlCol="0" anchor="ctr"/>
            <a:lstStyle/>
            <a:p>
              <a:endParaRPr lang="en-US"/>
            </a:p>
          </p:txBody>
        </p:sp>
        <p:sp>
          <p:nvSpPr>
            <p:cNvPr id="12" name="Freeform 64">
              <a:extLst>
                <a:ext uri="{FF2B5EF4-FFF2-40B4-BE49-F238E27FC236}">
                  <a16:creationId xmlns:a16="http://schemas.microsoft.com/office/drawing/2014/main" id="{5EC4A6BB-3A7A-D219-BB8B-60412C46F4AF}"/>
                </a:ext>
              </a:extLst>
            </p:cNvPr>
            <p:cNvSpPr/>
            <p:nvPr/>
          </p:nvSpPr>
          <p:spPr>
            <a:xfrm>
              <a:off x="7744744" y="835014"/>
              <a:ext cx="600116" cy="22200"/>
            </a:xfrm>
            <a:custGeom>
              <a:avLst/>
              <a:gdLst>
                <a:gd name="connsiteX0" fmla="*/ 600116 w 600116"/>
                <a:gd name="connsiteY0" fmla="*/ 11081 h 22200"/>
                <a:gd name="connsiteX1" fmla="*/ 300065 w 600116"/>
                <a:gd name="connsiteY1" fmla="*/ 22200 h 22200"/>
                <a:gd name="connsiteX2" fmla="*/ 0 w 600116"/>
                <a:gd name="connsiteY2" fmla="*/ 11081 h 22200"/>
                <a:gd name="connsiteX3" fmla="*/ 300065 w 600116"/>
                <a:gd name="connsiteY3" fmla="*/ 0 h 22200"/>
                <a:gd name="connsiteX4" fmla="*/ 600116 w 600116"/>
                <a:gd name="connsiteY4" fmla="*/ 11081 h 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16" h="22200">
                  <a:moveTo>
                    <a:pt x="600116" y="11081"/>
                  </a:moveTo>
                  <a:cubicBezTo>
                    <a:pt x="600116" y="17236"/>
                    <a:pt x="465708" y="22200"/>
                    <a:pt x="300065" y="22200"/>
                  </a:cubicBezTo>
                  <a:cubicBezTo>
                    <a:pt x="134421" y="22200"/>
                    <a:pt x="0" y="17186"/>
                    <a:pt x="0" y="11081"/>
                  </a:cubicBezTo>
                  <a:cubicBezTo>
                    <a:pt x="0" y="4977"/>
                    <a:pt x="134434" y="0"/>
                    <a:pt x="300065" y="0"/>
                  </a:cubicBezTo>
                  <a:cubicBezTo>
                    <a:pt x="465695" y="0"/>
                    <a:pt x="600116" y="5014"/>
                    <a:pt x="600116" y="11081"/>
                  </a:cubicBezTo>
                  <a:close/>
                </a:path>
              </a:pathLst>
            </a:custGeom>
            <a:solidFill>
              <a:srgbClr val="FFFFFF"/>
            </a:solidFill>
            <a:ln w="12664" cap="flat">
              <a:noFill/>
              <a:prstDash val="solid"/>
              <a:miter/>
            </a:ln>
          </p:spPr>
          <p:txBody>
            <a:bodyPr rtlCol="0" anchor="ctr"/>
            <a:lstStyle/>
            <a:p>
              <a:endParaRPr lang="en-US"/>
            </a:p>
          </p:txBody>
        </p:sp>
        <p:sp>
          <p:nvSpPr>
            <p:cNvPr id="14" name="Freeform 65">
              <a:extLst>
                <a:ext uri="{FF2B5EF4-FFF2-40B4-BE49-F238E27FC236}">
                  <a16:creationId xmlns:a16="http://schemas.microsoft.com/office/drawing/2014/main" id="{3A9EE94B-6EDE-E755-7FB7-DD7ABA405682}"/>
                </a:ext>
              </a:extLst>
            </p:cNvPr>
            <p:cNvSpPr/>
            <p:nvPr/>
          </p:nvSpPr>
          <p:spPr>
            <a:xfrm>
              <a:off x="7741596" y="831918"/>
              <a:ext cx="606398" cy="28392"/>
            </a:xfrm>
            <a:custGeom>
              <a:avLst/>
              <a:gdLst>
                <a:gd name="connsiteX0" fmla="*/ 303212 w 606398"/>
                <a:gd name="connsiteY0" fmla="*/ 28393 h 28392"/>
                <a:gd name="connsiteX1" fmla="*/ 90938 w 606398"/>
                <a:gd name="connsiteY1" fmla="*/ 25121 h 28392"/>
                <a:gd name="connsiteX2" fmla="*/ 0 w 606398"/>
                <a:gd name="connsiteY2" fmla="*/ 14177 h 28392"/>
                <a:gd name="connsiteX3" fmla="*/ 90951 w 606398"/>
                <a:gd name="connsiteY3" fmla="*/ 3247 h 28392"/>
                <a:gd name="connsiteX4" fmla="*/ 303212 w 606398"/>
                <a:gd name="connsiteY4" fmla="*/ 0 h 28392"/>
                <a:gd name="connsiteX5" fmla="*/ 515473 w 606398"/>
                <a:gd name="connsiteY5" fmla="*/ 3259 h 28392"/>
                <a:gd name="connsiteX6" fmla="*/ 606399 w 606398"/>
                <a:gd name="connsiteY6" fmla="*/ 14177 h 28392"/>
                <a:gd name="connsiteX7" fmla="*/ 515473 w 606398"/>
                <a:gd name="connsiteY7" fmla="*/ 25146 h 28392"/>
                <a:gd name="connsiteX8" fmla="*/ 303212 w 606398"/>
                <a:gd name="connsiteY8" fmla="*/ 28393 h 28392"/>
                <a:gd name="connsiteX9" fmla="*/ 14672 w 606398"/>
                <a:gd name="connsiteY9" fmla="*/ 14165 h 28392"/>
                <a:gd name="connsiteX10" fmla="*/ 303212 w 606398"/>
                <a:gd name="connsiteY10" fmla="*/ 22200 h 28392"/>
                <a:gd name="connsiteX11" fmla="*/ 591740 w 606398"/>
                <a:gd name="connsiteY11" fmla="*/ 14203 h 28392"/>
                <a:gd name="connsiteX12" fmla="*/ 303212 w 606398"/>
                <a:gd name="connsiteY12" fmla="*/ 6192 h 28392"/>
                <a:gd name="connsiteX13" fmla="*/ 14672 w 606398"/>
                <a:gd name="connsiteY13" fmla="*/ 14165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398" h="28392">
                  <a:moveTo>
                    <a:pt x="303212" y="28393"/>
                  </a:moveTo>
                  <a:cubicBezTo>
                    <a:pt x="223138" y="28393"/>
                    <a:pt x="147760" y="27239"/>
                    <a:pt x="90938" y="25121"/>
                  </a:cubicBezTo>
                  <a:cubicBezTo>
                    <a:pt x="0" y="21749"/>
                    <a:pt x="0" y="18063"/>
                    <a:pt x="0" y="14177"/>
                  </a:cubicBezTo>
                  <a:cubicBezTo>
                    <a:pt x="0" y="10292"/>
                    <a:pt x="0" y="6656"/>
                    <a:pt x="90951" y="3247"/>
                  </a:cubicBezTo>
                  <a:cubicBezTo>
                    <a:pt x="147697" y="1153"/>
                    <a:pt x="223087" y="0"/>
                    <a:pt x="303212" y="0"/>
                  </a:cubicBezTo>
                  <a:cubicBezTo>
                    <a:pt x="383337" y="0"/>
                    <a:pt x="458600" y="1153"/>
                    <a:pt x="515473" y="3259"/>
                  </a:cubicBezTo>
                  <a:cubicBezTo>
                    <a:pt x="606399" y="6619"/>
                    <a:pt x="606399" y="10292"/>
                    <a:pt x="606399" y="14177"/>
                  </a:cubicBezTo>
                  <a:cubicBezTo>
                    <a:pt x="606399" y="18063"/>
                    <a:pt x="606399" y="21774"/>
                    <a:pt x="515473" y="25146"/>
                  </a:cubicBezTo>
                  <a:cubicBezTo>
                    <a:pt x="458804" y="27239"/>
                    <a:pt x="383426" y="28393"/>
                    <a:pt x="303212" y="28393"/>
                  </a:cubicBezTo>
                  <a:close/>
                  <a:moveTo>
                    <a:pt x="14672" y="14165"/>
                  </a:moveTo>
                  <a:cubicBezTo>
                    <a:pt x="47164" y="18327"/>
                    <a:pt x="157825" y="22200"/>
                    <a:pt x="303212" y="22200"/>
                  </a:cubicBezTo>
                  <a:cubicBezTo>
                    <a:pt x="452978" y="22200"/>
                    <a:pt x="559984" y="18339"/>
                    <a:pt x="591740" y="14203"/>
                  </a:cubicBezTo>
                  <a:cubicBezTo>
                    <a:pt x="559274" y="10053"/>
                    <a:pt x="448599" y="6192"/>
                    <a:pt x="303212" y="6192"/>
                  </a:cubicBezTo>
                  <a:cubicBezTo>
                    <a:pt x="153497" y="6192"/>
                    <a:pt x="46453" y="10066"/>
                    <a:pt x="14672" y="14165"/>
                  </a:cubicBezTo>
                  <a:close/>
                </a:path>
              </a:pathLst>
            </a:custGeom>
            <a:solidFill>
              <a:srgbClr val="FFFFFF"/>
            </a:solidFill>
            <a:ln w="12664" cap="flat">
              <a:noFill/>
              <a:prstDash val="solid"/>
              <a:miter/>
            </a:ln>
          </p:spPr>
          <p:txBody>
            <a:bodyPr rtlCol="0" anchor="ctr"/>
            <a:lstStyle/>
            <a:p>
              <a:endParaRPr lang="en-US"/>
            </a:p>
          </p:txBody>
        </p:sp>
        <p:sp>
          <p:nvSpPr>
            <p:cNvPr id="15" name="Freeform 66">
              <a:extLst>
                <a:ext uri="{FF2B5EF4-FFF2-40B4-BE49-F238E27FC236}">
                  <a16:creationId xmlns:a16="http://schemas.microsoft.com/office/drawing/2014/main" id="{04513005-2CC5-68A6-BA25-324C795C34E2}"/>
                </a:ext>
              </a:extLst>
            </p:cNvPr>
            <p:cNvSpPr/>
            <p:nvPr/>
          </p:nvSpPr>
          <p:spPr>
            <a:xfrm>
              <a:off x="7680662" y="649366"/>
              <a:ext cx="600141" cy="22187"/>
            </a:xfrm>
            <a:custGeom>
              <a:avLst/>
              <a:gdLst>
                <a:gd name="connsiteX0" fmla="*/ 600142 w 600141"/>
                <a:gd name="connsiteY0" fmla="*/ 11081 h 22187"/>
                <a:gd name="connsiteX1" fmla="*/ 300065 w 600141"/>
                <a:gd name="connsiteY1" fmla="*/ 22187 h 22187"/>
                <a:gd name="connsiteX2" fmla="*/ 0 w 600141"/>
                <a:gd name="connsiteY2" fmla="*/ 11081 h 22187"/>
                <a:gd name="connsiteX3" fmla="*/ 300065 w 600141"/>
                <a:gd name="connsiteY3" fmla="*/ 0 h 22187"/>
                <a:gd name="connsiteX4" fmla="*/ 600142 w 600141"/>
                <a:gd name="connsiteY4" fmla="*/ 11081 h 22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41" h="22187">
                  <a:moveTo>
                    <a:pt x="600142" y="11081"/>
                  </a:moveTo>
                  <a:cubicBezTo>
                    <a:pt x="600142" y="17211"/>
                    <a:pt x="465708" y="22187"/>
                    <a:pt x="300065" y="22187"/>
                  </a:cubicBezTo>
                  <a:cubicBezTo>
                    <a:pt x="134421" y="22187"/>
                    <a:pt x="0" y="17173"/>
                    <a:pt x="0" y="11081"/>
                  </a:cubicBezTo>
                  <a:cubicBezTo>
                    <a:pt x="0" y="4989"/>
                    <a:pt x="134434" y="0"/>
                    <a:pt x="300065" y="0"/>
                  </a:cubicBezTo>
                  <a:cubicBezTo>
                    <a:pt x="465695" y="0"/>
                    <a:pt x="600142" y="5014"/>
                    <a:pt x="600142" y="11081"/>
                  </a:cubicBezTo>
                  <a:close/>
                </a:path>
              </a:pathLst>
            </a:custGeom>
            <a:solidFill>
              <a:srgbClr val="FFFFFF"/>
            </a:solidFill>
            <a:ln w="12664" cap="flat">
              <a:noFill/>
              <a:prstDash val="solid"/>
              <a:miter/>
            </a:ln>
          </p:spPr>
          <p:txBody>
            <a:bodyPr rtlCol="0" anchor="ctr"/>
            <a:lstStyle/>
            <a:p>
              <a:endParaRPr lang="en-US"/>
            </a:p>
          </p:txBody>
        </p:sp>
        <p:sp>
          <p:nvSpPr>
            <p:cNvPr id="17" name="Freeform 67">
              <a:extLst>
                <a:ext uri="{FF2B5EF4-FFF2-40B4-BE49-F238E27FC236}">
                  <a16:creationId xmlns:a16="http://schemas.microsoft.com/office/drawing/2014/main" id="{BDDCD4EE-9A57-008A-E460-AD974BAFC315}"/>
                </a:ext>
              </a:extLst>
            </p:cNvPr>
            <p:cNvSpPr/>
            <p:nvPr/>
          </p:nvSpPr>
          <p:spPr>
            <a:xfrm>
              <a:off x="7677514" y="646257"/>
              <a:ext cx="606424" cy="28392"/>
            </a:xfrm>
            <a:custGeom>
              <a:avLst/>
              <a:gdLst>
                <a:gd name="connsiteX0" fmla="*/ 303212 w 606424"/>
                <a:gd name="connsiteY0" fmla="*/ 28392 h 28392"/>
                <a:gd name="connsiteX1" fmla="*/ 90938 w 606424"/>
                <a:gd name="connsiteY1" fmla="*/ 25121 h 28392"/>
                <a:gd name="connsiteX2" fmla="*/ 0 w 606424"/>
                <a:gd name="connsiteY2" fmla="*/ 14190 h 28392"/>
                <a:gd name="connsiteX3" fmla="*/ 90951 w 606424"/>
                <a:gd name="connsiteY3" fmla="*/ 3259 h 28392"/>
                <a:gd name="connsiteX4" fmla="*/ 303212 w 606424"/>
                <a:gd name="connsiteY4" fmla="*/ 0 h 28392"/>
                <a:gd name="connsiteX5" fmla="*/ 515486 w 606424"/>
                <a:gd name="connsiteY5" fmla="*/ 3272 h 28392"/>
                <a:gd name="connsiteX6" fmla="*/ 606424 w 606424"/>
                <a:gd name="connsiteY6" fmla="*/ 14190 h 28392"/>
                <a:gd name="connsiteX7" fmla="*/ 515486 w 606424"/>
                <a:gd name="connsiteY7" fmla="*/ 25133 h 28392"/>
                <a:gd name="connsiteX8" fmla="*/ 303212 w 606424"/>
                <a:gd name="connsiteY8" fmla="*/ 28392 h 28392"/>
                <a:gd name="connsiteX9" fmla="*/ 14812 w 606424"/>
                <a:gd name="connsiteY9" fmla="*/ 14190 h 28392"/>
                <a:gd name="connsiteX10" fmla="*/ 303212 w 606424"/>
                <a:gd name="connsiteY10" fmla="*/ 22188 h 28392"/>
                <a:gd name="connsiteX11" fmla="*/ 591740 w 606424"/>
                <a:gd name="connsiteY11" fmla="*/ 14215 h 28392"/>
                <a:gd name="connsiteX12" fmla="*/ 303212 w 606424"/>
                <a:gd name="connsiteY12" fmla="*/ 6205 h 28392"/>
                <a:gd name="connsiteX13" fmla="*/ 14812 w 606424"/>
                <a:gd name="connsiteY13" fmla="*/ 14190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424" h="28392">
                  <a:moveTo>
                    <a:pt x="303212" y="28392"/>
                  </a:moveTo>
                  <a:cubicBezTo>
                    <a:pt x="223176" y="28392"/>
                    <a:pt x="147786" y="27227"/>
                    <a:pt x="90938" y="25121"/>
                  </a:cubicBezTo>
                  <a:cubicBezTo>
                    <a:pt x="0" y="21749"/>
                    <a:pt x="0" y="18076"/>
                    <a:pt x="0" y="14190"/>
                  </a:cubicBezTo>
                  <a:cubicBezTo>
                    <a:pt x="0" y="10304"/>
                    <a:pt x="0" y="6669"/>
                    <a:pt x="90951" y="3259"/>
                  </a:cubicBezTo>
                  <a:cubicBezTo>
                    <a:pt x="147748" y="1153"/>
                    <a:pt x="223138" y="0"/>
                    <a:pt x="303212" y="0"/>
                  </a:cubicBezTo>
                  <a:cubicBezTo>
                    <a:pt x="383286" y="0"/>
                    <a:pt x="458575" y="1166"/>
                    <a:pt x="515486" y="3272"/>
                  </a:cubicBezTo>
                  <a:cubicBezTo>
                    <a:pt x="606424" y="6644"/>
                    <a:pt x="606424" y="10304"/>
                    <a:pt x="606424" y="14190"/>
                  </a:cubicBezTo>
                  <a:cubicBezTo>
                    <a:pt x="606424" y="18076"/>
                    <a:pt x="606424" y="21774"/>
                    <a:pt x="515486" y="25133"/>
                  </a:cubicBezTo>
                  <a:cubicBezTo>
                    <a:pt x="458740" y="27239"/>
                    <a:pt x="383362" y="28392"/>
                    <a:pt x="303212" y="28392"/>
                  </a:cubicBezTo>
                  <a:close/>
                  <a:moveTo>
                    <a:pt x="14812" y="14190"/>
                  </a:moveTo>
                  <a:cubicBezTo>
                    <a:pt x="47481" y="18339"/>
                    <a:pt x="158041" y="22188"/>
                    <a:pt x="303212" y="22188"/>
                  </a:cubicBezTo>
                  <a:cubicBezTo>
                    <a:pt x="452914" y="22188"/>
                    <a:pt x="559933" y="18339"/>
                    <a:pt x="591740" y="14215"/>
                  </a:cubicBezTo>
                  <a:cubicBezTo>
                    <a:pt x="559210" y="10053"/>
                    <a:pt x="448561" y="6205"/>
                    <a:pt x="303212" y="6205"/>
                  </a:cubicBezTo>
                  <a:cubicBezTo>
                    <a:pt x="157863" y="6205"/>
                    <a:pt x="47481" y="10041"/>
                    <a:pt x="14812" y="14190"/>
                  </a:cubicBezTo>
                  <a:close/>
                </a:path>
              </a:pathLst>
            </a:custGeom>
            <a:solidFill>
              <a:srgbClr val="FFFFFF"/>
            </a:solidFill>
            <a:ln w="12664" cap="flat">
              <a:noFill/>
              <a:prstDash val="solid"/>
              <a:miter/>
            </a:ln>
          </p:spPr>
          <p:txBody>
            <a:bodyPr rtlCol="0" anchor="ctr"/>
            <a:lstStyle/>
            <a:p>
              <a:endParaRPr lang="en-US"/>
            </a:p>
          </p:txBody>
        </p:sp>
        <p:sp>
          <p:nvSpPr>
            <p:cNvPr id="18" name="Freeform 68">
              <a:extLst>
                <a:ext uri="{FF2B5EF4-FFF2-40B4-BE49-F238E27FC236}">
                  <a16:creationId xmlns:a16="http://schemas.microsoft.com/office/drawing/2014/main" id="{4461FE52-6F50-E567-5427-4BEF3A5EE0AB}"/>
                </a:ext>
              </a:extLst>
            </p:cNvPr>
            <p:cNvSpPr/>
            <p:nvPr/>
          </p:nvSpPr>
          <p:spPr>
            <a:xfrm>
              <a:off x="7794847" y="284166"/>
              <a:ext cx="928959" cy="738994"/>
            </a:xfrm>
            <a:custGeom>
              <a:avLst/>
              <a:gdLst>
                <a:gd name="connsiteX0" fmla="*/ 835862 w 928959"/>
                <a:gd name="connsiteY0" fmla="*/ 129348 h 738994"/>
                <a:gd name="connsiteX1" fmla="*/ 928958 w 928959"/>
                <a:gd name="connsiteY1" fmla="*/ 373724 h 738994"/>
                <a:gd name="connsiteX2" fmla="*/ 687886 w 928959"/>
                <a:gd name="connsiteY2" fmla="*/ 707075 h 738994"/>
                <a:gd name="connsiteX3" fmla="*/ 422255 w 928959"/>
                <a:gd name="connsiteY3" fmla="*/ 738739 h 738994"/>
                <a:gd name="connsiteX4" fmla="*/ 59340 w 928959"/>
                <a:gd name="connsiteY4" fmla="*/ 566442 h 738994"/>
                <a:gd name="connsiteX5" fmla="*/ 36227 w 928959"/>
                <a:gd name="connsiteY5" fmla="*/ 210589 h 738994"/>
                <a:gd name="connsiteX6" fmla="*/ 317571 w 928959"/>
                <a:gd name="connsiteY6" fmla="*/ 11729 h 738994"/>
                <a:gd name="connsiteX7" fmla="*/ 681946 w 928959"/>
                <a:gd name="connsiteY7" fmla="*/ 31485 h 738994"/>
                <a:gd name="connsiteX8" fmla="*/ 835862 w 928959"/>
                <a:gd name="connsiteY8" fmla="*/ 129348 h 73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959" h="738994">
                  <a:moveTo>
                    <a:pt x="835862" y="129348"/>
                  </a:moveTo>
                  <a:cubicBezTo>
                    <a:pt x="896115" y="196817"/>
                    <a:pt x="929237" y="283760"/>
                    <a:pt x="928958" y="373724"/>
                  </a:cubicBezTo>
                  <a:cubicBezTo>
                    <a:pt x="925921" y="523318"/>
                    <a:pt x="830175" y="655713"/>
                    <a:pt x="687886" y="707075"/>
                  </a:cubicBezTo>
                  <a:cubicBezTo>
                    <a:pt x="605502" y="733913"/>
                    <a:pt x="513828" y="740457"/>
                    <a:pt x="422255" y="738739"/>
                  </a:cubicBezTo>
                  <a:cubicBezTo>
                    <a:pt x="276855" y="734716"/>
                    <a:pt x="140403" y="684838"/>
                    <a:pt x="59340" y="566442"/>
                  </a:cubicBezTo>
                  <a:cubicBezTo>
                    <a:pt x="-7725" y="467563"/>
                    <a:pt x="-21432" y="316650"/>
                    <a:pt x="36227" y="210589"/>
                  </a:cubicBezTo>
                  <a:cubicBezTo>
                    <a:pt x="85422" y="102522"/>
                    <a:pt x="197479" y="29968"/>
                    <a:pt x="317571" y="11729"/>
                  </a:cubicBezTo>
                  <a:cubicBezTo>
                    <a:pt x="438981" y="-8966"/>
                    <a:pt x="563560" y="-2211"/>
                    <a:pt x="681946" y="31485"/>
                  </a:cubicBezTo>
                  <a:cubicBezTo>
                    <a:pt x="740568" y="51213"/>
                    <a:pt x="793411" y="84811"/>
                    <a:pt x="835862" y="129348"/>
                  </a:cubicBezTo>
                  <a:close/>
                </a:path>
              </a:pathLst>
            </a:custGeom>
            <a:solidFill>
              <a:srgbClr val="CA0538"/>
            </a:solidFill>
            <a:ln w="12664" cap="flat">
              <a:noFill/>
              <a:prstDash val="solid"/>
              <a:miter/>
            </a:ln>
          </p:spPr>
          <p:txBody>
            <a:bodyPr rtlCol="0" anchor="ctr"/>
            <a:lstStyle/>
            <a:p>
              <a:endParaRPr lang="en-US"/>
            </a:p>
          </p:txBody>
        </p:sp>
        <p:sp>
          <p:nvSpPr>
            <p:cNvPr id="20" name="Freeform 69">
              <a:extLst>
                <a:ext uri="{FF2B5EF4-FFF2-40B4-BE49-F238E27FC236}">
                  <a16:creationId xmlns:a16="http://schemas.microsoft.com/office/drawing/2014/main" id="{4DD02BFC-DAB5-5986-68DA-7B4D6F70BAC3}"/>
                </a:ext>
              </a:extLst>
            </p:cNvPr>
            <p:cNvSpPr/>
            <p:nvPr/>
          </p:nvSpPr>
          <p:spPr>
            <a:xfrm>
              <a:off x="7833276" y="310649"/>
              <a:ext cx="674105" cy="476179"/>
            </a:xfrm>
            <a:custGeom>
              <a:avLst/>
              <a:gdLst>
                <a:gd name="connsiteX0" fmla="*/ 674105 w 674105"/>
                <a:gd name="connsiteY0" fmla="*/ 47259 h 476179"/>
                <a:gd name="connsiteX1" fmla="*/ 53199 w 674105"/>
                <a:gd name="connsiteY1" fmla="*/ 164301 h 476179"/>
                <a:gd name="connsiteX2" fmla="*/ 23043 w 674105"/>
                <a:gd name="connsiteY2" fmla="*/ 476180 h 476179"/>
                <a:gd name="connsiteX3" fmla="*/ 674105 w 674105"/>
                <a:gd name="connsiteY3" fmla="*/ 47259 h 476179"/>
              </a:gdLst>
              <a:ahLst/>
              <a:cxnLst>
                <a:cxn ang="0">
                  <a:pos x="connsiteX0" y="connsiteY0"/>
                </a:cxn>
                <a:cxn ang="0">
                  <a:pos x="connsiteX1" y="connsiteY1"/>
                </a:cxn>
                <a:cxn ang="0">
                  <a:pos x="connsiteX2" y="connsiteY2"/>
                </a:cxn>
                <a:cxn ang="0">
                  <a:pos x="connsiteX3" y="connsiteY3"/>
                </a:cxn>
              </a:cxnLst>
              <a:rect l="l" t="t" r="r" b="b"/>
              <a:pathLst>
                <a:path w="674105" h="476179">
                  <a:moveTo>
                    <a:pt x="674105" y="47259"/>
                  </a:moveTo>
                  <a:cubicBezTo>
                    <a:pt x="674105" y="47259"/>
                    <a:pt x="245737" y="-115976"/>
                    <a:pt x="53199" y="164301"/>
                  </a:cubicBezTo>
                  <a:cubicBezTo>
                    <a:pt x="-45202" y="307555"/>
                    <a:pt x="23043" y="476180"/>
                    <a:pt x="23043" y="476180"/>
                  </a:cubicBezTo>
                  <a:cubicBezTo>
                    <a:pt x="23043" y="476180"/>
                    <a:pt x="9323" y="-76226"/>
                    <a:pt x="674105" y="47259"/>
                  </a:cubicBezTo>
                  <a:close/>
                </a:path>
              </a:pathLst>
            </a:custGeom>
            <a:solidFill>
              <a:srgbClr val="FFFFFF"/>
            </a:solidFill>
            <a:ln w="12664" cap="flat">
              <a:noFill/>
              <a:prstDash val="solid"/>
              <a:miter/>
            </a:ln>
          </p:spPr>
          <p:txBody>
            <a:bodyPr rtlCol="0" anchor="ctr"/>
            <a:lstStyle/>
            <a:p>
              <a:endParaRPr lang="en-US"/>
            </a:p>
          </p:txBody>
        </p:sp>
        <p:sp>
          <p:nvSpPr>
            <p:cNvPr id="24" name="Freeform 70">
              <a:extLst>
                <a:ext uri="{FF2B5EF4-FFF2-40B4-BE49-F238E27FC236}">
                  <a16:creationId xmlns:a16="http://schemas.microsoft.com/office/drawing/2014/main" id="{8D6759BF-52B6-8BA9-F708-82A90D61485A}"/>
                </a:ext>
              </a:extLst>
            </p:cNvPr>
            <p:cNvSpPr/>
            <p:nvPr/>
          </p:nvSpPr>
          <p:spPr>
            <a:xfrm>
              <a:off x="7952138" y="416172"/>
              <a:ext cx="622117" cy="420341"/>
            </a:xfrm>
            <a:custGeom>
              <a:avLst/>
              <a:gdLst>
                <a:gd name="connsiteX0" fmla="*/ 244162 w 622117"/>
                <a:gd name="connsiteY0" fmla="*/ 5265 h 420341"/>
                <a:gd name="connsiteX1" fmla="*/ 190234 w 622117"/>
                <a:gd name="connsiteY1" fmla="*/ 115337 h 420341"/>
                <a:gd name="connsiteX2" fmla="*/ 166119 w 622117"/>
                <a:gd name="connsiteY2" fmla="*/ 372750 h 420341"/>
                <a:gd name="connsiteX3" fmla="*/ 174546 w 622117"/>
                <a:gd name="connsiteY3" fmla="*/ 380271 h 420341"/>
                <a:gd name="connsiteX4" fmla="*/ 219273 w 622117"/>
                <a:gd name="connsiteY4" fmla="*/ 341336 h 420341"/>
                <a:gd name="connsiteX5" fmla="*/ 302545 w 622117"/>
                <a:gd name="connsiteY5" fmla="*/ 23617 h 420341"/>
                <a:gd name="connsiteX6" fmla="*/ 333806 w 622117"/>
                <a:gd name="connsiteY6" fmla="*/ 464 h 420341"/>
                <a:gd name="connsiteX7" fmla="*/ 335633 w 622117"/>
                <a:gd name="connsiteY7" fmla="*/ 7032 h 420341"/>
                <a:gd name="connsiteX8" fmla="*/ 302964 w 622117"/>
                <a:gd name="connsiteY8" fmla="*/ 48950 h 420341"/>
                <a:gd name="connsiteX9" fmla="*/ 293445 w 622117"/>
                <a:gd name="connsiteY9" fmla="*/ 78772 h 420341"/>
                <a:gd name="connsiteX10" fmla="*/ 257717 w 622117"/>
                <a:gd name="connsiteY10" fmla="*/ 371697 h 420341"/>
                <a:gd name="connsiteX11" fmla="*/ 269927 w 622117"/>
                <a:gd name="connsiteY11" fmla="*/ 380221 h 420341"/>
                <a:gd name="connsiteX12" fmla="*/ 308980 w 622117"/>
                <a:gd name="connsiteY12" fmla="*/ 342176 h 420341"/>
                <a:gd name="connsiteX13" fmla="*/ 378228 w 622117"/>
                <a:gd name="connsiteY13" fmla="*/ 200628 h 420341"/>
                <a:gd name="connsiteX14" fmla="*/ 448161 w 622117"/>
                <a:gd name="connsiteY14" fmla="*/ 198221 h 420341"/>
                <a:gd name="connsiteX15" fmla="*/ 429681 w 622117"/>
                <a:gd name="connsiteY15" fmla="*/ 360127 h 420341"/>
                <a:gd name="connsiteX16" fmla="*/ 437030 w 622117"/>
                <a:gd name="connsiteY16" fmla="*/ 382690 h 420341"/>
                <a:gd name="connsiteX17" fmla="*/ 444645 w 622117"/>
                <a:gd name="connsiteY17" fmla="*/ 380885 h 420341"/>
                <a:gd name="connsiteX18" fmla="*/ 491339 w 622117"/>
                <a:gd name="connsiteY18" fmla="*/ 333527 h 420341"/>
                <a:gd name="connsiteX19" fmla="*/ 528362 w 622117"/>
                <a:gd name="connsiteY19" fmla="*/ 108054 h 420341"/>
                <a:gd name="connsiteX20" fmla="*/ 593332 w 622117"/>
                <a:gd name="connsiteY20" fmla="*/ 24331 h 420341"/>
                <a:gd name="connsiteX21" fmla="*/ 580031 w 622117"/>
                <a:gd name="connsiteY21" fmla="*/ 39536 h 420341"/>
                <a:gd name="connsiteX22" fmla="*/ 525455 w 622117"/>
                <a:gd name="connsiteY22" fmla="*/ 215770 h 420341"/>
                <a:gd name="connsiteX23" fmla="*/ 546295 w 622117"/>
                <a:gd name="connsiteY23" fmla="*/ 207522 h 420341"/>
                <a:gd name="connsiteX24" fmla="*/ 590083 w 622117"/>
                <a:gd name="connsiteY24" fmla="*/ 171383 h 420341"/>
                <a:gd name="connsiteX25" fmla="*/ 609717 w 622117"/>
                <a:gd name="connsiteY25" fmla="*/ 190299 h 420341"/>
                <a:gd name="connsiteX26" fmla="*/ 587481 w 622117"/>
                <a:gd name="connsiteY26" fmla="*/ 352167 h 420341"/>
                <a:gd name="connsiteX27" fmla="*/ 515873 w 622117"/>
                <a:gd name="connsiteY27" fmla="*/ 418817 h 420341"/>
                <a:gd name="connsiteX28" fmla="*/ 500642 w 622117"/>
                <a:gd name="connsiteY28" fmla="*/ 417313 h 420341"/>
                <a:gd name="connsiteX29" fmla="*/ 492024 w 622117"/>
                <a:gd name="connsiteY29" fmla="*/ 355990 h 420341"/>
                <a:gd name="connsiteX30" fmla="*/ 489207 w 622117"/>
                <a:gd name="connsiteY30" fmla="*/ 354085 h 420341"/>
                <a:gd name="connsiteX31" fmla="*/ 416862 w 622117"/>
                <a:gd name="connsiteY31" fmla="*/ 419958 h 420341"/>
                <a:gd name="connsiteX32" fmla="*/ 408397 w 622117"/>
                <a:gd name="connsiteY32" fmla="*/ 418015 h 420341"/>
                <a:gd name="connsiteX33" fmla="*/ 398345 w 622117"/>
                <a:gd name="connsiteY33" fmla="*/ 380409 h 420341"/>
                <a:gd name="connsiteX34" fmla="*/ 344175 w 622117"/>
                <a:gd name="connsiteY34" fmla="*/ 420221 h 420341"/>
                <a:gd name="connsiteX35" fmla="*/ 325493 w 622117"/>
                <a:gd name="connsiteY35" fmla="*/ 399989 h 420341"/>
                <a:gd name="connsiteX36" fmla="*/ 310719 w 622117"/>
                <a:gd name="connsiteY36" fmla="*/ 359011 h 420341"/>
                <a:gd name="connsiteX37" fmla="*/ 242182 w 622117"/>
                <a:gd name="connsiteY37" fmla="*/ 419306 h 420341"/>
                <a:gd name="connsiteX38" fmla="*/ 228221 w 622117"/>
                <a:gd name="connsiteY38" fmla="*/ 408852 h 420341"/>
                <a:gd name="connsiteX39" fmla="*/ 220047 w 622117"/>
                <a:gd name="connsiteY39" fmla="*/ 358222 h 420341"/>
                <a:gd name="connsiteX40" fmla="*/ 216240 w 622117"/>
                <a:gd name="connsiteY40" fmla="*/ 359124 h 420341"/>
                <a:gd name="connsiteX41" fmla="*/ 149607 w 622117"/>
                <a:gd name="connsiteY41" fmla="*/ 419406 h 420341"/>
                <a:gd name="connsiteX42" fmla="*/ 136470 w 622117"/>
                <a:gd name="connsiteY42" fmla="*/ 410857 h 420341"/>
                <a:gd name="connsiteX43" fmla="*/ 127586 w 622117"/>
                <a:gd name="connsiteY43" fmla="*/ 346138 h 420341"/>
                <a:gd name="connsiteX44" fmla="*/ 123778 w 622117"/>
                <a:gd name="connsiteY44" fmla="*/ 346138 h 420341"/>
                <a:gd name="connsiteX45" fmla="*/ 29616 w 622117"/>
                <a:gd name="connsiteY45" fmla="*/ 420234 h 420341"/>
                <a:gd name="connsiteX46" fmla="*/ 19298 w 622117"/>
                <a:gd name="connsiteY46" fmla="*/ 412637 h 420341"/>
                <a:gd name="connsiteX47" fmla="*/ 41090 w 622117"/>
                <a:gd name="connsiteY47" fmla="*/ 197368 h 420341"/>
                <a:gd name="connsiteX48" fmla="*/ 83177 w 622117"/>
                <a:gd name="connsiteY48" fmla="*/ 178766 h 420341"/>
                <a:gd name="connsiteX49" fmla="*/ 102367 w 622117"/>
                <a:gd name="connsiteY49" fmla="*/ 208224 h 420341"/>
                <a:gd name="connsiteX50" fmla="*/ 102100 w 622117"/>
                <a:gd name="connsiteY50" fmla="*/ 239136 h 420341"/>
                <a:gd name="connsiteX51" fmla="*/ 36368 w 622117"/>
                <a:gd name="connsiteY51" fmla="*/ 299443 h 420341"/>
                <a:gd name="connsiteX52" fmla="*/ 46167 w 622117"/>
                <a:gd name="connsiteY52" fmla="*/ 383831 h 420341"/>
                <a:gd name="connsiteX53" fmla="*/ 58592 w 622117"/>
                <a:gd name="connsiteY53" fmla="*/ 385649 h 420341"/>
                <a:gd name="connsiteX54" fmla="*/ 60331 w 622117"/>
                <a:gd name="connsiteY54" fmla="*/ 383969 h 420341"/>
                <a:gd name="connsiteX55" fmla="*/ 127954 w 622117"/>
                <a:gd name="connsiteY55" fmla="*/ 320866 h 420341"/>
                <a:gd name="connsiteX56" fmla="*/ 202291 w 622117"/>
                <a:gd name="connsiteY56" fmla="*/ 37681 h 420341"/>
                <a:gd name="connsiteX57" fmla="*/ 243007 w 622117"/>
                <a:gd name="connsiteY57" fmla="*/ 0 h 420341"/>
                <a:gd name="connsiteX58" fmla="*/ 244974 w 622117"/>
                <a:gd name="connsiteY58" fmla="*/ 4024 h 420341"/>
                <a:gd name="connsiteX59" fmla="*/ 244162 w 622117"/>
                <a:gd name="connsiteY59" fmla="*/ 5265 h 420341"/>
                <a:gd name="connsiteX60" fmla="*/ 77224 w 622117"/>
                <a:gd name="connsiteY60" fmla="*/ 185510 h 420341"/>
                <a:gd name="connsiteX61" fmla="*/ 63936 w 622117"/>
                <a:gd name="connsiteY61" fmla="*/ 193821 h 420341"/>
                <a:gd name="connsiteX62" fmla="*/ 39516 w 622117"/>
                <a:gd name="connsiteY62" fmla="*/ 281656 h 420341"/>
                <a:gd name="connsiteX63" fmla="*/ 80448 w 622117"/>
                <a:gd name="connsiteY63" fmla="*/ 246419 h 420341"/>
                <a:gd name="connsiteX64" fmla="*/ 86553 w 622117"/>
                <a:gd name="connsiteY64" fmla="*/ 197770 h 420341"/>
                <a:gd name="connsiteX65" fmla="*/ 77224 w 622117"/>
                <a:gd name="connsiteY65" fmla="*/ 185510 h 420341"/>
                <a:gd name="connsiteX66" fmla="*/ 415111 w 622117"/>
                <a:gd name="connsiteY66" fmla="*/ 203536 h 420341"/>
                <a:gd name="connsiteX67" fmla="*/ 378215 w 622117"/>
                <a:gd name="connsiteY67" fmla="*/ 212574 h 420341"/>
                <a:gd name="connsiteX68" fmla="*/ 346891 w 622117"/>
                <a:gd name="connsiteY68" fmla="*/ 331271 h 420341"/>
                <a:gd name="connsiteX69" fmla="*/ 360611 w 622117"/>
                <a:gd name="connsiteY69" fmla="*/ 381976 h 420341"/>
                <a:gd name="connsiteX70" fmla="*/ 395730 w 622117"/>
                <a:gd name="connsiteY70" fmla="*/ 361681 h 420341"/>
                <a:gd name="connsiteX71" fmla="*/ 416037 w 622117"/>
                <a:gd name="connsiteY71" fmla="*/ 208224 h 420341"/>
                <a:gd name="connsiteX72" fmla="*/ 566146 w 622117"/>
                <a:gd name="connsiteY72" fmla="*/ 207698 h 420341"/>
                <a:gd name="connsiteX73" fmla="*/ 530887 w 622117"/>
                <a:gd name="connsiteY73" fmla="*/ 242997 h 420341"/>
                <a:gd name="connsiteX74" fmla="*/ 529618 w 622117"/>
                <a:gd name="connsiteY74" fmla="*/ 378792 h 420341"/>
                <a:gd name="connsiteX75" fmla="*/ 533324 w 622117"/>
                <a:gd name="connsiteY75" fmla="*/ 388219 h 420341"/>
                <a:gd name="connsiteX76" fmla="*/ 558899 w 622117"/>
                <a:gd name="connsiteY76" fmla="*/ 370995 h 420341"/>
                <a:gd name="connsiteX77" fmla="*/ 581871 w 622117"/>
                <a:gd name="connsiteY77" fmla="*/ 223730 h 420341"/>
                <a:gd name="connsiteX78" fmla="*/ 566158 w 622117"/>
                <a:gd name="connsiteY78" fmla="*/ 207710 h 4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22117" h="420341">
                  <a:moveTo>
                    <a:pt x="244162" y="5265"/>
                  </a:moveTo>
                  <a:cubicBezTo>
                    <a:pt x="206086" y="28342"/>
                    <a:pt x="203801" y="76089"/>
                    <a:pt x="190234" y="115337"/>
                  </a:cubicBezTo>
                  <a:cubicBezTo>
                    <a:pt x="169685" y="194774"/>
                    <a:pt x="154696" y="286444"/>
                    <a:pt x="166119" y="372750"/>
                  </a:cubicBezTo>
                  <a:cubicBezTo>
                    <a:pt x="167666" y="376363"/>
                    <a:pt x="170752" y="379115"/>
                    <a:pt x="174546" y="380271"/>
                  </a:cubicBezTo>
                  <a:cubicBezTo>
                    <a:pt x="191170" y="369352"/>
                    <a:pt x="206217" y="356253"/>
                    <a:pt x="219273" y="341336"/>
                  </a:cubicBezTo>
                  <a:cubicBezTo>
                    <a:pt x="227904" y="228092"/>
                    <a:pt x="248807" y="118709"/>
                    <a:pt x="302545" y="23617"/>
                  </a:cubicBezTo>
                  <a:cubicBezTo>
                    <a:pt x="309823" y="12451"/>
                    <a:pt x="320916" y="4236"/>
                    <a:pt x="333806" y="464"/>
                  </a:cubicBezTo>
                  <a:cubicBezTo>
                    <a:pt x="336636" y="464"/>
                    <a:pt x="337613" y="5165"/>
                    <a:pt x="335633" y="7032"/>
                  </a:cubicBezTo>
                  <a:cubicBezTo>
                    <a:pt x="316443" y="13977"/>
                    <a:pt x="309780" y="30298"/>
                    <a:pt x="302964" y="48950"/>
                  </a:cubicBezTo>
                  <a:cubicBezTo>
                    <a:pt x="299197" y="58697"/>
                    <a:pt x="296018" y="68655"/>
                    <a:pt x="293445" y="78772"/>
                  </a:cubicBezTo>
                  <a:cubicBezTo>
                    <a:pt x="267185" y="170380"/>
                    <a:pt x="246358" y="270399"/>
                    <a:pt x="257717" y="371697"/>
                  </a:cubicBezTo>
                  <a:cubicBezTo>
                    <a:pt x="259570" y="376398"/>
                    <a:pt x="264241" y="382064"/>
                    <a:pt x="269927" y="380221"/>
                  </a:cubicBezTo>
                  <a:cubicBezTo>
                    <a:pt x="285184" y="369996"/>
                    <a:pt x="298419" y="357102"/>
                    <a:pt x="308980" y="342176"/>
                  </a:cubicBezTo>
                  <a:cubicBezTo>
                    <a:pt x="303214" y="285875"/>
                    <a:pt x="329984" y="231155"/>
                    <a:pt x="378228" y="200628"/>
                  </a:cubicBezTo>
                  <a:cubicBezTo>
                    <a:pt x="399780" y="188729"/>
                    <a:pt x="425822" y="187833"/>
                    <a:pt x="448161" y="198221"/>
                  </a:cubicBezTo>
                  <a:cubicBezTo>
                    <a:pt x="436742" y="251477"/>
                    <a:pt x="430553" y="305697"/>
                    <a:pt x="429681" y="360127"/>
                  </a:cubicBezTo>
                  <a:cubicBezTo>
                    <a:pt x="430316" y="366633"/>
                    <a:pt x="429529" y="377915"/>
                    <a:pt x="437030" y="382690"/>
                  </a:cubicBezTo>
                  <a:lnTo>
                    <a:pt x="444645" y="380885"/>
                  </a:lnTo>
                  <a:lnTo>
                    <a:pt x="491339" y="333527"/>
                  </a:lnTo>
                  <a:cubicBezTo>
                    <a:pt x="498793" y="257666"/>
                    <a:pt x="511159" y="182354"/>
                    <a:pt x="528362" y="108054"/>
                  </a:cubicBezTo>
                  <a:cubicBezTo>
                    <a:pt x="539048" y="74435"/>
                    <a:pt x="563899" y="27954"/>
                    <a:pt x="593332" y="24331"/>
                  </a:cubicBezTo>
                  <a:cubicBezTo>
                    <a:pt x="604171" y="33808"/>
                    <a:pt x="592228" y="28092"/>
                    <a:pt x="580031" y="39536"/>
                  </a:cubicBezTo>
                  <a:cubicBezTo>
                    <a:pt x="544722" y="77957"/>
                    <a:pt x="531725" y="152116"/>
                    <a:pt x="525455" y="215770"/>
                  </a:cubicBezTo>
                  <a:cubicBezTo>
                    <a:pt x="532702" y="217738"/>
                    <a:pt x="534073" y="216911"/>
                    <a:pt x="546295" y="207522"/>
                  </a:cubicBezTo>
                  <a:lnTo>
                    <a:pt x="590083" y="171383"/>
                  </a:lnTo>
                  <a:cubicBezTo>
                    <a:pt x="600465" y="170530"/>
                    <a:pt x="606011" y="182765"/>
                    <a:pt x="609717" y="190299"/>
                  </a:cubicBezTo>
                  <a:cubicBezTo>
                    <a:pt x="632199" y="244293"/>
                    <a:pt x="623715" y="306041"/>
                    <a:pt x="587481" y="352167"/>
                  </a:cubicBezTo>
                  <a:cubicBezTo>
                    <a:pt x="569051" y="379470"/>
                    <a:pt x="544562" y="402266"/>
                    <a:pt x="515873" y="418817"/>
                  </a:cubicBezTo>
                  <a:cubicBezTo>
                    <a:pt x="504450" y="422578"/>
                    <a:pt x="501378" y="418002"/>
                    <a:pt x="500642" y="417313"/>
                  </a:cubicBezTo>
                  <a:cubicBezTo>
                    <a:pt x="492227" y="406833"/>
                    <a:pt x="493712" y="378454"/>
                    <a:pt x="492024" y="355990"/>
                  </a:cubicBezTo>
                  <a:lnTo>
                    <a:pt x="489207" y="354085"/>
                  </a:lnTo>
                  <a:lnTo>
                    <a:pt x="416862" y="419958"/>
                  </a:lnTo>
                  <a:cubicBezTo>
                    <a:pt x="414984" y="419958"/>
                    <a:pt x="410059" y="421211"/>
                    <a:pt x="408397" y="418015"/>
                  </a:cubicBezTo>
                  <a:cubicBezTo>
                    <a:pt x="402772" y="406183"/>
                    <a:pt x="399365" y="393442"/>
                    <a:pt x="398345" y="380409"/>
                  </a:cubicBezTo>
                  <a:cubicBezTo>
                    <a:pt x="379307" y="391490"/>
                    <a:pt x="363150" y="409140"/>
                    <a:pt x="344175" y="420221"/>
                  </a:cubicBezTo>
                  <a:cubicBezTo>
                    <a:pt x="333768" y="421061"/>
                    <a:pt x="329084" y="408438"/>
                    <a:pt x="325493" y="399989"/>
                  </a:cubicBezTo>
                  <a:cubicBezTo>
                    <a:pt x="317357" y="379419"/>
                    <a:pt x="316608" y="374655"/>
                    <a:pt x="310719" y="359011"/>
                  </a:cubicBezTo>
                  <a:lnTo>
                    <a:pt x="242182" y="419306"/>
                  </a:lnTo>
                  <a:cubicBezTo>
                    <a:pt x="234567" y="423067"/>
                    <a:pt x="230176" y="414844"/>
                    <a:pt x="228221" y="408852"/>
                  </a:cubicBezTo>
                  <a:cubicBezTo>
                    <a:pt x="224377" y="392170"/>
                    <a:pt x="221646" y="375257"/>
                    <a:pt x="220047" y="358222"/>
                  </a:cubicBezTo>
                  <a:lnTo>
                    <a:pt x="216240" y="359124"/>
                  </a:lnTo>
                  <a:lnTo>
                    <a:pt x="149607" y="419406"/>
                  </a:lnTo>
                  <a:cubicBezTo>
                    <a:pt x="142550" y="421512"/>
                    <a:pt x="139986" y="418755"/>
                    <a:pt x="136470" y="410857"/>
                  </a:cubicBezTo>
                  <a:cubicBezTo>
                    <a:pt x="130416" y="397269"/>
                    <a:pt x="130696" y="366883"/>
                    <a:pt x="127586" y="346138"/>
                  </a:cubicBezTo>
                  <a:lnTo>
                    <a:pt x="123778" y="346138"/>
                  </a:lnTo>
                  <a:cubicBezTo>
                    <a:pt x="92404" y="370193"/>
                    <a:pt x="64722" y="401807"/>
                    <a:pt x="29616" y="420234"/>
                  </a:cubicBezTo>
                  <a:cubicBezTo>
                    <a:pt x="24895" y="421111"/>
                    <a:pt x="21151" y="416473"/>
                    <a:pt x="19298" y="412637"/>
                  </a:cubicBezTo>
                  <a:cubicBezTo>
                    <a:pt x="-11265" y="346777"/>
                    <a:pt x="-6619" y="252185"/>
                    <a:pt x="41090" y="197368"/>
                  </a:cubicBezTo>
                  <a:cubicBezTo>
                    <a:pt x="46839" y="191301"/>
                    <a:pt x="63859" y="170593"/>
                    <a:pt x="83177" y="178766"/>
                  </a:cubicBezTo>
                  <a:cubicBezTo>
                    <a:pt x="94066" y="182527"/>
                    <a:pt x="99169" y="191163"/>
                    <a:pt x="102367" y="208224"/>
                  </a:cubicBezTo>
                  <a:cubicBezTo>
                    <a:pt x="105644" y="218289"/>
                    <a:pt x="105550" y="229128"/>
                    <a:pt x="102100" y="239136"/>
                  </a:cubicBezTo>
                  <a:lnTo>
                    <a:pt x="36368" y="299443"/>
                  </a:lnTo>
                  <a:cubicBezTo>
                    <a:pt x="31891" y="327931"/>
                    <a:pt x="35276" y="357085"/>
                    <a:pt x="46167" y="383831"/>
                  </a:cubicBezTo>
                  <a:cubicBezTo>
                    <a:pt x="49091" y="387721"/>
                    <a:pt x="54653" y="388534"/>
                    <a:pt x="58592" y="385649"/>
                  </a:cubicBezTo>
                  <a:cubicBezTo>
                    <a:pt x="59251" y="385174"/>
                    <a:pt x="59836" y="384608"/>
                    <a:pt x="60331" y="383969"/>
                  </a:cubicBezTo>
                  <a:lnTo>
                    <a:pt x="127954" y="320866"/>
                  </a:lnTo>
                  <a:cubicBezTo>
                    <a:pt x="138298" y="220734"/>
                    <a:pt x="157146" y="123460"/>
                    <a:pt x="202291" y="37681"/>
                  </a:cubicBezTo>
                  <a:cubicBezTo>
                    <a:pt x="207634" y="27791"/>
                    <a:pt x="225365" y="752"/>
                    <a:pt x="243007" y="0"/>
                  </a:cubicBezTo>
                  <a:cubicBezTo>
                    <a:pt x="244671" y="580"/>
                    <a:pt x="245549" y="2377"/>
                    <a:pt x="244974" y="4024"/>
                  </a:cubicBezTo>
                  <a:cubicBezTo>
                    <a:pt x="244800" y="4491"/>
                    <a:pt x="244523" y="4916"/>
                    <a:pt x="244162" y="5265"/>
                  </a:cubicBezTo>
                  <a:close/>
                  <a:moveTo>
                    <a:pt x="77224" y="185510"/>
                  </a:moveTo>
                  <a:cubicBezTo>
                    <a:pt x="72275" y="187374"/>
                    <a:pt x="67757" y="190199"/>
                    <a:pt x="63936" y="193821"/>
                  </a:cubicBezTo>
                  <a:cubicBezTo>
                    <a:pt x="49883" y="221174"/>
                    <a:pt x="41576" y="251051"/>
                    <a:pt x="39516" y="281656"/>
                  </a:cubicBezTo>
                  <a:cubicBezTo>
                    <a:pt x="54645" y="269747"/>
                    <a:pt x="68060" y="257563"/>
                    <a:pt x="80448" y="246419"/>
                  </a:cubicBezTo>
                  <a:lnTo>
                    <a:pt x="86553" y="197770"/>
                  </a:lnTo>
                  <a:cubicBezTo>
                    <a:pt x="89459" y="190311"/>
                    <a:pt x="84776" y="185585"/>
                    <a:pt x="77224" y="185510"/>
                  </a:cubicBezTo>
                  <a:close/>
                  <a:moveTo>
                    <a:pt x="415111" y="203536"/>
                  </a:moveTo>
                  <a:cubicBezTo>
                    <a:pt x="401949" y="195927"/>
                    <a:pt x="388711" y="202746"/>
                    <a:pt x="378215" y="212574"/>
                  </a:cubicBezTo>
                  <a:cubicBezTo>
                    <a:pt x="347754" y="241405"/>
                    <a:pt x="343502" y="289039"/>
                    <a:pt x="346891" y="331271"/>
                  </a:cubicBezTo>
                  <a:cubicBezTo>
                    <a:pt x="346891" y="335307"/>
                    <a:pt x="349125" y="369503"/>
                    <a:pt x="360611" y="381976"/>
                  </a:cubicBezTo>
                  <a:cubicBezTo>
                    <a:pt x="374915" y="383229"/>
                    <a:pt x="386211" y="370030"/>
                    <a:pt x="395730" y="361681"/>
                  </a:cubicBezTo>
                  <a:cubicBezTo>
                    <a:pt x="400921" y="310211"/>
                    <a:pt x="407039" y="258741"/>
                    <a:pt x="416037" y="208224"/>
                  </a:cubicBezTo>
                  <a:close/>
                  <a:moveTo>
                    <a:pt x="566146" y="207698"/>
                  </a:moveTo>
                  <a:cubicBezTo>
                    <a:pt x="549725" y="213795"/>
                    <a:pt x="536837" y="226697"/>
                    <a:pt x="530887" y="242997"/>
                  </a:cubicBezTo>
                  <a:cubicBezTo>
                    <a:pt x="520125" y="285993"/>
                    <a:pt x="527207" y="334768"/>
                    <a:pt x="529618" y="378792"/>
                  </a:cubicBezTo>
                  <a:lnTo>
                    <a:pt x="533324" y="388219"/>
                  </a:lnTo>
                  <a:cubicBezTo>
                    <a:pt x="542615" y="387893"/>
                    <a:pt x="553784" y="376937"/>
                    <a:pt x="558899" y="370995"/>
                  </a:cubicBezTo>
                  <a:cubicBezTo>
                    <a:pt x="596556" y="329628"/>
                    <a:pt x="589969" y="272518"/>
                    <a:pt x="581871" y="223730"/>
                  </a:cubicBezTo>
                  <a:cubicBezTo>
                    <a:pt x="581224" y="219970"/>
                    <a:pt x="579333" y="203749"/>
                    <a:pt x="566158" y="207710"/>
                  </a:cubicBezTo>
                  <a:close/>
                </a:path>
              </a:pathLst>
            </a:custGeom>
            <a:solidFill>
              <a:srgbClr val="1D1D1B"/>
            </a:solidFill>
            <a:ln w="12664" cap="flat">
              <a:noFill/>
              <a:prstDash val="solid"/>
              <a:miter/>
            </a:ln>
          </p:spPr>
          <p:txBody>
            <a:bodyPr rtlCol="0" anchor="ctr"/>
            <a:lstStyle/>
            <a:p>
              <a:endParaRPr lang="en-US"/>
            </a:p>
          </p:txBody>
        </p:sp>
        <p:sp>
          <p:nvSpPr>
            <p:cNvPr id="27" name="Freeform 71">
              <a:extLst>
                <a:ext uri="{FF2B5EF4-FFF2-40B4-BE49-F238E27FC236}">
                  <a16:creationId xmlns:a16="http://schemas.microsoft.com/office/drawing/2014/main" id="{F5D48C17-BB65-2C5C-839B-862A4791DA1F}"/>
                </a:ext>
              </a:extLst>
            </p:cNvPr>
            <p:cNvSpPr/>
            <p:nvPr/>
          </p:nvSpPr>
          <p:spPr>
            <a:xfrm>
              <a:off x="7944028" y="412486"/>
              <a:ext cx="622096" cy="420416"/>
            </a:xfrm>
            <a:custGeom>
              <a:avLst/>
              <a:gdLst>
                <a:gd name="connsiteX0" fmla="*/ 244048 w 622096"/>
                <a:gd name="connsiteY0" fmla="*/ 5277 h 420416"/>
                <a:gd name="connsiteX1" fmla="*/ 190170 w 622096"/>
                <a:gd name="connsiteY1" fmla="*/ 115337 h 420416"/>
                <a:gd name="connsiteX2" fmla="*/ 166055 w 622096"/>
                <a:gd name="connsiteY2" fmla="*/ 372775 h 420416"/>
                <a:gd name="connsiteX3" fmla="*/ 174496 w 622096"/>
                <a:gd name="connsiteY3" fmla="*/ 380296 h 420416"/>
                <a:gd name="connsiteX4" fmla="*/ 219273 w 622096"/>
                <a:gd name="connsiteY4" fmla="*/ 341437 h 420416"/>
                <a:gd name="connsiteX5" fmla="*/ 302545 w 622096"/>
                <a:gd name="connsiteY5" fmla="*/ 23667 h 420416"/>
                <a:gd name="connsiteX6" fmla="*/ 333806 w 622096"/>
                <a:gd name="connsiteY6" fmla="*/ 514 h 420416"/>
                <a:gd name="connsiteX7" fmla="*/ 335633 w 622096"/>
                <a:gd name="connsiteY7" fmla="*/ 7095 h 420416"/>
                <a:gd name="connsiteX8" fmla="*/ 302964 w 622096"/>
                <a:gd name="connsiteY8" fmla="*/ 49013 h 420416"/>
                <a:gd name="connsiteX9" fmla="*/ 293445 w 622096"/>
                <a:gd name="connsiteY9" fmla="*/ 78835 h 420416"/>
                <a:gd name="connsiteX10" fmla="*/ 257717 w 622096"/>
                <a:gd name="connsiteY10" fmla="*/ 371772 h 420416"/>
                <a:gd name="connsiteX11" fmla="*/ 269927 w 622096"/>
                <a:gd name="connsiteY11" fmla="*/ 380296 h 420416"/>
                <a:gd name="connsiteX12" fmla="*/ 308980 w 622096"/>
                <a:gd name="connsiteY12" fmla="*/ 342239 h 420416"/>
                <a:gd name="connsiteX13" fmla="*/ 378228 w 622096"/>
                <a:gd name="connsiteY13" fmla="*/ 200690 h 420416"/>
                <a:gd name="connsiteX14" fmla="*/ 448161 w 622096"/>
                <a:gd name="connsiteY14" fmla="*/ 198284 h 420416"/>
                <a:gd name="connsiteX15" fmla="*/ 429681 w 622096"/>
                <a:gd name="connsiteY15" fmla="*/ 360202 h 420416"/>
                <a:gd name="connsiteX16" fmla="*/ 437030 w 622096"/>
                <a:gd name="connsiteY16" fmla="*/ 382766 h 420416"/>
                <a:gd name="connsiteX17" fmla="*/ 444645 w 622096"/>
                <a:gd name="connsiteY17" fmla="*/ 380961 h 420416"/>
                <a:gd name="connsiteX18" fmla="*/ 491339 w 622096"/>
                <a:gd name="connsiteY18" fmla="*/ 333590 h 420416"/>
                <a:gd name="connsiteX19" fmla="*/ 528362 w 622096"/>
                <a:gd name="connsiteY19" fmla="*/ 108092 h 420416"/>
                <a:gd name="connsiteX20" fmla="*/ 593332 w 622096"/>
                <a:gd name="connsiteY20" fmla="*/ 24369 h 420416"/>
                <a:gd name="connsiteX21" fmla="*/ 580031 w 622096"/>
                <a:gd name="connsiteY21" fmla="*/ 39574 h 420416"/>
                <a:gd name="connsiteX22" fmla="*/ 525455 w 622096"/>
                <a:gd name="connsiteY22" fmla="*/ 215808 h 420416"/>
                <a:gd name="connsiteX23" fmla="*/ 546295 w 622096"/>
                <a:gd name="connsiteY23" fmla="*/ 207560 h 420416"/>
                <a:gd name="connsiteX24" fmla="*/ 590083 w 622096"/>
                <a:gd name="connsiteY24" fmla="*/ 171420 h 420416"/>
                <a:gd name="connsiteX25" fmla="*/ 609717 w 622096"/>
                <a:gd name="connsiteY25" fmla="*/ 190324 h 420416"/>
                <a:gd name="connsiteX26" fmla="*/ 587443 w 622096"/>
                <a:gd name="connsiteY26" fmla="*/ 352167 h 420416"/>
                <a:gd name="connsiteX27" fmla="*/ 515835 w 622096"/>
                <a:gd name="connsiteY27" fmla="*/ 418842 h 420416"/>
                <a:gd name="connsiteX28" fmla="*/ 500604 w 622096"/>
                <a:gd name="connsiteY28" fmla="*/ 417338 h 420416"/>
                <a:gd name="connsiteX29" fmla="*/ 491986 w 622096"/>
                <a:gd name="connsiteY29" fmla="*/ 356003 h 420416"/>
                <a:gd name="connsiteX30" fmla="*/ 489169 w 622096"/>
                <a:gd name="connsiteY30" fmla="*/ 354097 h 420416"/>
                <a:gd name="connsiteX31" fmla="*/ 416824 w 622096"/>
                <a:gd name="connsiteY31" fmla="*/ 419983 h 420416"/>
                <a:gd name="connsiteX32" fmla="*/ 408359 w 622096"/>
                <a:gd name="connsiteY32" fmla="*/ 418040 h 420416"/>
                <a:gd name="connsiteX33" fmla="*/ 398307 w 622096"/>
                <a:gd name="connsiteY33" fmla="*/ 380434 h 420416"/>
                <a:gd name="connsiteX34" fmla="*/ 344137 w 622096"/>
                <a:gd name="connsiteY34" fmla="*/ 420246 h 420416"/>
                <a:gd name="connsiteX35" fmla="*/ 325454 w 622096"/>
                <a:gd name="connsiteY35" fmla="*/ 400014 h 420416"/>
                <a:gd name="connsiteX36" fmla="*/ 310681 w 622096"/>
                <a:gd name="connsiteY36" fmla="*/ 359036 h 420416"/>
                <a:gd name="connsiteX37" fmla="*/ 242144 w 622096"/>
                <a:gd name="connsiteY37" fmla="*/ 419331 h 420416"/>
                <a:gd name="connsiteX38" fmla="*/ 228183 w 622096"/>
                <a:gd name="connsiteY38" fmla="*/ 408864 h 420416"/>
                <a:gd name="connsiteX39" fmla="*/ 220009 w 622096"/>
                <a:gd name="connsiteY39" fmla="*/ 358222 h 420416"/>
                <a:gd name="connsiteX40" fmla="*/ 216202 w 622096"/>
                <a:gd name="connsiteY40" fmla="*/ 359149 h 420416"/>
                <a:gd name="connsiteX41" fmla="*/ 149607 w 622096"/>
                <a:gd name="connsiteY41" fmla="*/ 419469 h 420416"/>
                <a:gd name="connsiteX42" fmla="*/ 136470 w 622096"/>
                <a:gd name="connsiteY42" fmla="*/ 410920 h 420416"/>
                <a:gd name="connsiteX43" fmla="*/ 127586 w 622096"/>
                <a:gd name="connsiteY43" fmla="*/ 346188 h 420416"/>
                <a:gd name="connsiteX44" fmla="*/ 123778 w 622096"/>
                <a:gd name="connsiteY44" fmla="*/ 346188 h 420416"/>
                <a:gd name="connsiteX45" fmla="*/ 29616 w 622096"/>
                <a:gd name="connsiteY45" fmla="*/ 420309 h 420416"/>
                <a:gd name="connsiteX46" fmla="*/ 19298 w 622096"/>
                <a:gd name="connsiteY46" fmla="*/ 412713 h 420416"/>
                <a:gd name="connsiteX47" fmla="*/ 41090 w 622096"/>
                <a:gd name="connsiteY47" fmla="*/ 197431 h 420416"/>
                <a:gd name="connsiteX48" fmla="*/ 83177 w 622096"/>
                <a:gd name="connsiteY48" fmla="*/ 178829 h 420416"/>
                <a:gd name="connsiteX49" fmla="*/ 102380 w 622096"/>
                <a:gd name="connsiteY49" fmla="*/ 208287 h 420416"/>
                <a:gd name="connsiteX50" fmla="*/ 102100 w 622096"/>
                <a:gd name="connsiteY50" fmla="*/ 239199 h 420416"/>
                <a:gd name="connsiteX51" fmla="*/ 36368 w 622096"/>
                <a:gd name="connsiteY51" fmla="*/ 299506 h 420416"/>
                <a:gd name="connsiteX52" fmla="*/ 46002 w 622096"/>
                <a:gd name="connsiteY52" fmla="*/ 383906 h 420416"/>
                <a:gd name="connsiteX53" fmla="*/ 58427 w 622096"/>
                <a:gd name="connsiteY53" fmla="*/ 385724 h 420416"/>
                <a:gd name="connsiteX54" fmla="*/ 60166 w 622096"/>
                <a:gd name="connsiteY54" fmla="*/ 384044 h 420416"/>
                <a:gd name="connsiteX55" fmla="*/ 127891 w 622096"/>
                <a:gd name="connsiteY55" fmla="*/ 320866 h 420416"/>
                <a:gd name="connsiteX56" fmla="*/ 202240 w 622096"/>
                <a:gd name="connsiteY56" fmla="*/ 37681 h 420416"/>
                <a:gd name="connsiteX57" fmla="*/ 242956 w 622096"/>
                <a:gd name="connsiteY57" fmla="*/ 0 h 420416"/>
                <a:gd name="connsiteX58" fmla="*/ 244860 w 622096"/>
                <a:gd name="connsiteY58" fmla="*/ 4049 h 420416"/>
                <a:gd name="connsiteX59" fmla="*/ 244048 w 622096"/>
                <a:gd name="connsiteY59" fmla="*/ 5277 h 420416"/>
                <a:gd name="connsiteX60" fmla="*/ 77123 w 622096"/>
                <a:gd name="connsiteY60" fmla="*/ 185523 h 420416"/>
                <a:gd name="connsiteX61" fmla="*/ 63834 w 622096"/>
                <a:gd name="connsiteY61" fmla="*/ 193833 h 420416"/>
                <a:gd name="connsiteX62" fmla="*/ 39415 w 622096"/>
                <a:gd name="connsiteY62" fmla="*/ 281681 h 420416"/>
                <a:gd name="connsiteX63" fmla="*/ 80346 w 622096"/>
                <a:gd name="connsiteY63" fmla="*/ 246444 h 420416"/>
                <a:gd name="connsiteX64" fmla="*/ 86451 w 622096"/>
                <a:gd name="connsiteY64" fmla="*/ 197795 h 420416"/>
                <a:gd name="connsiteX65" fmla="*/ 77123 w 622096"/>
                <a:gd name="connsiteY65" fmla="*/ 185523 h 420416"/>
                <a:gd name="connsiteX66" fmla="*/ 415022 w 622096"/>
                <a:gd name="connsiteY66" fmla="*/ 203548 h 420416"/>
                <a:gd name="connsiteX67" fmla="*/ 378126 w 622096"/>
                <a:gd name="connsiteY67" fmla="*/ 212574 h 420416"/>
                <a:gd name="connsiteX68" fmla="*/ 346815 w 622096"/>
                <a:gd name="connsiteY68" fmla="*/ 331283 h 420416"/>
                <a:gd name="connsiteX69" fmla="*/ 360522 w 622096"/>
                <a:gd name="connsiteY69" fmla="*/ 382001 h 420416"/>
                <a:gd name="connsiteX70" fmla="*/ 395641 w 622096"/>
                <a:gd name="connsiteY70" fmla="*/ 361706 h 420416"/>
                <a:gd name="connsiteX71" fmla="*/ 415948 w 622096"/>
                <a:gd name="connsiteY71" fmla="*/ 208237 h 420416"/>
                <a:gd name="connsiteX72" fmla="*/ 566057 w 622096"/>
                <a:gd name="connsiteY72" fmla="*/ 207710 h 420416"/>
                <a:gd name="connsiteX73" fmla="*/ 530798 w 622096"/>
                <a:gd name="connsiteY73" fmla="*/ 243009 h 420416"/>
                <a:gd name="connsiteX74" fmla="*/ 529529 w 622096"/>
                <a:gd name="connsiteY74" fmla="*/ 378817 h 420416"/>
                <a:gd name="connsiteX75" fmla="*/ 533235 w 622096"/>
                <a:gd name="connsiteY75" fmla="*/ 388244 h 420416"/>
                <a:gd name="connsiteX76" fmla="*/ 558810 w 622096"/>
                <a:gd name="connsiteY76" fmla="*/ 371020 h 420416"/>
                <a:gd name="connsiteX77" fmla="*/ 581795 w 622096"/>
                <a:gd name="connsiteY77" fmla="*/ 223743 h 420416"/>
                <a:gd name="connsiteX78" fmla="*/ 566095 w 622096"/>
                <a:gd name="connsiteY78" fmla="*/ 207710 h 420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22096" h="420416">
                  <a:moveTo>
                    <a:pt x="244048" y="5277"/>
                  </a:moveTo>
                  <a:cubicBezTo>
                    <a:pt x="206061" y="28355"/>
                    <a:pt x="203738" y="76114"/>
                    <a:pt x="190170" y="115337"/>
                  </a:cubicBezTo>
                  <a:cubicBezTo>
                    <a:pt x="169609" y="194786"/>
                    <a:pt x="154633" y="286457"/>
                    <a:pt x="166055" y="372775"/>
                  </a:cubicBezTo>
                  <a:cubicBezTo>
                    <a:pt x="167605" y="376390"/>
                    <a:pt x="170696" y="379144"/>
                    <a:pt x="174496" y="380296"/>
                  </a:cubicBezTo>
                  <a:cubicBezTo>
                    <a:pt x="191129" y="369398"/>
                    <a:pt x="206191" y="356326"/>
                    <a:pt x="219273" y="341437"/>
                  </a:cubicBezTo>
                  <a:cubicBezTo>
                    <a:pt x="227853" y="228143"/>
                    <a:pt x="248757" y="118760"/>
                    <a:pt x="302545" y="23667"/>
                  </a:cubicBezTo>
                  <a:cubicBezTo>
                    <a:pt x="309829" y="12508"/>
                    <a:pt x="320920" y="4295"/>
                    <a:pt x="333806" y="514"/>
                  </a:cubicBezTo>
                  <a:cubicBezTo>
                    <a:pt x="336636" y="514"/>
                    <a:pt x="337613" y="5227"/>
                    <a:pt x="335633" y="7095"/>
                  </a:cubicBezTo>
                  <a:cubicBezTo>
                    <a:pt x="316443" y="14027"/>
                    <a:pt x="309780" y="30361"/>
                    <a:pt x="302964" y="49013"/>
                  </a:cubicBezTo>
                  <a:cubicBezTo>
                    <a:pt x="299197" y="58759"/>
                    <a:pt x="296018" y="68717"/>
                    <a:pt x="293445" y="78835"/>
                  </a:cubicBezTo>
                  <a:cubicBezTo>
                    <a:pt x="267185" y="170443"/>
                    <a:pt x="246358" y="270462"/>
                    <a:pt x="257717" y="371772"/>
                  </a:cubicBezTo>
                  <a:cubicBezTo>
                    <a:pt x="259570" y="376473"/>
                    <a:pt x="264241" y="382139"/>
                    <a:pt x="269927" y="380296"/>
                  </a:cubicBezTo>
                  <a:cubicBezTo>
                    <a:pt x="285184" y="370066"/>
                    <a:pt x="298419" y="357169"/>
                    <a:pt x="308980" y="342239"/>
                  </a:cubicBezTo>
                  <a:cubicBezTo>
                    <a:pt x="303214" y="285938"/>
                    <a:pt x="329984" y="231218"/>
                    <a:pt x="378228" y="200690"/>
                  </a:cubicBezTo>
                  <a:cubicBezTo>
                    <a:pt x="399780" y="188792"/>
                    <a:pt x="425822" y="187895"/>
                    <a:pt x="448161" y="198284"/>
                  </a:cubicBezTo>
                  <a:cubicBezTo>
                    <a:pt x="436742" y="251544"/>
                    <a:pt x="430553" y="305768"/>
                    <a:pt x="429681" y="360202"/>
                  </a:cubicBezTo>
                  <a:cubicBezTo>
                    <a:pt x="430316" y="366708"/>
                    <a:pt x="429529" y="377990"/>
                    <a:pt x="437030" y="382766"/>
                  </a:cubicBezTo>
                  <a:lnTo>
                    <a:pt x="444645" y="380961"/>
                  </a:lnTo>
                  <a:lnTo>
                    <a:pt x="491339" y="333590"/>
                  </a:lnTo>
                  <a:cubicBezTo>
                    <a:pt x="498791" y="257720"/>
                    <a:pt x="511158" y="182400"/>
                    <a:pt x="528362" y="108092"/>
                  </a:cubicBezTo>
                  <a:cubicBezTo>
                    <a:pt x="539048" y="74472"/>
                    <a:pt x="563963" y="27979"/>
                    <a:pt x="593332" y="24369"/>
                  </a:cubicBezTo>
                  <a:cubicBezTo>
                    <a:pt x="604171" y="33845"/>
                    <a:pt x="592228" y="28129"/>
                    <a:pt x="580031" y="39574"/>
                  </a:cubicBezTo>
                  <a:cubicBezTo>
                    <a:pt x="544722" y="77982"/>
                    <a:pt x="531725" y="152154"/>
                    <a:pt x="525455" y="215808"/>
                  </a:cubicBezTo>
                  <a:cubicBezTo>
                    <a:pt x="532702" y="217763"/>
                    <a:pt x="534073" y="216949"/>
                    <a:pt x="546295" y="207560"/>
                  </a:cubicBezTo>
                  <a:lnTo>
                    <a:pt x="590083" y="171420"/>
                  </a:lnTo>
                  <a:cubicBezTo>
                    <a:pt x="600465" y="170568"/>
                    <a:pt x="606011" y="182802"/>
                    <a:pt x="609717" y="190324"/>
                  </a:cubicBezTo>
                  <a:cubicBezTo>
                    <a:pt x="632177" y="244318"/>
                    <a:pt x="623681" y="306053"/>
                    <a:pt x="587443" y="352167"/>
                  </a:cubicBezTo>
                  <a:cubicBezTo>
                    <a:pt x="569021" y="379484"/>
                    <a:pt x="544530" y="402288"/>
                    <a:pt x="515835" y="418842"/>
                  </a:cubicBezTo>
                  <a:cubicBezTo>
                    <a:pt x="504412" y="422603"/>
                    <a:pt x="501340" y="418027"/>
                    <a:pt x="500604" y="417338"/>
                  </a:cubicBezTo>
                  <a:cubicBezTo>
                    <a:pt x="492189" y="406846"/>
                    <a:pt x="493674" y="378479"/>
                    <a:pt x="491986" y="356003"/>
                  </a:cubicBezTo>
                  <a:lnTo>
                    <a:pt x="489169" y="354097"/>
                  </a:lnTo>
                  <a:lnTo>
                    <a:pt x="416824" y="419983"/>
                  </a:lnTo>
                  <a:cubicBezTo>
                    <a:pt x="414946" y="419983"/>
                    <a:pt x="410021" y="421237"/>
                    <a:pt x="408359" y="418040"/>
                  </a:cubicBezTo>
                  <a:cubicBezTo>
                    <a:pt x="402734" y="406208"/>
                    <a:pt x="399327" y="393467"/>
                    <a:pt x="398307" y="380434"/>
                  </a:cubicBezTo>
                  <a:cubicBezTo>
                    <a:pt x="379269" y="391515"/>
                    <a:pt x="363112" y="409165"/>
                    <a:pt x="344137" y="420246"/>
                  </a:cubicBezTo>
                  <a:cubicBezTo>
                    <a:pt x="333730" y="421086"/>
                    <a:pt x="329046" y="408463"/>
                    <a:pt x="325454" y="400014"/>
                  </a:cubicBezTo>
                  <a:cubicBezTo>
                    <a:pt x="317319" y="379444"/>
                    <a:pt x="316570" y="374668"/>
                    <a:pt x="310681" y="359036"/>
                  </a:cubicBezTo>
                  <a:lnTo>
                    <a:pt x="242144" y="419331"/>
                  </a:lnTo>
                  <a:cubicBezTo>
                    <a:pt x="234529" y="423017"/>
                    <a:pt x="230137" y="414869"/>
                    <a:pt x="228183" y="408864"/>
                  </a:cubicBezTo>
                  <a:cubicBezTo>
                    <a:pt x="224332" y="392180"/>
                    <a:pt x="221602" y="375262"/>
                    <a:pt x="220009" y="358222"/>
                  </a:cubicBezTo>
                  <a:lnTo>
                    <a:pt x="216202" y="359149"/>
                  </a:lnTo>
                  <a:lnTo>
                    <a:pt x="149607" y="419469"/>
                  </a:lnTo>
                  <a:cubicBezTo>
                    <a:pt x="142550" y="421575"/>
                    <a:pt x="139986" y="418817"/>
                    <a:pt x="136470" y="410920"/>
                  </a:cubicBezTo>
                  <a:cubicBezTo>
                    <a:pt x="130416" y="397332"/>
                    <a:pt x="130696" y="366946"/>
                    <a:pt x="127586" y="346188"/>
                  </a:cubicBezTo>
                  <a:lnTo>
                    <a:pt x="123778" y="346188"/>
                  </a:lnTo>
                  <a:cubicBezTo>
                    <a:pt x="92404" y="370268"/>
                    <a:pt x="64722" y="401882"/>
                    <a:pt x="29616" y="420309"/>
                  </a:cubicBezTo>
                  <a:cubicBezTo>
                    <a:pt x="24895" y="421186"/>
                    <a:pt x="21151" y="416548"/>
                    <a:pt x="19298" y="412713"/>
                  </a:cubicBezTo>
                  <a:cubicBezTo>
                    <a:pt x="-11265" y="346839"/>
                    <a:pt x="-6619" y="252261"/>
                    <a:pt x="41090" y="197431"/>
                  </a:cubicBezTo>
                  <a:cubicBezTo>
                    <a:pt x="46839" y="191364"/>
                    <a:pt x="63859" y="170656"/>
                    <a:pt x="83177" y="178829"/>
                  </a:cubicBezTo>
                  <a:cubicBezTo>
                    <a:pt x="94066" y="182589"/>
                    <a:pt x="99181" y="191226"/>
                    <a:pt x="102380" y="208287"/>
                  </a:cubicBezTo>
                  <a:cubicBezTo>
                    <a:pt x="105640" y="218355"/>
                    <a:pt x="105542" y="229191"/>
                    <a:pt x="102100" y="239199"/>
                  </a:cubicBezTo>
                  <a:lnTo>
                    <a:pt x="36368" y="299506"/>
                  </a:lnTo>
                  <a:cubicBezTo>
                    <a:pt x="31849" y="327984"/>
                    <a:pt x="35177" y="357137"/>
                    <a:pt x="46002" y="383906"/>
                  </a:cubicBezTo>
                  <a:cubicBezTo>
                    <a:pt x="48926" y="387796"/>
                    <a:pt x="54488" y="388610"/>
                    <a:pt x="58427" y="385724"/>
                  </a:cubicBezTo>
                  <a:cubicBezTo>
                    <a:pt x="59086" y="385249"/>
                    <a:pt x="59671" y="384684"/>
                    <a:pt x="60166" y="384044"/>
                  </a:cubicBezTo>
                  <a:lnTo>
                    <a:pt x="127891" y="320866"/>
                  </a:lnTo>
                  <a:cubicBezTo>
                    <a:pt x="138235" y="220734"/>
                    <a:pt x="157082" y="123460"/>
                    <a:pt x="202240" y="37681"/>
                  </a:cubicBezTo>
                  <a:cubicBezTo>
                    <a:pt x="207584" y="27791"/>
                    <a:pt x="225314" y="752"/>
                    <a:pt x="242956" y="0"/>
                  </a:cubicBezTo>
                  <a:cubicBezTo>
                    <a:pt x="244613" y="600"/>
                    <a:pt x="245466" y="2412"/>
                    <a:pt x="244860" y="4049"/>
                  </a:cubicBezTo>
                  <a:cubicBezTo>
                    <a:pt x="244685" y="4513"/>
                    <a:pt x="244408" y="4933"/>
                    <a:pt x="244048" y="5277"/>
                  </a:cubicBezTo>
                  <a:close/>
                  <a:moveTo>
                    <a:pt x="77123" y="185523"/>
                  </a:moveTo>
                  <a:cubicBezTo>
                    <a:pt x="72174" y="187387"/>
                    <a:pt x="67656" y="190212"/>
                    <a:pt x="63834" y="193833"/>
                  </a:cubicBezTo>
                  <a:cubicBezTo>
                    <a:pt x="49780" y="221191"/>
                    <a:pt x="41473" y="251072"/>
                    <a:pt x="39415" y="281681"/>
                  </a:cubicBezTo>
                  <a:cubicBezTo>
                    <a:pt x="54543" y="269772"/>
                    <a:pt x="67959" y="257588"/>
                    <a:pt x="80346" y="246444"/>
                  </a:cubicBezTo>
                  <a:lnTo>
                    <a:pt x="86451" y="197795"/>
                  </a:lnTo>
                  <a:cubicBezTo>
                    <a:pt x="89383" y="190324"/>
                    <a:pt x="84738" y="185598"/>
                    <a:pt x="77123" y="185523"/>
                  </a:cubicBezTo>
                  <a:close/>
                  <a:moveTo>
                    <a:pt x="415022" y="203548"/>
                  </a:moveTo>
                  <a:cubicBezTo>
                    <a:pt x="401860" y="195939"/>
                    <a:pt x="388623" y="202759"/>
                    <a:pt x="378126" y="212574"/>
                  </a:cubicBezTo>
                  <a:cubicBezTo>
                    <a:pt x="347665" y="241405"/>
                    <a:pt x="343414" y="289039"/>
                    <a:pt x="346815" y="331283"/>
                  </a:cubicBezTo>
                  <a:cubicBezTo>
                    <a:pt x="346815" y="335320"/>
                    <a:pt x="349036" y="369528"/>
                    <a:pt x="360522" y="382001"/>
                  </a:cubicBezTo>
                  <a:cubicBezTo>
                    <a:pt x="374826" y="383255"/>
                    <a:pt x="386122" y="370055"/>
                    <a:pt x="395641" y="361706"/>
                  </a:cubicBezTo>
                  <a:cubicBezTo>
                    <a:pt x="400832" y="310224"/>
                    <a:pt x="406950" y="258754"/>
                    <a:pt x="415948" y="208237"/>
                  </a:cubicBezTo>
                  <a:close/>
                  <a:moveTo>
                    <a:pt x="566057" y="207710"/>
                  </a:moveTo>
                  <a:cubicBezTo>
                    <a:pt x="549631" y="213798"/>
                    <a:pt x="536740" y="226705"/>
                    <a:pt x="530798" y="243009"/>
                  </a:cubicBezTo>
                  <a:cubicBezTo>
                    <a:pt x="520036" y="286006"/>
                    <a:pt x="527118" y="334781"/>
                    <a:pt x="529529" y="378817"/>
                  </a:cubicBezTo>
                  <a:lnTo>
                    <a:pt x="533235" y="388244"/>
                  </a:lnTo>
                  <a:cubicBezTo>
                    <a:pt x="542526" y="387918"/>
                    <a:pt x="553695" y="376962"/>
                    <a:pt x="558810" y="371020"/>
                  </a:cubicBezTo>
                  <a:cubicBezTo>
                    <a:pt x="596467" y="329654"/>
                    <a:pt x="589880" y="272530"/>
                    <a:pt x="581795" y="223743"/>
                  </a:cubicBezTo>
                  <a:cubicBezTo>
                    <a:pt x="581160" y="219982"/>
                    <a:pt x="579257" y="203761"/>
                    <a:pt x="566095" y="207710"/>
                  </a:cubicBezTo>
                  <a:close/>
                </a:path>
              </a:pathLst>
            </a:custGeom>
            <a:solidFill>
              <a:srgbClr val="FFFFFF"/>
            </a:solidFill>
            <a:ln w="12664" cap="flat">
              <a:noFill/>
              <a:prstDash val="solid"/>
              <a:miter/>
            </a:ln>
          </p:spPr>
          <p:txBody>
            <a:bodyPr rtlCol="0" anchor="ctr"/>
            <a:lstStyle/>
            <a:p>
              <a:endParaRPr lang="en-US"/>
            </a:p>
          </p:txBody>
        </p:sp>
      </p:grpSp>
    </p:spTree>
    <p:extLst>
      <p:ext uri="{BB962C8B-B14F-4D97-AF65-F5344CB8AC3E}">
        <p14:creationId xmlns:p14="http://schemas.microsoft.com/office/powerpoint/2010/main" val="7182539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54">
            <a:extLst>
              <a:ext uri="{FF2B5EF4-FFF2-40B4-BE49-F238E27FC236}">
                <a16:creationId xmlns:a16="http://schemas.microsoft.com/office/drawing/2014/main" id="{EF8E1979-B19A-4041-42F0-A62D29A8B24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88756" y="1736450"/>
            <a:ext cx="6300341" cy="3661520"/>
          </a:xfrm>
          <a:prstGeom prst="rect">
            <a:avLst/>
          </a:prstGeom>
        </p:spPr>
      </p:pic>
      <p:sp>
        <p:nvSpPr>
          <p:cNvPr id="10" name="Oval 9">
            <a:extLst>
              <a:ext uri="{FF2B5EF4-FFF2-40B4-BE49-F238E27FC236}">
                <a16:creationId xmlns:a16="http://schemas.microsoft.com/office/drawing/2014/main" id="{17CCE0D3-F8D2-CD8B-9A2E-9A128E42BC4F}"/>
              </a:ext>
            </a:extLst>
          </p:cNvPr>
          <p:cNvSpPr>
            <a:spLocks/>
          </p:cNvSpPr>
          <p:nvPr/>
        </p:nvSpPr>
        <p:spPr>
          <a:xfrm rot="6883338">
            <a:off x="504661" y="3524604"/>
            <a:ext cx="3522626" cy="3327782"/>
          </a:xfrm>
          <a:prstGeom prst="ellipse">
            <a:avLst/>
          </a:prstGeom>
          <a:blipFill>
            <a:blip r:embed="rId4">
              <a:duotone>
                <a:schemeClr val="bg2">
                  <a:shade val="45000"/>
                  <a:satMod val="135000"/>
                </a:schemeClr>
                <a:prstClr val="white"/>
              </a:duotone>
            </a:blip>
            <a:stretch>
              <a:fillRect l="-3643" t="-31574" r="-154175" b="-126094"/>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48640" eaLnBrk="1" fontAlgn="auto" hangingPunct="1">
              <a:spcBef>
                <a:spcPts val="0"/>
              </a:spcBef>
              <a:spcAft>
                <a:spcPts val="0"/>
              </a:spcAft>
              <a:defRPr/>
            </a:pPr>
            <a:endParaRPr lang="en-US" sz="2160">
              <a:solidFill>
                <a:srgbClr val="FFFFFF"/>
              </a:solidFill>
              <a:latin typeface="Avenir Next" panose="020B0503020202020204" pitchFamily="34" charset="0"/>
            </a:endParaRPr>
          </a:p>
        </p:txBody>
      </p:sp>
      <p:sp>
        <p:nvSpPr>
          <p:cNvPr id="2" name="Title 1">
            <a:extLst>
              <a:ext uri="{FF2B5EF4-FFF2-40B4-BE49-F238E27FC236}">
                <a16:creationId xmlns:a16="http://schemas.microsoft.com/office/drawing/2014/main" id="{BCC63C3F-59F6-7151-1F3D-D1F8D739D395}"/>
              </a:ext>
            </a:extLst>
          </p:cNvPr>
          <p:cNvSpPr>
            <a:spLocks noGrp="1"/>
          </p:cNvSpPr>
          <p:nvPr>
            <p:ph type="title"/>
          </p:nvPr>
        </p:nvSpPr>
        <p:spPr>
          <a:xfrm>
            <a:off x="360000" y="936001"/>
            <a:ext cx="6108177" cy="365126"/>
          </a:xfrm>
        </p:spPr>
        <p:txBody>
          <a:bodyPr/>
          <a:lstStyle/>
          <a:p>
            <a:pPr algn="r"/>
            <a:r>
              <a:rPr lang="en-US" dirty="0">
                <a:solidFill>
                  <a:schemeClr val="accent4"/>
                </a:solidFill>
              </a:rPr>
              <a:t>More connected and data-driven pharmaceutical ecosystem</a:t>
            </a:r>
            <a:endParaRPr lang="en-DK" dirty="0">
              <a:solidFill>
                <a:schemeClr val="accent4"/>
              </a:solidFill>
            </a:endParaRPr>
          </a:p>
        </p:txBody>
      </p:sp>
      <p:sp>
        <p:nvSpPr>
          <p:cNvPr id="3" name="Subtitle 2">
            <a:extLst>
              <a:ext uri="{FF2B5EF4-FFF2-40B4-BE49-F238E27FC236}">
                <a16:creationId xmlns:a16="http://schemas.microsoft.com/office/drawing/2014/main" id="{B1993847-3FE1-E42E-CA2D-B96C8D3F4790}"/>
              </a:ext>
            </a:extLst>
          </p:cNvPr>
          <p:cNvSpPr>
            <a:spLocks noGrp="1"/>
          </p:cNvSpPr>
          <p:nvPr>
            <p:ph type="body" sz="half" idx="2"/>
          </p:nvPr>
        </p:nvSpPr>
        <p:spPr>
          <a:xfrm>
            <a:off x="360000" y="2532740"/>
            <a:ext cx="11485562" cy="720000"/>
          </a:xfrm>
          <a:prstGeom prst="rect">
            <a:avLst/>
          </a:prstGeom>
        </p:spPr>
        <p:txBody>
          <a:bodyPr/>
          <a:lstStyle/>
          <a:p>
            <a:pPr marL="411480" indent="-411480">
              <a:lnSpc>
                <a:spcPct val="100000"/>
              </a:lnSpc>
              <a:buFont typeface="Arial" panose="020B0604020202020204" pitchFamily="34" charset="0"/>
              <a:buChar char="•"/>
            </a:pPr>
            <a:r>
              <a:rPr lang="en-US" sz="2160" b="0" dirty="0">
                <a:solidFill>
                  <a:schemeClr val="bg2">
                    <a:lumMod val="25000"/>
                  </a:schemeClr>
                </a:solidFill>
              </a:rPr>
              <a:t>Citrix install.</a:t>
            </a:r>
          </a:p>
          <a:p>
            <a:pPr marL="411480" indent="-411480">
              <a:lnSpc>
                <a:spcPct val="100000"/>
              </a:lnSpc>
              <a:buFont typeface="Arial" panose="020B0604020202020204" pitchFamily="34" charset="0"/>
              <a:buChar char="•"/>
            </a:pPr>
            <a:r>
              <a:rPr lang="en-US" sz="2160" b="0" dirty="0">
                <a:solidFill>
                  <a:schemeClr val="bg2">
                    <a:lumMod val="25000"/>
                  </a:schemeClr>
                </a:solidFill>
              </a:rPr>
              <a:t>Server install.</a:t>
            </a:r>
          </a:p>
          <a:p>
            <a:pPr marL="411480" indent="-411480">
              <a:lnSpc>
                <a:spcPct val="100000"/>
              </a:lnSpc>
              <a:buFont typeface="Arial" panose="020B0604020202020204" pitchFamily="34" charset="0"/>
              <a:buChar char="•"/>
            </a:pPr>
            <a:r>
              <a:rPr lang="en-US" sz="2160" b="0" dirty="0">
                <a:solidFill>
                  <a:schemeClr val="bg2">
                    <a:lumMod val="25000"/>
                  </a:schemeClr>
                </a:solidFill>
              </a:rPr>
              <a:t>Local Install.</a:t>
            </a:r>
          </a:p>
          <a:p>
            <a:pPr marL="411480" indent="-411480">
              <a:lnSpc>
                <a:spcPct val="100000"/>
              </a:lnSpc>
              <a:buFont typeface="Arial" panose="020B0604020202020204" pitchFamily="34" charset="0"/>
              <a:buChar char="•"/>
            </a:pPr>
            <a:r>
              <a:rPr lang="en-US" sz="2160" b="0" dirty="0">
                <a:solidFill>
                  <a:schemeClr val="bg2">
                    <a:lumMod val="25000"/>
                  </a:schemeClr>
                </a:solidFill>
              </a:rPr>
              <a:t>AD login. </a:t>
            </a:r>
          </a:p>
        </p:txBody>
      </p:sp>
      <p:pic>
        <p:nvPicPr>
          <p:cNvPr id="6" name="Picture Placeholder 5" descr="A picture containing outdoor object&#10;&#10;Description automatically generated">
            <a:extLst>
              <a:ext uri="{FF2B5EF4-FFF2-40B4-BE49-F238E27FC236}">
                <a16:creationId xmlns:a16="http://schemas.microsoft.com/office/drawing/2014/main" id="{61F5E691-6E2C-6AD7-CDAA-54EBCF1D55C0}"/>
              </a:ext>
            </a:extLst>
          </p:cNvPr>
          <p:cNvPicPr>
            <a:picLocks noGrp="1" noChangeAspect="1"/>
          </p:cNvPicPr>
          <p:nvPr>
            <p:ph type="pic" sz="quarter" idx="4294967295"/>
          </p:nvPr>
        </p:nvPicPr>
        <p:blipFill rotWithShape="1">
          <a:blip r:embed="rId5" cstate="screen">
            <a:extLst>
              <a:ext uri="{28A0092B-C50C-407E-A947-70E740481C1C}">
                <a14:useLocalDpi xmlns:a14="http://schemas.microsoft.com/office/drawing/2010/main"/>
              </a:ext>
            </a:extLst>
          </a:blip>
          <a:srcRect/>
          <a:stretch/>
        </p:blipFill>
        <p:spPr>
          <a:xfrm>
            <a:off x="6743700" y="0"/>
            <a:ext cx="5448300" cy="6430963"/>
          </a:xfrm>
          <a:custGeom>
            <a:avLst/>
            <a:gdLst>
              <a:gd name="connsiteX0" fmla="*/ 588166 w 4652544"/>
              <a:gd name="connsiteY0" fmla="*/ 0 h 4945656"/>
              <a:gd name="connsiteX1" fmla="*/ 4642814 w 4652544"/>
              <a:gd name="connsiteY1" fmla="*/ 0 h 4945656"/>
              <a:gd name="connsiteX2" fmla="*/ 4652544 w 4652544"/>
              <a:gd name="connsiteY2" fmla="*/ 4945656 h 4945656"/>
              <a:gd name="connsiteX3" fmla="*/ 955205 w 4652544"/>
              <a:gd name="connsiteY3" fmla="*/ 4945656 h 4945656"/>
              <a:gd name="connsiteX4" fmla="*/ 786241 w 4652544"/>
              <a:gd name="connsiteY4" fmla="*/ 4695345 h 4945656"/>
              <a:gd name="connsiteX5" fmla="*/ 588166 w 4652544"/>
              <a:gd name="connsiteY5" fmla="*/ 0 h 4945656"/>
              <a:gd name="connsiteX0" fmla="*/ 588166 w 4657428"/>
              <a:gd name="connsiteY0" fmla="*/ 0 h 4948098"/>
              <a:gd name="connsiteX1" fmla="*/ 4642814 w 4657428"/>
              <a:gd name="connsiteY1" fmla="*/ 0 h 4948098"/>
              <a:gd name="connsiteX2" fmla="*/ 4657428 w 4657428"/>
              <a:gd name="connsiteY2" fmla="*/ 4948098 h 4948098"/>
              <a:gd name="connsiteX3" fmla="*/ 955205 w 4657428"/>
              <a:gd name="connsiteY3" fmla="*/ 4945656 h 4948098"/>
              <a:gd name="connsiteX4" fmla="*/ 786241 w 4657428"/>
              <a:gd name="connsiteY4" fmla="*/ 4695345 h 4948098"/>
              <a:gd name="connsiteX5" fmla="*/ 588166 w 4657428"/>
              <a:gd name="connsiteY5" fmla="*/ 0 h 494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428" h="4948098">
                <a:moveTo>
                  <a:pt x="588166" y="0"/>
                </a:moveTo>
                <a:lnTo>
                  <a:pt x="4642814" y="0"/>
                </a:lnTo>
                <a:cubicBezTo>
                  <a:pt x="4647685" y="1649366"/>
                  <a:pt x="4652557" y="3298732"/>
                  <a:pt x="4657428" y="4948098"/>
                </a:cubicBezTo>
                <a:lnTo>
                  <a:pt x="955205" y="4945656"/>
                </a:lnTo>
                <a:lnTo>
                  <a:pt x="786241" y="4695345"/>
                </a:lnTo>
                <a:cubicBezTo>
                  <a:pt x="-858738" y="2122275"/>
                  <a:pt x="588166" y="0"/>
                  <a:pt x="588166" y="0"/>
                </a:cubicBezTo>
                <a:close/>
              </a:path>
            </a:pathLst>
          </a:custGeom>
          <a:effectLst/>
        </p:spPr>
      </p:pic>
      <p:sp>
        <p:nvSpPr>
          <p:cNvPr id="9" name="Rectangle 8">
            <a:extLst>
              <a:ext uri="{FF2B5EF4-FFF2-40B4-BE49-F238E27FC236}">
                <a16:creationId xmlns:a16="http://schemas.microsoft.com/office/drawing/2014/main" id="{401C685F-0DBC-EC7F-BFFB-8C06F48D4D36}"/>
              </a:ext>
            </a:extLst>
          </p:cNvPr>
          <p:cNvSpPr/>
          <p:nvPr/>
        </p:nvSpPr>
        <p:spPr>
          <a:xfrm>
            <a:off x="5132863" y="3051657"/>
            <a:ext cx="613440" cy="84714"/>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DK"/>
          </a:p>
        </p:txBody>
      </p:sp>
    </p:spTree>
    <p:extLst>
      <p:ext uri="{BB962C8B-B14F-4D97-AF65-F5344CB8AC3E}">
        <p14:creationId xmlns:p14="http://schemas.microsoft.com/office/powerpoint/2010/main" val="37637873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B54420-49DA-5A3F-1513-C5B93488A02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28527" y="1806946"/>
            <a:ext cx="6686550" cy="4682896"/>
          </a:xfrm>
          <a:prstGeom prst="rect">
            <a:avLst/>
          </a:prstGeom>
        </p:spPr>
      </p:pic>
      <p:pic>
        <p:nvPicPr>
          <p:cNvPr id="31" name="Graphic 30">
            <a:extLst>
              <a:ext uri="{FF2B5EF4-FFF2-40B4-BE49-F238E27FC236}">
                <a16:creationId xmlns:a16="http://schemas.microsoft.com/office/drawing/2014/main" id="{DE626A71-8DDC-4188-6C0F-B1B9951CC68A}"/>
              </a:ext>
            </a:extLst>
          </p:cNvPr>
          <p:cNvPicPr>
            <a:picLocks noChangeAspect="1"/>
          </p:cNvPicPr>
          <p:nvPr/>
        </p:nvPicPr>
        <p:blipFill>
          <a:blip r:embed="rId3">
            <a:alphaModFix amt="13000"/>
            <a:extLst>
              <a:ext uri="{96DAC541-7B7A-43D3-8B79-37D633B846F1}">
                <asvg:svgBlip xmlns:asvg="http://schemas.microsoft.com/office/drawing/2016/SVG/main" r:embed="rId4"/>
              </a:ext>
            </a:extLst>
          </a:blip>
          <a:stretch>
            <a:fillRect/>
          </a:stretch>
        </p:blipFill>
        <p:spPr>
          <a:xfrm>
            <a:off x="609600" y="2977247"/>
            <a:ext cx="7039560" cy="3793627"/>
          </a:xfrm>
          <a:prstGeom prst="rect">
            <a:avLst/>
          </a:prstGeom>
        </p:spPr>
      </p:pic>
      <p:sp>
        <p:nvSpPr>
          <p:cNvPr id="4" name="Title 3">
            <a:extLst>
              <a:ext uri="{FF2B5EF4-FFF2-40B4-BE49-F238E27FC236}">
                <a16:creationId xmlns:a16="http://schemas.microsoft.com/office/drawing/2014/main" id="{84E178EC-F136-EDD4-1BE3-01B245E771C1}"/>
              </a:ext>
            </a:extLst>
          </p:cNvPr>
          <p:cNvSpPr>
            <a:spLocks noGrp="1"/>
          </p:cNvSpPr>
          <p:nvPr>
            <p:ph type="title"/>
          </p:nvPr>
        </p:nvSpPr>
        <p:spPr/>
        <p:txBody>
          <a:bodyPr/>
          <a:lstStyle/>
          <a:p>
            <a:r>
              <a:rPr lang="en-US" dirty="0"/>
              <a:t>Market trends	</a:t>
            </a:r>
          </a:p>
        </p:txBody>
      </p:sp>
      <p:sp>
        <p:nvSpPr>
          <p:cNvPr id="6" name="Text Placeholder 5">
            <a:extLst>
              <a:ext uri="{FF2B5EF4-FFF2-40B4-BE49-F238E27FC236}">
                <a16:creationId xmlns:a16="http://schemas.microsoft.com/office/drawing/2014/main" id="{FA320C56-A118-96B3-F7B1-0A569267D030}"/>
              </a:ext>
            </a:extLst>
          </p:cNvPr>
          <p:cNvSpPr>
            <a:spLocks noGrp="1"/>
          </p:cNvSpPr>
          <p:nvPr>
            <p:ph type="body" sz="half" idx="2"/>
          </p:nvPr>
        </p:nvSpPr>
        <p:spPr/>
        <p:txBody>
          <a:bodyPr/>
          <a:lstStyle/>
          <a:p>
            <a:endParaRPr lang="en-US">
              <a:latin typeface="+mj-lt"/>
            </a:endParaRPr>
          </a:p>
        </p:txBody>
      </p:sp>
      <p:pic>
        <p:nvPicPr>
          <p:cNvPr id="13" name="Picture Placeholder 12" descr="A group of people in a room&#10;&#10;Description automatically generated with medium confidence">
            <a:extLst>
              <a:ext uri="{FF2B5EF4-FFF2-40B4-BE49-F238E27FC236}">
                <a16:creationId xmlns:a16="http://schemas.microsoft.com/office/drawing/2014/main" id="{1EE3AC18-04E9-E4CE-4352-92B776EC4488}"/>
              </a:ext>
            </a:extLst>
          </p:cNvPr>
          <p:cNvPicPr>
            <a:picLocks noGrp="1" noChangeAspect="1"/>
          </p:cNvPicPr>
          <p:nvPr>
            <p:ph type="pic" sz="quarter" idx="4294967295"/>
          </p:nvPr>
        </p:nvPicPr>
        <p:blipFill>
          <a:blip r:embed="rId5" cstate="screen">
            <a:extLst>
              <a:ext uri="{28A0092B-C50C-407E-A947-70E740481C1C}">
                <a14:useLocalDpi xmlns:a14="http://schemas.microsoft.com/office/drawing/2010/main"/>
              </a:ext>
            </a:extLst>
          </a:blip>
          <a:srcRect/>
          <a:stretch>
            <a:fillRect/>
          </a:stretch>
        </p:blipFill>
        <p:spPr>
          <a:xfrm>
            <a:off x="6837363" y="0"/>
            <a:ext cx="5354637" cy="6437313"/>
          </a:xfrm>
          <a:effectLst/>
        </p:spPr>
      </p:pic>
      <p:sp>
        <p:nvSpPr>
          <p:cNvPr id="18" name="Title 5">
            <a:extLst>
              <a:ext uri="{FF2B5EF4-FFF2-40B4-BE49-F238E27FC236}">
                <a16:creationId xmlns:a16="http://schemas.microsoft.com/office/drawing/2014/main" id="{9F431C9A-CC05-7594-87F0-FB7579EFDDD3}"/>
              </a:ext>
            </a:extLst>
          </p:cNvPr>
          <p:cNvSpPr txBox="1">
            <a:spLocks/>
          </p:cNvSpPr>
          <p:nvPr/>
        </p:nvSpPr>
        <p:spPr>
          <a:xfrm>
            <a:off x="1310556" y="1015337"/>
            <a:ext cx="4459600" cy="1961910"/>
          </a:xfrm>
          <a:custGeom>
            <a:avLst/>
            <a:gdLst>
              <a:gd name="connsiteX0" fmla="*/ 0 w 3247289"/>
              <a:gd name="connsiteY0" fmla="*/ 0 h 1106803"/>
              <a:gd name="connsiteX1" fmla="*/ 3247289 w 3247289"/>
              <a:gd name="connsiteY1" fmla="*/ 0 h 1106803"/>
              <a:gd name="connsiteX2" fmla="*/ 3247289 w 3247289"/>
              <a:gd name="connsiteY2" fmla="*/ 1106803 h 1106803"/>
              <a:gd name="connsiteX3" fmla="*/ 0 w 3247289"/>
              <a:gd name="connsiteY3" fmla="*/ 1106803 h 1106803"/>
              <a:gd name="connsiteX4" fmla="*/ 0 w 3247289"/>
              <a:gd name="connsiteY4" fmla="*/ 0 h 1106803"/>
              <a:gd name="connsiteX0" fmla="*/ 0 w 3584914"/>
              <a:gd name="connsiteY0" fmla="*/ 0 h 1106803"/>
              <a:gd name="connsiteX1" fmla="*/ 3584914 w 3584914"/>
              <a:gd name="connsiteY1" fmla="*/ 14067 h 1106803"/>
              <a:gd name="connsiteX2" fmla="*/ 3247289 w 3584914"/>
              <a:gd name="connsiteY2" fmla="*/ 1106803 h 1106803"/>
              <a:gd name="connsiteX3" fmla="*/ 0 w 3584914"/>
              <a:gd name="connsiteY3" fmla="*/ 1106803 h 1106803"/>
              <a:gd name="connsiteX4" fmla="*/ 0 w 3584914"/>
              <a:gd name="connsiteY4" fmla="*/ 0 h 1106803"/>
              <a:gd name="connsiteX0" fmla="*/ 0 w 3570846"/>
              <a:gd name="connsiteY0" fmla="*/ 0 h 1106803"/>
              <a:gd name="connsiteX1" fmla="*/ 3570846 w 3570846"/>
              <a:gd name="connsiteY1" fmla="*/ 7033 h 1106803"/>
              <a:gd name="connsiteX2" fmla="*/ 3247289 w 3570846"/>
              <a:gd name="connsiteY2" fmla="*/ 1106803 h 1106803"/>
              <a:gd name="connsiteX3" fmla="*/ 0 w 3570846"/>
              <a:gd name="connsiteY3" fmla="*/ 1106803 h 1106803"/>
              <a:gd name="connsiteX4" fmla="*/ 0 w 3570846"/>
              <a:gd name="connsiteY4" fmla="*/ 0 h 1106803"/>
              <a:gd name="connsiteX0" fmla="*/ 0 w 3570846"/>
              <a:gd name="connsiteY0" fmla="*/ 0 h 1240447"/>
              <a:gd name="connsiteX1" fmla="*/ 3570846 w 3570846"/>
              <a:gd name="connsiteY1" fmla="*/ 7033 h 1240447"/>
              <a:gd name="connsiteX2" fmla="*/ 3247289 w 3570846"/>
              <a:gd name="connsiteY2" fmla="*/ 1240447 h 1240447"/>
              <a:gd name="connsiteX3" fmla="*/ 0 w 3570846"/>
              <a:gd name="connsiteY3" fmla="*/ 1106803 h 1240447"/>
              <a:gd name="connsiteX4" fmla="*/ 0 w 3570846"/>
              <a:gd name="connsiteY4" fmla="*/ 0 h 1240447"/>
              <a:gd name="connsiteX0" fmla="*/ 0 w 3570846"/>
              <a:gd name="connsiteY0" fmla="*/ 0 h 1268581"/>
              <a:gd name="connsiteX1" fmla="*/ 3570846 w 3570846"/>
              <a:gd name="connsiteY1" fmla="*/ 7033 h 1268581"/>
              <a:gd name="connsiteX2" fmla="*/ 3247289 w 3570846"/>
              <a:gd name="connsiteY2" fmla="*/ 1240447 h 1268581"/>
              <a:gd name="connsiteX3" fmla="*/ 0 w 3570846"/>
              <a:gd name="connsiteY3" fmla="*/ 1268581 h 1268581"/>
              <a:gd name="connsiteX4" fmla="*/ 0 w 3570846"/>
              <a:gd name="connsiteY4" fmla="*/ 0 h 1268581"/>
              <a:gd name="connsiteX0" fmla="*/ 0 w 3790765"/>
              <a:gd name="connsiteY0" fmla="*/ 28136 h 1296717"/>
              <a:gd name="connsiteX1" fmla="*/ 3790765 w 3790765"/>
              <a:gd name="connsiteY1" fmla="*/ 0 h 1296717"/>
              <a:gd name="connsiteX2" fmla="*/ 3247289 w 3790765"/>
              <a:gd name="connsiteY2" fmla="*/ 1268583 h 1296717"/>
              <a:gd name="connsiteX3" fmla="*/ 0 w 3790765"/>
              <a:gd name="connsiteY3" fmla="*/ 1296717 h 1296717"/>
              <a:gd name="connsiteX4" fmla="*/ 0 w 3790765"/>
              <a:gd name="connsiteY4" fmla="*/ 28136 h 1296717"/>
              <a:gd name="connsiteX0" fmla="*/ 0 w 3790765"/>
              <a:gd name="connsiteY0" fmla="*/ 28136 h 1310786"/>
              <a:gd name="connsiteX1" fmla="*/ 3790765 w 3790765"/>
              <a:gd name="connsiteY1" fmla="*/ 0 h 1310786"/>
              <a:gd name="connsiteX2" fmla="*/ 3563972 w 3790765"/>
              <a:gd name="connsiteY2" fmla="*/ 1310786 h 1310786"/>
              <a:gd name="connsiteX3" fmla="*/ 0 w 3790765"/>
              <a:gd name="connsiteY3" fmla="*/ 1296717 h 1310786"/>
              <a:gd name="connsiteX4" fmla="*/ 0 w 3790765"/>
              <a:gd name="connsiteY4" fmla="*/ 28136 h 1310786"/>
              <a:gd name="connsiteX0" fmla="*/ 0 w 3799561"/>
              <a:gd name="connsiteY0" fmla="*/ 0 h 1324853"/>
              <a:gd name="connsiteX1" fmla="*/ 3799561 w 3799561"/>
              <a:gd name="connsiteY1" fmla="*/ 14067 h 1324853"/>
              <a:gd name="connsiteX2" fmla="*/ 3572768 w 3799561"/>
              <a:gd name="connsiteY2" fmla="*/ 1324853 h 1324853"/>
              <a:gd name="connsiteX3" fmla="*/ 8796 w 3799561"/>
              <a:gd name="connsiteY3" fmla="*/ 1310784 h 1324853"/>
              <a:gd name="connsiteX4" fmla="*/ 0 w 3799561"/>
              <a:gd name="connsiteY4" fmla="*/ 0 h 1324853"/>
              <a:gd name="connsiteX0" fmla="*/ 0 w 4001888"/>
              <a:gd name="connsiteY0" fmla="*/ 21102 h 1345955"/>
              <a:gd name="connsiteX1" fmla="*/ 4001888 w 4001888"/>
              <a:gd name="connsiteY1" fmla="*/ 0 h 1345955"/>
              <a:gd name="connsiteX2" fmla="*/ 3572768 w 4001888"/>
              <a:gd name="connsiteY2" fmla="*/ 1345955 h 1345955"/>
              <a:gd name="connsiteX3" fmla="*/ 8796 w 4001888"/>
              <a:gd name="connsiteY3" fmla="*/ 1331886 h 1345955"/>
              <a:gd name="connsiteX4" fmla="*/ 0 w 4001888"/>
              <a:gd name="connsiteY4" fmla="*/ 21102 h 1345955"/>
              <a:gd name="connsiteX0" fmla="*/ 0 w 4001888"/>
              <a:gd name="connsiteY0" fmla="*/ 21102 h 1479598"/>
              <a:gd name="connsiteX1" fmla="*/ 4001888 w 4001888"/>
              <a:gd name="connsiteY1" fmla="*/ 0 h 1479598"/>
              <a:gd name="connsiteX2" fmla="*/ 3194507 w 4001888"/>
              <a:gd name="connsiteY2" fmla="*/ 1479598 h 1479598"/>
              <a:gd name="connsiteX3" fmla="*/ 8796 w 4001888"/>
              <a:gd name="connsiteY3" fmla="*/ 1331886 h 1479598"/>
              <a:gd name="connsiteX4" fmla="*/ 0 w 4001888"/>
              <a:gd name="connsiteY4" fmla="*/ 21102 h 1479598"/>
              <a:gd name="connsiteX0" fmla="*/ 0 w 4001888"/>
              <a:gd name="connsiteY0" fmla="*/ 21102 h 1345955"/>
              <a:gd name="connsiteX1" fmla="*/ 4001888 w 4001888"/>
              <a:gd name="connsiteY1" fmla="*/ 0 h 1345955"/>
              <a:gd name="connsiteX2" fmla="*/ 3308865 w 4001888"/>
              <a:gd name="connsiteY2" fmla="*/ 1345955 h 1345955"/>
              <a:gd name="connsiteX3" fmla="*/ 8796 w 4001888"/>
              <a:gd name="connsiteY3" fmla="*/ 1331886 h 1345955"/>
              <a:gd name="connsiteX4" fmla="*/ 0 w 4001888"/>
              <a:gd name="connsiteY4" fmla="*/ 21102 h 1345955"/>
              <a:gd name="connsiteX0" fmla="*/ 0 w 4001888"/>
              <a:gd name="connsiteY0" fmla="*/ 21102 h 1331887"/>
              <a:gd name="connsiteX1" fmla="*/ 4001888 w 4001888"/>
              <a:gd name="connsiteY1" fmla="*/ 0 h 1331887"/>
              <a:gd name="connsiteX2" fmla="*/ 3352850 w 4001888"/>
              <a:gd name="connsiteY2" fmla="*/ 1331887 h 1331887"/>
              <a:gd name="connsiteX3" fmla="*/ 8796 w 4001888"/>
              <a:gd name="connsiteY3" fmla="*/ 1331886 h 1331887"/>
              <a:gd name="connsiteX4" fmla="*/ 0 w 4001888"/>
              <a:gd name="connsiteY4" fmla="*/ 21102 h 1331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888" h="1331887">
                <a:moveTo>
                  <a:pt x="0" y="21102"/>
                </a:moveTo>
                <a:lnTo>
                  <a:pt x="4001888" y="0"/>
                </a:lnTo>
                <a:lnTo>
                  <a:pt x="3352850" y="1331887"/>
                </a:lnTo>
                <a:lnTo>
                  <a:pt x="8796" y="1331886"/>
                </a:lnTo>
                <a:lnTo>
                  <a:pt x="0" y="21102"/>
                </a:lnTo>
                <a:close/>
              </a:path>
            </a:pathLst>
          </a:custGeom>
        </p:spPr>
        <p:txBody>
          <a:bodyPr spcFirstLastPara="1" wrap="square" lIns="109710" tIns="109710" rIns="109710" bIns="109710" anchor="b" anchorCtr="0">
            <a:noAutofit/>
          </a:bodyPr>
          <a:lstStyle>
            <a:lvl1pPr lvl="0" algn="l" defTabSz="685800" rtl="0" eaLnBrk="1" fontAlgn="base" hangingPunct="1">
              <a:lnSpc>
                <a:spcPct val="100000"/>
              </a:lnSpc>
              <a:spcBef>
                <a:spcPts val="0"/>
              </a:spcBef>
              <a:spcAft>
                <a:spcPts val="0"/>
              </a:spcAft>
              <a:buSzPts val="2400"/>
              <a:buNone/>
              <a:defRPr sz="2400" b="1" i="0" kern="1200">
                <a:solidFill>
                  <a:schemeClr val="tx1"/>
                </a:solidFill>
                <a:latin typeface="+mj-lt"/>
                <a:ea typeface="+mj-ea"/>
                <a:cs typeface="+mj-cs"/>
              </a:defRPr>
            </a:lvl1pPr>
            <a:lvl2pPr lvl="1"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2pPr>
            <a:lvl3pPr lvl="2"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3pPr>
            <a:lvl4pPr lvl="3"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4pPr>
            <a:lvl5pPr lvl="4"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5pPr>
            <a:lvl6pPr marL="457200" lvl="5"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6pPr>
            <a:lvl7pPr marL="914400" lvl="6"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7pPr>
            <a:lvl8pPr marL="1371600" lvl="7"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8pPr>
            <a:lvl9pPr marL="1828800" lvl="8"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9pPr>
          </a:lstStyle>
          <a:p>
            <a:r>
              <a:rPr lang="en-US" sz="2160" dirty="0"/>
              <a:t>Multi-functional collaborative departments</a:t>
            </a:r>
          </a:p>
          <a:p>
            <a:endParaRPr lang="en-US" dirty="0"/>
          </a:p>
        </p:txBody>
      </p:sp>
      <p:grpSp>
        <p:nvGrpSpPr>
          <p:cNvPr id="2" name="Graphic 100">
            <a:extLst>
              <a:ext uri="{FF2B5EF4-FFF2-40B4-BE49-F238E27FC236}">
                <a16:creationId xmlns:a16="http://schemas.microsoft.com/office/drawing/2014/main" id="{24F581FB-A5D6-EBA5-6804-A387AADDEF47}"/>
              </a:ext>
            </a:extLst>
          </p:cNvPr>
          <p:cNvGrpSpPr/>
          <p:nvPr/>
        </p:nvGrpSpPr>
        <p:grpSpPr>
          <a:xfrm>
            <a:off x="9743040" y="340999"/>
            <a:ext cx="1335127" cy="886834"/>
            <a:chOff x="7611200" y="284166"/>
            <a:chExt cx="1112606" cy="739028"/>
          </a:xfrm>
        </p:grpSpPr>
        <p:sp>
          <p:nvSpPr>
            <p:cNvPr id="3" name="Freeform 56">
              <a:extLst>
                <a:ext uri="{FF2B5EF4-FFF2-40B4-BE49-F238E27FC236}">
                  <a16:creationId xmlns:a16="http://schemas.microsoft.com/office/drawing/2014/main" id="{C5FB72B5-0987-A513-763F-D5CBD0443DDF}"/>
                </a:ext>
              </a:extLst>
            </p:cNvPr>
            <p:cNvSpPr/>
            <p:nvPr/>
          </p:nvSpPr>
          <p:spPr>
            <a:xfrm>
              <a:off x="8065090" y="981314"/>
              <a:ext cx="184529" cy="41880"/>
            </a:xfrm>
            <a:custGeom>
              <a:avLst/>
              <a:gdLst>
                <a:gd name="connsiteX0" fmla="*/ 0 w 184529"/>
                <a:gd name="connsiteY0" fmla="*/ 0 h 41880"/>
                <a:gd name="connsiteX1" fmla="*/ 184529 w 184529"/>
                <a:gd name="connsiteY1" fmla="*/ 0 h 41880"/>
                <a:gd name="connsiteX2" fmla="*/ 184529 w 184529"/>
                <a:gd name="connsiteY2" fmla="*/ 41880 h 41880"/>
                <a:gd name="connsiteX3" fmla="*/ 0 w 184529"/>
                <a:gd name="connsiteY3" fmla="*/ 41880 h 41880"/>
              </a:gdLst>
              <a:ahLst/>
              <a:cxnLst>
                <a:cxn ang="0">
                  <a:pos x="connsiteX0" y="connsiteY0"/>
                </a:cxn>
                <a:cxn ang="0">
                  <a:pos x="connsiteX1" y="connsiteY1"/>
                </a:cxn>
                <a:cxn ang="0">
                  <a:pos x="connsiteX2" y="connsiteY2"/>
                </a:cxn>
                <a:cxn ang="0">
                  <a:pos x="connsiteX3" y="connsiteY3"/>
                </a:cxn>
              </a:cxnLst>
              <a:rect l="l" t="t" r="r" b="b"/>
              <a:pathLst>
                <a:path w="184529" h="41880">
                  <a:moveTo>
                    <a:pt x="0" y="0"/>
                  </a:moveTo>
                  <a:lnTo>
                    <a:pt x="184529" y="0"/>
                  </a:lnTo>
                  <a:lnTo>
                    <a:pt x="184529" y="41880"/>
                  </a:lnTo>
                  <a:lnTo>
                    <a:pt x="0" y="41880"/>
                  </a:lnTo>
                  <a:close/>
                </a:path>
              </a:pathLst>
            </a:custGeom>
            <a:solidFill>
              <a:srgbClr val="1D1D1B"/>
            </a:solidFill>
            <a:ln w="12664" cap="flat">
              <a:noFill/>
              <a:prstDash val="solid"/>
              <a:miter/>
            </a:ln>
          </p:spPr>
          <p:txBody>
            <a:bodyPr rtlCol="0" anchor="ctr"/>
            <a:lstStyle/>
            <a:p>
              <a:endParaRPr lang="en-US">
                <a:latin typeface="+mj-lt"/>
              </a:endParaRPr>
            </a:p>
          </p:txBody>
        </p:sp>
        <p:sp>
          <p:nvSpPr>
            <p:cNvPr id="5" name="Freeform 57">
              <a:extLst>
                <a:ext uri="{FF2B5EF4-FFF2-40B4-BE49-F238E27FC236}">
                  <a16:creationId xmlns:a16="http://schemas.microsoft.com/office/drawing/2014/main" id="{5CD997B2-80A6-C03D-7BEF-531DCE3AFAB8}"/>
                </a:ext>
              </a:extLst>
            </p:cNvPr>
            <p:cNvSpPr/>
            <p:nvPr/>
          </p:nvSpPr>
          <p:spPr>
            <a:xfrm>
              <a:off x="8065090" y="284175"/>
              <a:ext cx="184529" cy="41880"/>
            </a:xfrm>
            <a:custGeom>
              <a:avLst/>
              <a:gdLst>
                <a:gd name="connsiteX0" fmla="*/ 0 w 184529"/>
                <a:gd name="connsiteY0" fmla="*/ 0 h 41880"/>
                <a:gd name="connsiteX1" fmla="*/ 184529 w 184529"/>
                <a:gd name="connsiteY1" fmla="*/ 0 h 41880"/>
                <a:gd name="connsiteX2" fmla="*/ 184529 w 184529"/>
                <a:gd name="connsiteY2" fmla="*/ 41880 h 41880"/>
                <a:gd name="connsiteX3" fmla="*/ 0 w 184529"/>
                <a:gd name="connsiteY3" fmla="*/ 41880 h 41880"/>
              </a:gdLst>
              <a:ahLst/>
              <a:cxnLst>
                <a:cxn ang="0">
                  <a:pos x="connsiteX0" y="connsiteY0"/>
                </a:cxn>
                <a:cxn ang="0">
                  <a:pos x="connsiteX1" y="connsiteY1"/>
                </a:cxn>
                <a:cxn ang="0">
                  <a:pos x="connsiteX2" y="connsiteY2"/>
                </a:cxn>
                <a:cxn ang="0">
                  <a:pos x="connsiteX3" y="connsiteY3"/>
                </a:cxn>
              </a:cxnLst>
              <a:rect l="l" t="t" r="r" b="b"/>
              <a:pathLst>
                <a:path w="184529" h="41880">
                  <a:moveTo>
                    <a:pt x="0" y="0"/>
                  </a:moveTo>
                  <a:lnTo>
                    <a:pt x="184529" y="0"/>
                  </a:lnTo>
                  <a:lnTo>
                    <a:pt x="184529" y="41880"/>
                  </a:lnTo>
                  <a:lnTo>
                    <a:pt x="0" y="41880"/>
                  </a:lnTo>
                  <a:close/>
                </a:path>
              </a:pathLst>
            </a:custGeom>
            <a:solidFill>
              <a:srgbClr val="1D1D1B"/>
            </a:solidFill>
            <a:ln w="12664" cap="flat">
              <a:noFill/>
              <a:prstDash val="solid"/>
              <a:miter/>
            </a:ln>
          </p:spPr>
          <p:txBody>
            <a:bodyPr rtlCol="0" anchor="ctr"/>
            <a:lstStyle/>
            <a:p>
              <a:endParaRPr lang="en-US">
                <a:latin typeface="+mj-lt"/>
              </a:endParaRPr>
            </a:p>
          </p:txBody>
        </p:sp>
        <p:sp>
          <p:nvSpPr>
            <p:cNvPr id="8" name="Freeform 58">
              <a:extLst>
                <a:ext uri="{FF2B5EF4-FFF2-40B4-BE49-F238E27FC236}">
                  <a16:creationId xmlns:a16="http://schemas.microsoft.com/office/drawing/2014/main" id="{E6971473-0B7A-5FE6-BCF8-5BC6BF88A7C0}"/>
                </a:ext>
              </a:extLst>
            </p:cNvPr>
            <p:cNvSpPr/>
            <p:nvPr/>
          </p:nvSpPr>
          <p:spPr>
            <a:xfrm>
              <a:off x="7611200" y="284166"/>
              <a:ext cx="928953" cy="738998"/>
            </a:xfrm>
            <a:custGeom>
              <a:avLst/>
              <a:gdLst>
                <a:gd name="connsiteX0" fmla="*/ 835856 w 928953"/>
                <a:gd name="connsiteY0" fmla="*/ 129348 h 738998"/>
                <a:gd name="connsiteX1" fmla="*/ 928952 w 928953"/>
                <a:gd name="connsiteY1" fmla="*/ 373724 h 738998"/>
                <a:gd name="connsiteX2" fmla="*/ 687905 w 928953"/>
                <a:gd name="connsiteY2" fmla="*/ 707088 h 738998"/>
                <a:gd name="connsiteX3" fmla="*/ 422261 w 928953"/>
                <a:gd name="connsiteY3" fmla="*/ 738739 h 738998"/>
                <a:gd name="connsiteX4" fmla="*/ 59346 w 928953"/>
                <a:gd name="connsiteY4" fmla="*/ 566442 h 738998"/>
                <a:gd name="connsiteX5" fmla="*/ 36221 w 928953"/>
                <a:gd name="connsiteY5" fmla="*/ 210589 h 738998"/>
                <a:gd name="connsiteX6" fmla="*/ 317565 w 928953"/>
                <a:gd name="connsiteY6" fmla="*/ 11729 h 738998"/>
                <a:gd name="connsiteX7" fmla="*/ 681889 w 928953"/>
                <a:gd name="connsiteY7" fmla="*/ 31485 h 738998"/>
                <a:gd name="connsiteX8" fmla="*/ 835856 w 928953"/>
                <a:gd name="connsiteY8" fmla="*/ 129348 h 73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953" h="738998">
                  <a:moveTo>
                    <a:pt x="835856" y="129348"/>
                  </a:moveTo>
                  <a:cubicBezTo>
                    <a:pt x="896114" y="196814"/>
                    <a:pt x="929236" y="283759"/>
                    <a:pt x="928952" y="373724"/>
                  </a:cubicBezTo>
                  <a:cubicBezTo>
                    <a:pt x="925917" y="523314"/>
                    <a:pt x="830184" y="655711"/>
                    <a:pt x="687905" y="707088"/>
                  </a:cubicBezTo>
                  <a:cubicBezTo>
                    <a:pt x="605509" y="733926"/>
                    <a:pt x="513834" y="740469"/>
                    <a:pt x="422261" y="738739"/>
                  </a:cubicBezTo>
                  <a:cubicBezTo>
                    <a:pt x="276874" y="734728"/>
                    <a:pt x="140410" y="684838"/>
                    <a:pt x="59346" y="566442"/>
                  </a:cubicBezTo>
                  <a:cubicBezTo>
                    <a:pt x="-7731" y="467563"/>
                    <a:pt x="-21426" y="316651"/>
                    <a:pt x="36221" y="210589"/>
                  </a:cubicBezTo>
                  <a:cubicBezTo>
                    <a:pt x="85377" y="102522"/>
                    <a:pt x="197486" y="29968"/>
                    <a:pt x="317565" y="11729"/>
                  </a:cubicBezTo>
                  <a:cubicBezTo>
                    <a:pt x="438958" y="-8966"/>
                    <a:pt x="563521" y="-2211"/>
                    <a:pt x="681889" y="31485"/>
                  </a:cubicBezTo>
                  <a:cubicBezTo>
                    <a:pt x="740531" y="51203"/>
                    <a:pt x="793392" y="84802"/>
                    <a:pt x="835856" y="129348"/>
                  </a:cubicBezTo>
                  <a:close/>
                </a:path>
              </a:pathLst>
            </a:custGeom>
            <a:solidFill>
              <a:srgbClr val="1D1D1B"/>
            </a:solidFill>
            <a:ln w="12664" cap="flat">
              <a:noFill/>
              <a:prstDash val="solid"/>
              <a:miter/>
            </a:ln>
          </p:spPr>
          <p:txBody>
            <a:bodyPr rtlCol="0" anchor="ctr"/>
            <a:lstStyle/>
            <a:p>
              <a:endParaRPr lang="en-US">
                <a:latin typeface="+mj-lt"/>
              </a:endParaRPr>
            </a:p>
          </p:txBody>
        </p:sp>
        <p:sp>
          <p:nvSpPr>
            <p:cNvPr id="9" name="Freeform 59">
              <a:extLst>
                <a:ext uri="{FF2B5EF4-FFF2-40B4-BE49-F238E27FC236}">
                  <a16:creationId xmlns:a16="http://schemas.microsoft.com/office/drawing/2014/main" id="{10825179-9D47-4719-E79F-1EA52034BFF4}"/>
                </a:ext>
              </a:extLst>
            </p:cNvPr>
            <p:cNvSpPr/>
            <p:nvPr/>
          </p:nvSpPr>
          <p:spPr>
            <a:xfrm>
              <a:off x="7648818" y="292586"/>
              <a:ext cx="513653" cy="722735"/>
            </a:xfrm>
            <a:custGeom>
              <a:avLst/>
              <a:gdLst>
                <a:gd name="connsiteX0" fmla="*/ 501893 w 513653"/>
                <a:gd name="connsiteY0" fmla="*/ 722736 h 722735"/>
                <a:gd name="connsiteX1" fmla="*/ 419052 w 513653"/>
                <a:gd name="connsiteY1" fmla="*/ 722736 h 722735"/>
                <a:gd name="connsiteX2" fmla="*/ 0 w 513653"/>
                <a:gd name="connsiteY2" fmla="*/ 361368 h 722735"/>
                <a:gd name="connsiteX3" fmla="*/ 419052 w 513653"/>
                <a:gd name="connsiteY3" fmla="*/ 0 h 722735"/>
                <a:gd name="connsiteX4" fmla="*/ 491524 w 513653"/>
                <a:gd name="connsiteY4" fmla="*/ 0 h 722735"/>
                <a:gd name="connsiteX5" fmla="*/ 497075 w 513653"/>
                <a:gd name="connsiteY5" fmla="*/ 6964 h 722735"/>
                <a:gd name="connsiteX6" fmla="*/ 491524 w 513653"/>
                <a:gd name="connsiteY6" fmla="*/ 12448 h 722735"/>
                <a:gd name="connsiteX7" fmla="*/ 82841 w 513653"/>
                <a:gd name="connsiteY7" fmla="*/ 361368 h 722735"/>
                <a:gd name="connsiteX8" fmla="*/ 491524 w 513653"/>
                <a:gd name="connsiteY8" fmla="*/ 710301 h 722735"/>
                <a:gd name="connsiteX9" fmla="*/ 502502 w 513653"/>
                <a:gd name="connsiteY9" fmla="*/ 710150 h 722735"/>
                <a:gd name="connsiteX10" fmla="*/ 507985 w 513653"/>
                <a:gd name="connsiteY10" fmla="*/ 710226 h 722735"/>
                <a:gd name="connsiteX11" fmla="*/ 513617 w 513653"/>
                <a:gd name="connsiteY11" fmla="*/ 717127 h 722735"/>
                <a:gd name="connsiteX12" fmla="*/ 508214 w 513653"/>
                <a:gd name="connsiteY12" fmla="*/ 722661 h 722735"/>
                <a:gd name="connsiteX13" fmla="*/ 501893 w 513653"/>
                <a:gd name="connsiteY13" fmla="*/ 722736 h 722735"/>
                <a:gd name="connsiteX14" fmla="*/ 372219 w 513653"/>
                <a:gd name="connsiteY14" fmla="*/ 14754 h 722735"/>
                <a:gd name="connsiteX15" fmla="*/ 12603 w 513653"/>
                <a:gd name="connsiteY15" fmla="*/ 361368 h 722735"/>
                <a:gd name="connsiteX16" fmla="*/ 372219 w 513653"/>
                <a:gd name="connsiteY16" fmla="*/ 707994 h 722735"/>
                <a:gd name="connsiteX17" fmla="*/ 70187 w 513653"/>
                <a:gd name="connsiteY17" fmla="*/ 361368 h 722735"/>
                <a:gd name="connsiteX18" fmla="*/ 372219 w 513653"/>
                <a:gd name="connsiteY18" fmla="*/ 14754 h 72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3653" h="722735">
                  <a:moveTo>
                    <a:pt x="501893" y="722736"/>
                  </a:moveTo>
                  <a:lnTo>
                    <a:pt x="419052" y="722736"/>
                  </a:lnTo>
                  <a:cubicBezTo>
                    <a:pt x="187981" y="722736"/>
                    <a:pt x="0" y="560679"/>
                    <a:pt x="0" y="361368"/>
                  </a:cubicBezTo>
                  <a:cubicBezTo>
                    <a:pt x="0" y="162056"/>
                    <a:pt x="187981" y="0"/>
                    <a:pt x="419052" y="0"/>
                  </a:cubicBezTo>
                  <a:lnTo>
                    <a:pt x="491524" y="0"/>
                  </a:lnTo>
                  <a:cubicBezTo>
                    <a:pt x="495004" y="409"/>
                    <a:pt x="497490" y="3527"/>
                    <a:pt x="497075" y="6964"/>
                  </a:cubicBezTo>
                  <a:cubicBezTo>
                    <a:pt x="496730" y="9839"/>
                    <a:pt x="494434" y="12106"/>
                    <a:pt x="491524" y="12448"/>
                  </a:cubicBezTo>
                  <a:cubicBezTo>
                    <a:pt x="266151" y="12448"/>
                    <a:pt x="82841" y="168976"/>
                    <a:pt x="82841" y="361368"/>
                  </a:cubicBezTo>
                  <a:cubicBezTo>
                    <a:pt x="82841" y="553760"/>
                    <a:pt x="266190" y="710301"/>
                    <a:pt x="491524" y="710301"/>
                  </a:cubicBezTo>
                  <a:cubicBezTo>
                    <a:pt x="495192" y="710301"/>
                    <a:pt x="498872" y="710301"/>
                    <a:pt x="502502" y="710150"/>
                  </a:cubicBezTo>
                  <a:cubicBezTo>
                    <a:pt x="504622" y="710213"/>
                    <a:pt x="506462" y="710326"/>
                    <a:pt x="507985" y="710226"/>
                  </a:cubicBezTo>
                  <a:cubicBezTo>
                    <a:pt x="511470" y="710595"/>
                    <a:pt x="513991" y="713685"/>
                    <a:pt x="513617" y="717127"/>
                  </a:cubicBezTo>
                  <a:cubicBezTo>
                    <a:pt x="513306" y="719974"/>
                    <a:pt x="511082" y="722252"/>
                    <a:pt x="508214" y="722661"/>
                  </a:cubicBezTo>
                  <a:cubicBezTo>
                    <a:pt x="506107" y="722736"/>
                    <a:pt x="504025" y="722736"/>
                    <a:pt x="501893" y="722736"/>
                  </a:cubicBezTo>
                  <a:close/>
                  <a:moveTo>
                    <a:pt x="372219" y="14754"/>
                  </a:moveTo>
                  <a:cubicBezTo>
                    <a:pt x="170086" y="34760"/>
                    <a:pt x="12603" y="182577"/>
                    <a:pt x="12603" y="361368"/>
                  </a:cubicBezTo>
                  <a:cubicBezTo>
                    <a:pt x="12603" y="540159"/>
                    <a:pt x="170098" y="687988"/>
                    <a:pt x="372219" y="707994"/>
                  </a:cubicBezTo>
                  <a:cubicBezTo>
                    <a:pt x="197818" y="663757"/>
                    <a:pt x="70187" y="525104"/>
                    <a:pt x="70187" y="361368"/>
                  </a:cubicBezTo>
                  <a:cubicBezTo>
                    <a:pt x="70187" y="197632"/>
                    <a:pt x="197818" y="58991"/>
                    <a:pt x="372219" y="14754"/>
                  </a:cubicBezTo>
                  <a:close/>
                </a:path>
              </a:pathLst>
            </a:custGeom>
            <a:solidFill>
              <a:srgbClr val="FFFFFF"/>
            </a:solidFill>
            <a:ln w="12664" cap="flat">
              <a:noFill/>
              <a:prstDash val="solid"/>
              <a:miter/>
            </a:ln>
          </p:spPr>
          <p:txBody>
            <a:bodyPr rtlCol="0" anchor="ctr"/>
            <a:lstStyle/>
            <a:p>
              <a:endParaRPr lang="en-US">
                <a:latin typeface="+mj-lt"/>
              </a:endParaRPr>
            </a:p>
          </p:txBody>
        </p:sp>
        <p:sp>
          <p:nvSpPr>
            <p:cNvPr id="10" name="Freeform 60">
              <a:extLst>
                <a:ext uri="{FF2B5EF4-FFF2-40B4-BE49-F238E27FC236}">
                  <a16:creationId xmlns:a16="http://schemas.microsoft.com/office/drawing/2014/main" id="{C42D2F3B-3C4F-08F0-7C2C-6A63FFB3E6C8}"/>
                </a:ext>
              </a:extLst>
            </p:cNvPr>
            <p:cNvSpPr/>
            <p:nvPr/>
          </p:nvSpPr>
          <p:spPr>
            <a:xfrm>
              <a:off x="7725312" y="298816"/>
              <a:ext cx="426223" cy="710288"/>
            </a:xfrm>
            <a:custGeom>
              <a:avLst/>
              <a:gdLst>
                <a:gd name="connsiteX0" fmla="*/ 38 w 426223"/>
                <a:gd name="connsiteY0" fmla="*/ 355138 h 710288"/>
                <a:gd name="connsiteX1" fmla="*/ 415067 w 426223"/>
                <a:gd name="connsiteY1" fmla="*/ 710288 h 710288"/>
                <a:gd name="connsiteX2" fmla="*/ 426223 w 426223"/>
                <a:gd name="connsiteY2" fmla="*/ 710138 h 710288"/>
                <a:gd name="connsiteX3" fmla="*/ 22427 w 426223"/>
                <a:gd name="connsiteY3" fmla="*/ 355138 h 710288"/>
                <a:gd name="connsiteX4" fmla="*/ 426185 w 426223"/>
                <a:gd name="connsiteY4" fmla="*/ 125 h 710288"/>
                <a:gd name="connsiteX5" fmla="*/ 415029 w 426223"/>
                <a:gd name="connsiteY5" fmla="*/ 0 h 710288"/>
                <a:gd name="connsiteX6" fmla="*/ 0 w 426223"/>
                <a:gd name="connsiteY6" fmla="*/ 355138 h 71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223" h="710288">
                  <a:moveTo>
                    <a:pt x="38" y="355138"/>
                  </a:moveTo>
                  <a:cubicBezTo>
                    <a:pt x="38" y="551178"/>
                    <a:pt x="185951" y="710288"/>
                    <a:pt x="415067" y="710288"/>
                  </a:cubicBezTo>
                  <a:cubicBezTo>
                    <a:pt x="418798" y="710288"/>
                    <a:pt x="422530" y="710288"/>
                    <a:pt x="426223" y="710138"/>
                  </a:cubicBezTo>
                  <a:cubicBezTo>
                    <a:pt x="202323" y="705124"/>
                    <a:pt x="22427" y="547956"/>
                    <a:pt x="22427" y="355138"/>
                  </a:cubicBezTo>
                  <a:cubicBezTo>
                    <a:pt x="22427" y="162320"/>
                    <a:pt x="202285" y="5202"/>
                    <a:pt x="426185" y="125"/>
                  </a:cubicBezTo>
                  <a:cubicBezTo>
                    <a:pt x="422492" y="50"/>
                    <a:pt x="418760" y="0"/>
                    <a:pt x="415029" y="0"/>
                  </a:cubicBezTo>
                  <a:cubicBezTo>
                    <a:pt x="185951" y="0"/>
                    <a:pt x="0" y="159111"/>
                    <a:pt x="0" y="355138"/>
                  </a:cubicBezTo>
                  <a:close/>
                </a:path>
              </a:pathLst>
            </a:custGeom>
            <a:solidFill>
              <a:srgbClr val="FFFFFF"/>
            </a:solidFill>
            <a:ln w="12664" cap="flat">
              <a:noFill/>
              <a:prstDash val="solid"/>
              <a:miter/>
            </a:ln>
          </p:spPr>
          <p:txBody>
            <a:bodyPr rtlCol="0" anchor="ctr"/>
            <a:lstStyle/>
            <a:p>
              <a:endParaRPr lang="en-US">
                <a:latin typeface="+mj-lt"/>
              </a:endParaRPr>
            </a:p>
          </p:txBody>
        </p:sp>
        <p:sp>
          <p:nvSpPr>
            <p:cNvPr id="11" name="Freeform 61">
              <a:extLst>
                <a:ext uri="{FF2B5EF4-FFF2-40B4-BE49-F238E27FC236}">
                  <a16:creationId xmlns:a16="http://schemas.microsoft.com/office/drawing/2014/main" id="{CFF83B3A-9BE0-1028-5DCF-825DB9BF9418}"/>
                </a:ext>
              </a:extLst>
            </p:cNvPr>
            <p:cNvSpPr/>
            <p:nvPr/>
          </p:nvSpPr>
          <p:spPr>
            <a:xfrm>
              <a:off x="7722216" y="295708"/>
              <a:ext cx="429383" cy="716505"/>
            </a:xfrm>
            <a:custGeom>
              <a:avLst/>
              <a:gdLst>
                <a:gd name="connsiteX0" fmla="*/ 418164 w 429383"/>
                <a:gd name="connsiteY0" fmla="*/ 716506 h 716505"/>
                <a:gd name="connsiteX1" fmla="*/ 0 w 429383"/>
                <a:gd name="connsiteY1" fmla="*/ 360503 h 716505"/>
                <a:gd name="connsiteX2" fmla="*/ 0 w 429383"/>
                <a:gd name="connsiteY2" fmla="*/ 360503 h 716505"/>
                <a:gd name="connsiteX3" fmla="*/ 0 w 429383"/>
                <a:gd name="connsiteY3" fmla="*/ 358247 h 716505"/>
                <a:gd name="connsiteX4" fmla="*/ 418126 w 429383"/>
                <a:gd name="connsiteY4" fmla="*/ 0 h 716505"/>
                <a:gd name="connsiteX5" fmla="*/ 429345 w 429383"/>
                <a:gd name="connsiteY5" fmla="*/ 125 h 716505"/>
                <a:gd name="connsiteX6" fmla="*/ 429345 w 429383"/>
                <a:gd name="connsiteY6" fmla="*/ 6393 h 716505"/>
                <a:gd name="connsiteX7" fmla="*/ 145527 w 429383"/>
                <a:gd name="connsiteY7" fmla="*/ 112667 h 716505"/>
                <a:gd name="connsiteX8" fmla="*/ 28659 w 429383"/>
                <a:gd name="connsiteY8" fmla="*/ 358247 h 716505"/>
                <a:gd name="connsiteX9" fmla="*/ 145539 w 429383"/>
                <a:gd name="connsiteY9" fmla="*/ 603851 h 716505"/>
                <a:gd name="connsiteX10" fmla="*/ 429383 w 429383"/>
                <a:gd name="connsiteY10" fmla="*/ 710150 h 716505"/>
                <a:gd name="connsiteX11" fmla="*/ 429383 w 429383"/>
                <a:gd name="connsiteY11" fmla="*/ 716343 h 716505"/>
                <a:gd name="connsiteX12" fmla="*/ 418164 w 429383"/>
                <a:gd name="connsiteY12" fmla="*/ 716506 h 716505"/>
                <a:gd name="connsiteX13" fmla="*/ 6244 w 429383"/>
                <a:gd name="connsiteY13" fmla="*/ 356354 h 716505"/>
                <a:gd name="connsiteX14" fmla="*/ 6244 w 429383"/>
                <a:gd name="connsiteY14" fmla="*/ 358259 h 716505"/>
                <a:gd name="connsiteX15" fmla="*/ 294252 w 429383"/>
                <a:gd name="connsiteY15" fmla="*/ 694042 h 716505"/>
                <a:gd name="connsiteX16" fmla="*/ 141338 w 429383"/>
                <a:gd name="connsiteY16" fmla="*/ 608502 h 716505"/>
                <a:gd name="connsiteX17" fmla="*/ 22376 w 429383"/>
                <a:gd name="connsiteY17" fmla="*/ 358247 h 716505"/>
                <a:gd name="connsiteX18" fmla="*/ 141351 w 429383"/>
                <a:gd name="connsiteY18" fmla="*/ 108017 h 716505"/>
                <a:gd name="connsiteX19" fmla="*/ 294391 w 429383"/>
                <a:gd name="connsiteY19" fmla="*/ 22438 h 716505"/>
                <a:gd name="connsiteX20" fmla="*/ 6244 w 429383"/>
                <a:gd name="connsiteY20" fmla="*/ 356354 h 71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9383" h="716505">
                  <a:moveTo>
                    <a:pt x="418164" y="716506"/>
                  </a:moveTo>
                  <a:cubicBezTo>
                    <a:pt x="188438" y="716506"/>
                    <a:pt x="1409" y="557006"/>
                    <a:pt x="0" y="360503"/>
                  </a:cubicBezTo>
                  <a:lnTo>
                    <a:pt x="0" y="360503"/>
                  </a:lnTo>
                  <a:lnTo>
                    <a:pt x="0" y="358247"/>
                  </a:lnTo>
                  <a:cubicBezTo>
                    <a:pt x="-38" y="160715"/>
                    <a:pt x="187550" y="0"/>
                    <a:pt x="418126" y="0"/>
                  </a:cubicBezTo>
                  <a:cubicBezTo>
                    <a:pt x="421933" y="0"/>
                    <a:pt x="425627" y="0"/>
                    <a:pt x="429345" y="125"/>
                  </a:cubicBezTo>
                  <a:lnTo>
                    <a:pt x="429345" y="6393"/>
                  </a:lnTo>
                  <a:cubicBezTo>
                    <a:pt x="324993" y="7564"/>
                    <a:pt x="224437" y="45217"/>
                    <a:pt x="145527" y="112667"/>
                  </a:cubicBezTo>
                  <a:cubicBezTo>
                    <a:pt x="72436" y="173976"/>
                    <a:pt x="29812" y="263544"/>
                    <a:pt x="28659" y="358247"/>
                  </a:cubicBezTo>
                  <a:cubicBezTo>
                    <a:pt x="29815" y="452958"/>
                    <a:pt x="72442" y="542534"/>
                    <a:pt x="145539" y="603851"/>
                  </a:cubicBezTo>
                  <a:cubicBezTo>
                    <a:pt x="224451" y="671320"/>
                    <a:pt x="325018" y="708982"/>
                    <a:pt x="429383" y="710150"/>
                  </a:cubicBezTo>
                  <a:lnTo>
                    <a:pt x="429383" y="716343"/>
                  </a:lnTo>
                  <a:cubicBezTo>
                    <a:pt x="425715" y="716506"/>
                    <a:pt x="421933" y="716506"/>
                    <a:pt x="418164" y="716506"/>
                  </a:cubicBezTo>
                  <a:close/>
                  <a:moveTo>
                    <a:pt x="6244" y="356354"/>
                  </a:moveTo>
                  <a:lnTo>
                    <a:pt x="6244" y="358259"/>
                  </a:lnTo>
                  <a:cubicBezTo>
                    <a:pt x="6244" y="515515"/>
                    <a:pt x="127466" y="649003"/>
                    <a:pt x="294252" y="694042"/>
                  </a:cubicBezTo>
                  <a:cubicBezTo>
                    <a:pt x="237836" y="676287"/>
                    <a:pt x="185767" y="647159"/>
                    <a:pt x="141338" y="608502"/>
                  </a:cubicBezTo>
                  <a:cubicBezTo>
                    <a:pt x="66896" y="546008"/>
                    <a:pt x="23508" y="454733"/>
                    <a:pt x="22376" y="358247"/>
                  </a:cubicBezTo>
                  <a:cubicBezTo>
                    <a:pt x="23520" y="261766"/>
                    <a:pt x="66912" y="170503"/>
                    <a:pt x="141351" y="108017"/>
                  </a:cubicBezTo>
                  <a:cubicBezTo>
                    <a:pt x="185811" y="69329"/>
                    <a:pt x="237927" y="40186"/>
                    <a:pt x="294391" y="22438"/>
                  </a:cubicBezTo>
                  <a:cubicBezTo>
                    <a:pt x="128215" y="67264"/>
                    <a:pt x="7209" y="199901"/>
                    <a:pt x="6244" y="356354"/>
                  </a:cubicBezTo>
                  <a:close/>
                </a:path>
              </a:pathLst>
            </a:custGeom>
            <a:solidFill>
              <a:srgbClr val="FFFFFF"/>
            </a:solidFill>
            <a:ln w="12664" cap="flat">
              <a:noFill/>
              <a:prstDash val="solid"/>
              <a:miter/>
            </a:ln>
          </p:spPr>
          <p:txBody>
            <a:bodyPr rtlCol="0" anchor="ctr"/>
            <a:lstStyle/>
            <a:p>
              <a:endParaRPr lang="en-US">
                <a:latin typeface="+mj-lt"/>
              </a:endParaRPr>
            </a:p>
          </p:txBody>
        </p:sp>
        <p:sp>
          <p:nvSpPr>
            <p:cNvPr id="12" name="Freeform 62">
              <a:extLst>
                <a:ext uri="{FF2B5EF4-FFF2-40B4-BE49-F238E27FC236}">
                  <a16:creationId xmlns:a16="http://schemas.microsoft.com/office/drawing/2014/main" id="{5B3D435C-21A2-C177-E3B1-6FF605BF9C38}"/>
                </a:ext>
              </a:extLst>
            </p:cNvPr>
            <p:cNvSpPr/>
            <p:nvPr/>
          </p:nvSpPr>
          <p:spPr>
            <a:xfrm>
              <a:off x="7734489" y="466915"/>
              <a:ext cx="600154" cy="22200"/>
            </a:xfrm>
            <a:custGeom>
              <a:avLst/>
              <a:gdLst>
                <a:gd name="connsiteX0" fmla="*/ 600154 w 600154"/>
                <a:gd name="connsiteY0" fmla="*/ 11094 h 22200"/>
                <a:gd name="connsiteX1" fmla="*/ 300065 w 600154"/>
                <a:gd name="connsiteY1" fmla="*/ 22200 h 22200"/>
                <a:gd name="connsiteX2" fmla="*/ 0 w 600154"/>
                <a:gd name="connsiteY2" fmla="*/ 11094 h 22200"/>
                <a:gd name="connsiteX3" fmla="*/ 300065 w 600154"/>
                <a:gd name="connsiteY3" fmla="*/ 0 h 22200"/>
                <a:gd name="connsiteX4" fmla="*/ 600154 w 600154"/>
                <a:gd name="connsiteY4" fmla="*/ 11094 h 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54" h="22200">
                  <a:moveTo>
                    <a:pt x="600154" y="11094"/>
                  </a:moveTo>
                  <a:cubicBezTo>
                    <a:pt x="600154" y="17198"/>
                    <a:pt x="465708" y="22200"/>
                    <a:pt x="300065" y="22200"/>
                  </a:cubicBezTo>
                  <a:cubicBezTo>
                    <a:pt x="134421" y="22200"/>
                    <a:pt x="0" y="17186"/>
                    <a:pt x="0" y="11094"/>
                  </a:cubicBezTo>
                  <a:cubicBezTo>
                    <a:pt x="0" y="5002"/>
                    <a:pt x="134434" y="0"/>
                    <a:pt x="300065" y="0"/>
                  </a:cubicBezTo>
                  <a:cubicBezTo>
                    <a:pt x="465695" y="0"/>
                    <a:pt x="600154" y="4964"/>
                    <a:pt x="600154" y="11094"/>
                  </a:cubicBezTo>
                  <a:close/>
                </a:path>
              </a:pathLst>
            </a:custGeom>
            <a:solidFill>
              <a:srgbClr val="FFFFFF"/>
            </a:solidFill>
            <a:ln w="12664" cap="flat">
              <a:noFill/>
              <a:prstDash val="solid"/>
              <a:miter/>
            </a:ln>
          </p:spPr>
          <p:txBody>
            <a:bodyPr rtlCol="0" anchor="ctr"/>
            <a:lstStyle/>
            <a:p>
              <a:endParaRPr lang="en-US">
                <a:latin typeface="+mj-lt"/>
              </a:endParaRPr>
            </a:p>
          </p:txBody>
        </p:sp>
        <p:sp>
          <p:nvSpPr>
            <p:cNvPr id="14" name="Freeform 63">
              <a:extLst>
                <a:ext uri="{FF2B5EF4-FFF2-40B4-BE49-F238E27FC236}">
                  <a16:creationId xmlns:a16="http://schemas.microsoft.com/office/drawing/2014/main" id="{CE7607AE-039E-9893-D866-2A6F08EB03E1}"/>
                </a:ext>
              </a:extLst>
            </p:cNvPr>
            <p:cNvSpPr/>
            <p:nvPr/>
          </p:nvSpPr>
          <p:spPr>
            <a:xfrm>
              <a:off x="7731341" y="463844"/>
              <a:ext cx="606437" cy="28405"/>
            </a:xfrm>
            <a:custGeom>
              <a:avLst/>
              <a:gdLst>
                <a:gd name="connsiteX0" fmla="*/ 303212 w 606437"/>
                <a:gd name="connsiteY0" fmla="*/ 28405 h 28405"/>
                <a:gd name="connsiteX1" fmla="*/ 90938 w 606437"/>
                <a:gd name="connsiteY1" fmla="*/ 25146 h 28405"/>
                <a:gd name="connsiteX2" fmla="*/ 0 w 606437"/>
                <a:gd name="connsiteY2" fmla="*/ 14203 h 28405"/>
                <a:gd name="connsiteX3" fmla="*/ 90951 w 606437"/>
                <a:gd name="connsiteY3" fmla="*/ 3272 h 28405"/>
                <a:gd name="connsiteX4" fmla="*/ 303212 w 606437"/>
                <a:gd name="connsiteY4" fmla="*/ 0 h 28405"/>
                <a:gd name="connsiteX5" fmla="*/ 515486 w 606437"/>
                <a:gd name="connsiteY5" fmla="*/ 3259 h 28405"/>
                <a:gd name="connsiteX6" fmla="*/ 606437 w 606437"/>
                <a:gd name="connsiteY6" fmla="*/ 14203 h 28405"/>
                <a:gd name="connsiteX7" fmla="*/ 515486 w 606437"/>
                <a:gd name="connsiteY7" fmla="*/ 25146 h 28405"/>
                <a:gd name="connsiteX8" fmla="*/ 303212 w 606437"/>
                <a:gd name="connsiteY8" fmla="*/ 28405 h 28405"/>
                <a:gd name="connsiteX9" fmla="*/ 14799 w 606437"/>
                <a:gd name="connsiteY9" fmla="*/ 14165 h 28405"/>
                <a:gd name="connsiteX10" fmla="*/ 303212 w 606437"/>
                <a:gd name="connsiteY10" fmla="*/ 22162 h 28405"/>
                <a:gd name="connsiteX11" fmla="*/ 591803 w 606437"/>
                <a:gd name="connsiteY11" fmla="*/ 14152 h 28405"/>
                <a:gd name="connsiteX12" fmla="*/ 303212 w 606437"/>
                <a:gd name="connsiteY12" fmla="*/ 6167 h 28405"/>
                <a:gd name="connsiteX13" fmla="*/ 14799 w 606437"/>
                <a:gd name="connsiteY13" fmla="*/ 14165 h 2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437" h="28405">
                  <a:moveTo>
                    <a:pt x="303212" y="28405"/>
                  </a:moveTo>
                  <a:cubicBezTo>
                    <a:pt x="223176" y="28405"/>
                    <a:pt x="147786" y="27252"/>
                    <a:pt x="90938" y="25146"/>
                  </a:cubicBezTo>
                  <a:cubicBezTo>
                    <a:pt x="0" y="21761"/>
                    <a:pt x="0" y="18088"/>
                    <a:pt x="0" y="14203"/>
                  </a:cubicBezTo>
                  <a:cubicBezTo>
                    <a:pt x="0" y="10317"/>
                    <a:pt x="0" y="6681"/>
                    <a:pt x="90951" y="3272"/>
                  </a:cubicBezTo>
                  <a:cubicBezTo>
                    <a:pt x="147786" y="1166"/>
                    <a:pt x="223164" y="0"/>
                    <a:pt x="303212" y="0"/>
                  </a:cubicBezTo>
                  <a:cubicBezTo>
                    <a:pt x="383261" y="0"/>
                    <a:pt x="458753" y="1166"/>
                    <a:pt x="515486" y="3259"/>
                  </a:cubicBezTo>
                  <a:cubicBezTo>
                    <a:pt x="606437" y="6619"/>
                    <a:pt x="606437" y="10304"/>
                    <a:pt x="606437" y="14203"/>
                  </a:cubicBezTo>
                  <a:cubicBezTo>
                    <a:pt x="606437" y="18101"/>
                    <a:pt x="606437" y="21724"/>
                    <a:pt x="515486" y="25146"/>
                  </a:cubicBezTo>
                  <a:cubicBezTo>
                    <a:pt x="458677" y="27214"/>
                    <a:pt x="383286" y="28405"/>
                    <a:pt x="303212" y="28405"/>
                  </a:cubicBezTo>
                  <a:close/>
                  <a:moveTo>
                    <a:pt x="14799" y="14165"/>
                  </a:moveTo>
                  <a:cubicBezTo>
                    <a:pt x="47455" y="18314"/>
                    <a:pt x="158028" y="22162"/>
                    <a:pt x="303212" y="22162"/>
                  </a:cubicBezTo>
                  <a:cubicBezTo>
                    <a:pt x="448650" y="22162"/>
                    <a:pt x="559337" y="18302"/>
                    <a:pt x="591803" y="14152"/>
                  </a:cubicBezTo>
                  <a:cubicBezTo>
                    <a:pt x="560073" y="10016"/>
                    <a:pt x="452978" y="6167"/>
                    <a:pt x="303212" y="6167"/>
                  </a:cubicBezTo>
                  <a:cubicBezTo>
                    <a:pt x="158016" y="6167"/>
                    <a:pt x="47455" y="10016"/>
                    <a:pt x="14799" y="14165"/>
                  </a:cubicBezTo>
                  <a:close/>
                </a:path>
              </a:pathLst>
            </a:custGeom>
            <a:solidFill>
              <a:srgbClr val="FFFFFF"/>
            </a:solidFill>
            <a:ln w="12664" cap="flat">
              <a:noFill/>
              <a:prstDash val="solid"/>
              <a:miter/>
            </a:ln>
          </p:spPr>
          <p:txBody>
            <a:bodyPr rtlCol="0" anchor="ctr"/>
            <a:lstStyle/>
            <a:p>
              <a:endParaRPr lang="en-US">
                <a:latin typeface="+mj-lt"/>
              </a:endParaRPr>
            </a:p>
          </p:txBody>
        </p:sp>
        <p:sp>
          <p:nvSpPr>
            <p:cNvPr id="15" name="Freeform 64">
              <a:extLst>
                <a:ext uri="{FF2B5EF4-FFF2-40B4-BE49-F238E27FC236}">
                  <a16:creationId xmlns:a16="http://schemas.microsoft.com/office/drawing/2014/main" id="{82FD3EC4-41DC-5726-F73B-886A7139B68D}"/>
                </a:ext>
              </a:extLst>
            </p:cNvPr>
            <p:cNvSpPr/>
            <p:nvPr/>
          </p:nvSpPr>
          <p:spPr>
            <a:xfrm>
              <a:off x="7744744" y="835014"/>
              <a:ext cx="600116" cy="22200"/>
            </a:xfrm>
            <a:custGeom>
              <a:avLst/>
              <a:gdLst>
                <a:gd name="connsiteX0" fmla="*/ 600116 w 600116"/>
                <a:gd name="connsiteY0" fmla="*/ 11081 h 22200"/>
                <a:gd name="connsiteX1" fmla="*/ 300065 w 600116"/>
                <a:gd name="connsiteY1" fmla="*/ 22200 h 22200"/>
                <a:gd name="connsiteX2" fmla="*/ 0 w 600116"/>
                <a:gd name="connsiteY2" fmla="*/ 11081 h 22200"/>
                <a:gd name="connsiteX3" fmla="*/ 300065 w 600116"/>
                <a:gd name="connsiteY3" fmla="*/ 0 h 22200"/>
                <a:gd name="connsiteX4" fmla="*/ 600116 w 600116"/>
                <a:gd name="connsiteY4" fmla="*/ 11081 h 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16" h="22200">
                  <a:moveTo>
                    <a:pt x="600116" y="11081"/>
                  </a:moveTo>
                  <a:cubicBezTo>
                    <a:pt x="600116" y="17236"/>
                    <a:pt x="465708" y="22200"/>
                    <a:pt x="300065" y="22200"/>
                  </a:cubicBezTo>
                  <a:cubicBezTo>
                    <a:pt x="134421" y="22200"/>
                    <a:pt x="0" y="17186"/>
                    <a:pt x="0" y="11081"/>
                  </a:cubicBezTo>
                  <a:cubicBezTo>
                    <a:pt x="0" y="4977"/>
                    <a:pt x="134434" y="0"/>
                    <a:pt x="300065" y="0"/>
                  </a:cubicBezTo>
                  <a:cubicBezTo>
                    <a:pt x="465695" y="0"/>
                    <a:pt x="600116" y="5014"/>
                    <a:pt x="600116" y="11081"/>
                  </a:cubicBezTo>
                  <a:close/>
                </a:path>
              </a:pathLst>
            </a:custGeom>
            <a:solidFill>
              <a:srgbClr val="FFFFFF"/>
            </a:solidFill>
            <a:ln w="12664" cap="flat">
              <a:noFill/>
              <a:prstDash val="solid"/>
              <a:miter/>
            </a:ln>
          </p:spPr>
          <p:txBody>
            <a:bodyPr rtlCol="0" anchor="ctr"/>
            <a:lstStyle/>
            <a:p>
              <a:endParaRPr lang="en-US">
                <a:latin typeface="+mj-lt"/>
              </a:endParaRPr>
            </a:p>
          </p:txBody>
        </p:sp>
        <p:sp>
          <p:nvSpPr>
            <p:cNvPr id="16" name="Freeform 65">
              <a:extLst>
                <a:ext uri="{FF2B5EF4-FFF2-40B4-BE49-F238E27FC236}">
                  <a16:creationId xmlns:a16="http://schemas.microsoft.com/office/drawing/2014/main" id="{1FD5E748-76D7-2169-E5E6-683DF48317F3}"/>
                </a:ext>
              </a:extLst>
            </p:cNvPr>
            <p:cNvSpPr/>
            <p:nvPr/>
          </p:nvSpPr>
          <p:spPr>
            <a:xfrm>
              <a:off x="7741596" y="831918"/>
              <a:ext cx="606398" cy="28392"/>
            </a:xfrm>
            <a:custGeom>
              <a:avLst/>
              <a:gdLst>
                <a:gd name="connsiteX0" fmla="*/ 303212 w 606398"/>
                <a:gd name="connsiteY0" fmla="*/ 28393 h 28392"/>
                <a:gd name="connsiteX1" fmla="*/ 90938 w 606398"/>
                <a:gd name="connsiteY1" fmla="*/ 25121 h 28392"/>
                <a:gd name="connsiteX2" fmla="*/ 0 w 606398"/>
                <a:gd name="connsiteY2" fmla="*/ 14177 h 28392"/>
                <a:gd name="connsiteX3" fmla="*/ 90951 w 606398"/>
                <a:gd name="connsiteY3" fmla="*/ 3247 h 28392"/>
                <a:gd name="connsiteX4" fmla="*/ 303212 w 606398"/>
                <a:gd name="connsiteY4" fmla="*/ 0 h 28392"/>
                <a:gd name="connsiteX5" fmla="*/ 515473 w 606398"/>
                <a:gd name="connsiteY5" fmla="*/ 3259 h 28392"/>
                <a:gd name="connsiteX6" fmla="*/ 606399 w 606398"/>
                <a:gd name="connsiteY6" fmla="*/ 14177 h 28392"/>
                <a:gd name="connsiteX7" fmla="*/ 515473 w 606398"/>
                <a:gd name="connsiteY7" fmla="*/ 25146 h 28392"/>
                <a:gd name="connsiteX8" fmla="*/ 303212 w 606398"/>
                <a:gd name="connsiteY8" fmla="*/ 28393 h 28392"/>
                <a:gd name="connsiteX9" fmla="*/ 14672 w 606398"/>
                <a:gd name="connsiteY9" fmla="*/ 14165 h 28392"/>
                <a:gd name="connsiteX10" fmla="*/ 303212 w 606398"/>
                <a:gd name="connsiteY10" fmla="*/ 22200 h 28392"/>
                <a:gd name="connsiteX11" fmla="*/ 591740 w 606398"/>
                <a:gd name="connsiteY11" fmla="*/ 14203 h 28392"/>
                <a:gd name="connsiteX12" fmla="*/ 303212 w 606398"/>
                <a:gd name="connsiteY12" fmla="*/ 6192 h 28392"/>
                <a:gd name="connsiteX13" fmla="*/ 14672 w 606398"/>
                <a:gd name="connsiteY13" fmla="*/ 14165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398" h="28392">
                  <a:moveTo>
                    <a:pt x="303212" y="28393"/>
                  </a:moveTo>
                  <a:cubicBezTo>
                    <a:pt x="223138" y="28393"/>
                    <a:pt x="147760" y="27239"/>
                    <a:pt x="90938" y="25121"/>
                  </a:cubicBezTo>
                  <a:cubicBezTo>
                    <a:pt x="0" y="21749"/>
                    <a:pt x="0" y="18063"/>
                    <a:pt x="0" y="14177"/>
                  </a:cubicBezTo>
                  <a:cubicBezTo>
                    <a:pt x="0" y="10292"/>
                    <a:pt x="0" y="6656"/>
                    <a:pt x="90951" y="3247"/>
                  </a:cubicBezTo>
                  <a:cubicBezTo>
                    <a:pt x="147697" y="1153"/>
                    <a:pt x="223087" y="0"/>
                    <a:pt x="303212" y="0"/>
                  </a:cubicBezTo>
                  <a:cubicBezTo>
                    <a:pt x="383337" y="0"/>
                    <a:pt x="458600" y="1153"/>
                    <a:pt x="515473" y="3259"/>
                  </a:cubicBezTo>
                  <a:cubicBezTo>
                    <a:pt x="606399" y="6619"/>
                    <a:pt x="606399" y="10292"/>
                    <a:pt x="606399" y="14177"/>
                  </a:cubicBezTo>
                  <a:cubicBezTo>
                    <a:pt x="606399" y="18063"/>
                    <a:pt x="606399" y="21774"/>
                    <a:pt x="515473" y="25146"/>
                  </a:cubicBezTo>
                  <a:cubicBezTo>
                    <a:pt x="458804" y="27239"/>
                    <a:pt x="383426" y="28393"/>
                    <a:pt x="303212" y="28393"/>
                  </a:cubicBezTo>
                  <a:close/>
                  <a:moveTo>
                    <a:pt x="14672" y="14165"/>
                  </a:moveTo>
                  <a:cubicBezTo>
                    <a:pt x="47164" y="18327"/>
                    <a:pt x="157825" y="22200"/>
                    <a:pt x="303212" y="22200"/>
                  </a:cubicBezTo>
                  <a:cubicBezTo>
                    <a:pt x="452978" y="22200"/>
                    <a:pt x="559984" y="18339"/>
                    <a:pt x="591740" y="14203"/>
                  </a:cubicBezTo>
                  <a:cubicBezTo>
                    <a:pt x="559274" y="10053"/>
                    <a:pt x="448599" y="6192"/>
                    <a:pt x="303212" y="6192"/>
                  </a:cubicBezTo>
                  <a:cubicBezTo>
                    <a:pt x="153497" y="6192"/>
                    <a:pt x="46453" y="10066"/>
                    <a:pt x="14672" y="14165"/>
                  </a:cubicBezTo>
                  <a:close/>
                </a:path>
              </a:pathLst>
            </a:custGeom>
            <a:solidFill>
              <a:srgbClr val="FFFFFF"/>
            </a:solidFill>
            <a:ln w="12664" cap="flat">
              <a:noFill/>
              <a:prstDash val="solid"/>
              <a:miter/>
            </a:ln>
          </p:spPr>
          <p:txBody>
            <a:bodyPr rtlCol="0" anchor="ctr"/>
            <a:lstStyle/>
            <a:p>
              <a:endParaRPr lang="en-US">
                <a:latin typeface="+mj-lt"/>
              </a:endParaRPr>
            </a:p>
          </p:txBody>
        </p:sp>
        <p:sp>
          <p:nvSpPr>
            <p:cNvPr id="20" name="Freeform 66">
              <a:extLst>
                <a:ext uri="{FF2B5EF4-FFF2-40B4-BE49-F238E27FC236}">
                  <a16:creationId xmlns:a16="http://schemas.microsoft.com/office/drawing/2014/main" id="{2CD4A186-418C-6875-6895-9F1B8E1AF0DC}"/>
                </a:ext>
              </a:extLst>
            </p:cNvPr>
            <p:cNvSpPr/>
            <p:nvPr/>
          </p:nvSpPr>
          <p:spPr>
            <a:xfrm>
              <a:off x="7680662" y="649366"/>
              <a:ext cx="600141" cy="22187"/>
            </a:xfrm>
            <a:custGeom>
              <a:avLst/>
              <a:gdLst>
                <a:gd name="connsiteX0" fmla="*/ 600142 w 600141"/>
                <a:gd name="connsiteY0" fmla="*/ 11081 h 22187"/>
                <a:gd name="connsiteX1" fmla="*/ 300065 w 600141"/>
                <a:gd name="connsiteY1" fmla="*/ 22187 h 22187"/>
                <a:gd name="connsiteX2" fmla="*/ 0 w 600141"/>
                <a:gd name="connsiteY2" fmla="*/ 11081 h 22187"/>
                <a:gd name="connsiteX3" fmla="*/ 300065 w 600141"/>
                <a:gd name="connsiteY3" fmla="*/ 0 h 22187"/>
                <a:gd name="connsiteX4" fmla="*/ 600142 w 600141"/>
                <a:gd name="connsiteY4" fmla="*/ 11081 h 22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141" h="22187">
                  <a:moveTo>
                    <a:pt x="600142" y="11081"/>
                  </a:moveTo>
                  <a:cubicBezTo>
                    <a:pt x="600142" y="17211"/>
                    <a:pt x="465708" y="22187"/>
                    <a:pt x="300065" y="22187"/>
                  </a:cubicBezTo>
                  <a:cubicBezTo>
                    <a:pt x="134421" y="22187"/>
                    <a:pt x="0" y="17173"/>
                    <a:pt x="0" y="11081"/>
                  </a:cubicBezTo>
                  <a:cubicBezTo>
                    <a:pt x="0" y="4989"/>
                    <a:pt x="134434" y="0"/>
                    <a:pt x="300065" y="0"/>
                  </a:cubicBezTo>
                  <a:cubicBezTo>
                    <a:pt x="465695" y="0"/>
                    <a:pt x="600142" y="5014"/>
                    <a:pt x="600142" y="11081"/>
                  </a:cubicBezTo>
                  <a:close/>
                </a:path>
              </a:pathLst>
            </a:custGeom>
            <a:solidFill>
              <a:srgbClr val="FFFFFF"/>
            </a:solidFill>
            <a:ln w="12664" cap="flat">
              <a:noFill/>
              <a:prstDash val="solid"/>
              <a:miter/>
            </a:ln>
          </p:spPr>
          <p:txBody>
            <a:bodyPr rtlCol="0" anchor="ctr"/>
            <a:lstStyle/>
            <a:p>
              <a:endParaRPr lang="en-US">
                <a:latin typeface="+mj-lt"/>
              </a:endParaRPr>
            </a:p>
          </p:txBody>
        </p:sp>
        <p:sp>
          <p:nvSpPr>
            <p:cNvPr id="21" name="Freeform 67">
              <a:extLst>
                <a:ext uri="{FF2B5EF4-FFF2-40B4-BE49-F238E27FC236}">
                  <a16:creationId xmlns:a16="http://schemas.microsoft.com/office/drawing/2014/main" id="{D25B28C9-9956-42C5-F699-D8C55C8DE5D4}"/>
                </a:ext>
              </a:extLst>
            </p:cNvPr>
            <p:cNvSpPr/>
            <p:nvPr/>
          </p:nvSpPr>
          <p:spPr>
            <a:xfrm>
              <a:off x="7677514" y="646257"/>
              <a:ext cx="606424" cy="28392"/>
            </a:xfrm>
            <a:custGeom>
              <a:avLst/>
              <a:gdLst>
                <a:gd name="connsiteX0" fmla="*/ 303212 w 606424"/>
                <a:gd name="connsiteY0" fmla="*/ 28392 h 28392"/>
                <a:gd name="connsiteX1" fmla="*/ 90938 w 606424"/>
                <a:gd name="connsiteY1" fmla="*/ 25121 h 28392"/>
                <a:gd name="connsiteX2" fmla="*/ 0 w 606424"/>
                <a:gd name="connsiteY2" fmla="*/ 14190 h 28392"/>
                <a:gd name="connsiteX3" fmla="*/ 90951 w 606424"/>
                <a:gd name="connsiteY3" fmla="*/ 3259 h 28392"/>
                <a:gd name="connsiteX4" fmla="*/ 303212 w 606424"/>
                <a:gd name="connsiteY4" fmla="*/ 0 h 28392"/>
                <a:gd name="connsiteX5" fmla="*/ 515486 w 606424"/>
                <a:gd name="connsiteY5" fmla="*/ 3272 h 28392"/>
                <a:gd name="connsiteX6" fmla="*/ 606424 w 606424"/>
                <a:gd name="connsiteY6" fmla="*/ 14190 h 28392"/>
                <a:gd name="connsiteX7" fmla="*/ 515486 w 606424"/>
                <a:gd name="connsiteY7" fmla="*/ 25133 h 28392"/>
                <a:gd name="connsiteX8" fmla="*/ 303212 w 606424"/>
                <a:gd name="connsiteY8" fmla="*/ 28392 h 28392"/>
                <a:gd name="connsiteX9" fmla="*/ 14812 w 606424"/>
                <a:gd name="connsiteY9" fmla="*/ 14190 h 28392"/>
                <a:gd name="connsiteX10" fmla="*/ 303212 w 606424"/>
                <a:gd name="connsiteY10" fmla="*/ 22188 h 28392"/>
                <a:gd name="connsiteX11" fmla="*/ 591740 w 606424"/>
                <a:gd name="connsiteY11" fmla="*/ 14215 h 28392"/>
                <a:gd name="connsiteX12" fmla="*/ 303212 w 606424"/>
                <a:gd name="connsiteY12" fmla="*/ 6205 h 28392"/>
                <a:gd name="connsiteX13" fmla="*/ 14812 w 606424"/>
                <a:gd name="connsiteY13" fmla="*/ 14190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424" h="28392">
                  <a:moveTo>
                    <a:pt x="303212" y="28392"/>
                  </a:moveTo>
                  <a:cubicBezTo>
                    <a:pt x="223176" y="28392"/>
                    <a:pt x="147786" y="27227"/>
                    <a:pt x="90938" y="25121"/>
                  </a:cubicBezTo>
                  <a:cubicBezTo>
                    <a:pt x="0" y="21749"/>
                    <a:pt x="0" y="18076"/>
                    <a:pt x="0" y="14190"/>
                  </a:cubicBezTo>
                  <a:cubicBezTo>
                    <a:pt x="0" y="10304"/>
                    <a:pt x="0" y="6669"/>
                    <a:pt x="90951" y="3259"/>
                  </a:cubicBezTo>
                  <a:cubicBezTo>
                    <a:pt x="147748" y="1153"/>
                    <a:pt x="223138" y="0"/>
                    <a:pt x="303212" y="0"/>
                  </a:cubicBezTo>
                  <a:cubicBezTo>
                    <a:pt x="383286" y="0"/>
                    <a:pt x="458575" y="1166"/>
                    <a:pt x="515486" y="3272"/>
                  </a:cubicBezTo>
                  <a:cubicBezTo>
                    <a:pt x="606424" y="6644"/>
                    <a:pt x="606424" y="10304"/>
                    <a:pt x="606424" y="14190"/>
                  </a:cubicBezTo>
                  <a:cubicBezTo>
                    <a:pt x="606424" y="18076"/>
                    <a:pt x="606424" y="21774"/>
                    <a:pt x="515486" y="25133"/>
                  </a:cubicBezTo>
                  <a:cubicBezTo>
                    <a:pt x="458740" y="27239"/>
                    <a:pt x="383362" y="28392"/>
                    <a:pt x="303212" y="28392"/>
                  </a:cubicBezTo>
                  <a:close/>
                  <a:moveTo>
                    <a:pt x="14812" y="14190"/>
                  </a:moveTo>
                  <a:cubicBezTo>
                    <a:pt x="47481" y="18339"/>
                    <a:pt x="158041" y="22188"/>
                    <a:pt x="303212" y="22188"/>
                  </a:cubicBezTo>
                  <a:cubicBezTo>
                    <a:pt x="452914" y="22188"/>
                    <a:pt x="559933" y="18339"/>
                    <a:pt x="591740" y="14215"/>
                  </a:cubicBezTo>
                  <a:cubicBezTo>
                    <a:pt x="559210" y="10053"/>
                    <a:pt x="448561" y="6205"/>
                    <a:pt x="303212" y="6205"/>
                  </a:cubicBezTo>
                  <a:cubicBezTo>
                    <a:pt x="157863" y="6205"/>
                    <a:pt x="47481" y="10041"/>
                    <a:pt x="14812" y="14190"/>
                  </a:cubicBezTo>
                  <a:close/>
                </a:path>
              </a:pathLst>
            </a:custGeom>
            <a:solidFill>
              <a:srgbClr val="FFFFFF"/>
            </a:solidFill>
            <a:ln w="12664" cap="flat">
              <a:noFill/>
              <a:prstDash val="solid"/>
              <a:miter/>
            </a:ln>
          </p:spPr>
          <p:txBody>
            <a:bodyPr rtlCol="0" anchor="ctr"/>
            <a:lstStyle/>
            <a:p>
              <a:endParaRPr lang="en-US">
                <a:latin typeface="+mj-lt"/>
              </a:endParaRPr>
            </a:p>
          </p:txBody>
        </p:sp>
        <p:sp>
          <p:nvSpPr>
            <p:cNvPr id="22" name="Freeform 68">
              <a:extLst>
                <a:ext uri="{FF2B5EF4-FFF2-40B4-BE49-F238E27FC236}">
                  <a16:creationId xmlns:a16="http://schemas.microsoft.com/office/drawing/2014/main" id="{79B00A80-0DBE-D73F-4DFE-1FDB437A82AE}"/>
                </a:ext>
              </a:extLst>
            </p:cNvPr>
            <p:cNvSpPr/>
            <p:nvPr/>
          </p:nvSpPr>
          <p:spPr>
            <a:xfrm>
              <a:off x="7794847" y="284166"/>
              <a:ext cx="928959" cy="738994"/>
            </a:xfrm>
            <a:custGeom>
              <a:avLst/>
              <a:gdLst>
                <a:gd name="connsiteX0" fmla="*/ 835862 w 928959"/>
                <a:gd name="connsiteY0" fmla="*/ 129348 h 738994"/>
                <a:gd name="connsiteX1" fmla="*/ 928958 w 928959"/>
                <a:gd name="connsiteY1" fmla="*/ 373724 h 738994"/>
                <a:gd name="connsiteX2" fmla="*/ 687886 w 928959"/>
                <a:gd name="connsiteY2" fmla="*/ 707075 h 738994"/>
                <a:gd name="connsiteX3" fmla="*/ 422255 w 928959"/>
                <a:gd name="connsiteY3" fmla="*/ 738739 h 738994"/>
                <a:gd name="connsiteX4" fmla="*/ 59340 w 928959"/>
                <a:gd name="connsiteY4" fmla="*/ 566442 h 738994"/>
                <a:gd name="connsiteX5" fmla="*/ 36227 w 928959"/>
                <a:gd name="connsiteY5" fmla="*/ 210589 h 738994"/>
                <a:gd name="connsiteX6" fmla="*/ 317571 w 928959"/>
                <a:gd name="connsiteY6" fmla="*/ 11729 h 738994"/>
                <a:gd name="connsiteX7" fmla="*/ 681946 w 928959"/>
                <a:gd name="connsiteY7" fmla="*/ 31485 h 738994"/>
                <a:gd name="connsiteX8" fmla="*/ 835862 w 928959"/>
                <a:gd name="connsiteY8" fmla="*/ 129348 h 73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959" h="738994">
                  <a:moveTo>
                    <a:pt x="835862" y="129348"/>
                  </a:moveTo>
                  <a:cubicBezTo>
                    <a:pt x="896115" y="196817"/>
                    <a:pt x="929237" y="283760"/>
                    <a:pt x="928958" y="373724"/>
                  </a:cubicBezTo>
                  <a:cubicBezTo>
                    <a:pt x="925921" y="523318"/>
                    <a:pt x="830175" y="655713"/>
                    <a:pt x="687886" y="707075"/>
                  </a:cubicBezTo>
                  <a:cubicBezTo>
                    <a:pt x="605502" y="733913"/>
                    <a:pt x="513828" y="740457"/>
                    <a:pt x="422255" y="738739"/>
                  </a:cubicBezTo>
                  <a:cubicBezTo>
                    <a:pt x="276855" y="734716"/>
                    <a:pt x="140403" y="684838"/>
                    <a:pt x="59340" y="566442"/>
                  </a:cubicBezTo>
                  <a:cubicBezTo>
                    <a:pt x="-7725" y="467563"/>
                    <a:pt x="-21432" y="316650"/>
                    <a:pt x="36227" y="210589"/>
                  </a:cubicBezTo>
                  <a:cubicBezTo>
                    <a:pt x="85422" y="102522"/>
                    <a:pt x="197479" y="29968"/>
                    <a:pt x="317571" y="11729"/>
                  </a:cubicBezTo>
                  <a:cubicBezTo>
                    <a:pt x="438981" y="-8966"/>
                    <a:pt x="563560" y="-2211"/>
                    <a:pt x="681946" y="31485"/>
                  </a:cubicBezTo>
                  <a:cubicBezTo>
                    <a:pt x="740568" y="51213"/>
                    <a:pt x="793411" y="84811"/>
                    <a:pt x="835862" y="129348"/>
                  </a:cubicBezTo>
                  <a:close/>
                </a:path>
              </a:pathLst>
            </a:custGeom>
            <a:solidFill>
              <a:srgbClr val="CA0538"/>
            </a:solidFill>
            <a:ln w="12664" cap="flat">
              <a:noFill/>
              <a:prstDash val="solid"/>
              <a:miter/>
            </a:ln>
          </p:spPr>
          <p:txBody>
            <a:bodyPr rtlCol="0" anchor="ctr"/>
            <a:lstStyle/>
            <a:p>
              <a:endParaRPr lang="en-US">
                <a:latin typeface="+mj-lt"/>
              </a:endParaRPr>
            </a:p>
          </p:txBody>
        </p:sp>
        <p:sp>
          <p:nvSpPr>
            <p:cNvPr id="23" name="Freeform 69">
              <a:extLst>
                <a:ext uri="{FF2B5EF4-FFF2-40B4-BE49-F238E27FC236}">
                  <a16:creationId xmlns:a16="http://schemas.microsoft.com/office/drawing/2014/main" id="{E354516B-D2C2-50E5-2F7D-BB968DCA8091}"/>
                </a:ext>
              </a:extLst>
            </p:cNvPr>
            <p:cNvSpPr/>
            <p:nvPr/>
          </p:nvSpPr>
          <p:spPr>
            <a:xfrm>
              <a:off x="7833276" y="310649"/>
              <a:ext cx="674105" cy="476179"/>
            </a:xfrm>
            <a:custGeom>
              <a:avLst/>
              <a:gdLst>
                <a:gd name="connsiteX0" fmla="*/ 674105 w 674105"/>
                <a:gd name="connsiteY0" fmla="*/ 47259 h 476179"/>
                <a:gd name="connsiteX1" fmla="*/ 53199 w 674105"/>
                <a:gd name="connsiteY1" fmla="*/ 164301 h 476179"/>
                <a:gd name="connsiteX2" fmla="*/ 23043 w 674105"/>
                <a:gd name="connsiteY2" fmla="*/ 476180 h 476179"/>
                <a:gd name="connsiteX3" fmla="*/ 674105 w 674105"/>
                <a:gd name="connsiteY3" fmla="*/ 47259 h 476179"/>
              </a:gdLst>
              <a:ahLst/>
              <a:cxnLst>
                <a:cxn ang="0">
                  <a:pos x="connsiteX0" y="connsiteY0"/>
                </a:cxn>
                <a:cxn ang="0">
                  <a:pos x="connsiteX1" y="connsiteY1"/>
                </a:cxn>
                <a:cxn ang="0">
                  <a:pos x="connsiteX2" y="connsiteY2"/>
                </a:cxn>
                <a:cxn ang="0">
                  <a:pos x="connsiteX3" y="connsiteY3"/>
                </a:cxn>
              </a:cxnLst>
              <a:rect l="l" t="t" r="r" b="b"/>
              <a:pathLst>
                <a:path w="674105" h="476179">
                  <a:moveTo>
                    <a:pt x="674105" y="47259"/>
                  </a:moveTo>
                  <a:cubicBezTo>
                    <a:pt x="674105" y="47259"/>
                    <a:pt x="245737" y="-115976"/>
                    <a:pt x="53199" y="164301"/>
                  </a:cubicBezTo>
                  <a:cubicBezTo>
                    <a:pt x="-45202" y="307555"/>
                    <a:pt x="23043" y="476180"/>
                    <a:pt x="23043" y="476180"/>
                  </a:cubicBezTo>
                  <a:cubicBezTo>
                    <a:pt x="23043" y="476180"/>
                    <a:pt x="9323" y="-76226"/>
                    <a:pt x="674105" y="47259"/>
                  </a:cubicBezTo>
                  <a:close/>
                </a:path>
              </a:pathLst>
            </a:custGeom>
            <a:solidFill>
              <a:srgbClr val="FFFFFF"/>
            </a:solidFill>
            <a:ln w="12664" cap="flat">
              <a:noFill/>
              <a:prstDash val="solid"/>
              <a:miter/>
            </a:ln>
          </p:spPr>
          <p:txBody>
            <a:bodyPr rtlCol="0" anchor="ctr"/>
            <a:lstStyle/>
            <a:p>
              <a:endParaRPr lang="en-US">
                <a:latin typeface="+mj-lt"/>
              </a:endParaRPr>
            </a:p>
          </p:txBody>
        </p:sp>
        <p:sp>
          <p:nvSpPr>
            <p:cNvPr id="24" name="Freeform 70">
              <a:extLst>
                <a:ext uri="{FF2B5EF4-FFF2-40B4-BE49-F238E27FC236}">
                  <a16:creationId xmlns:a16="http://schemas.microsoft.com/office/drawing/2014/main" id="{20B3767E-C05E-8153-AA23-451B8D8E849B}"/>
                </a:ext>
              </a:extLst>
            </p:cNvPr>
            <p:cNvSpPr/>
            <p:nvPr/>
          </p:nvSpPr>
          <p:spPr>
            <a:xfrm>
              <a:off x="7952138" y="416172"/>
              <a:ext cx="622117" cy="420341"/>
            </a:xfrm>
            <a:custGeom>
              <a:avLst/>
              <a:gdLst>
                <a:gd name="connsiteX0" fmla="*/ 244162 w 622117"/>
                <a:gd name="connsiteY0" fmla="*/ 5265 h 420341"/>
                <a:gd name="connsiteX1" fmla="*/ 190234 w 622117"/>
                <a:gd name="connsiteY1" fmla="*/ 115337 h 420341"/>
                <a:gd name="connsiteX2" fmla="*/ 166119 w 622117"/>
                <a:gd name="connsiteY2" fmla="*/ 372750 h 420341"/>
                <a:gd name="connsiteX3" fmla="*/ 174546 w 622117"/>
                <a:gd name="connsiteY3" fmla="*/ 380271 h 420341"/>
                <a:gd name="connsiteX4" fmla="*/ 219273 w 622117"/>
                <a:gd name="connsiteY4" fmla="*/ 341336 h 420341"/>
                <a:gd name="connsiteX5" fmla="*/ 302545 w 622117"/>
                <a:gd name="connsiteY5" fmla="*/ 23617 h 420341"/>
                <a:gd name="connsiteX6" fmla="*/ 333806 w 622117"/>
                <a:gd name="connsiteY6" fmla="*/ 464 h 420341"/>
                <a:gd name="connsiteX7" fmla="*/ 335633 w 622117"/>
                <a:gd name="connsiteY7" fmla="*/ 7032 h 420341"/>
                <a:gd name="connsiteX8" fmla="*/ 302964 w 622117"/>
                <a:gd name="connsiteY8" fmla="*/ 48950 h 420341"/>
                <a:gd name="connsiteX9" fmla="*/ 293445 w 622117"/>
                <a:gd name="connsiteY9" fmla="*/ 78772 h 420341"/>
                <a:gd name="connsiteX10" fmla="*/ 257717 w 622117"/>
                <a:gd name="connsiteY10" fmla="*/ 371697 h 420341"/>
                <a:gd name="connsiteX11" fmla="*/ 269927 w 622117"/>
                <a:gd name="connsiteY11" fmla="*/ 380221 h 420341"/>
                <a:gd name="connsiteX12" fmla="*/ 308980 w 622117"/>
                <a:gd name="connsiteY12" fmla="*/ 342176 h 420341"/>
                <a:gd name="connsiteX13" fmla="*/ 378228 w 622117"/>
                <a:gd name="connsiteY13" fmla="*/ 200628 h 420341"/>
                <a:gd name="connsiteX14" fmla="*/ 448161 w 622117"/>
                <a:gd name="connsiteY14" fmla="*/ 198221 h 420341"/>
                <a:gd name="connsiteX15" fmla="*/ 429681 w 622117"/>
                <a:gd name="connsiteY15" fmla="*/ 360127 h 420341"/>
                <a:gd name="connsiteX16" fmla="*/ 437030 w 622117"/>
                <a:gd name="connsiteY16" fmla="*/ 382690 h 420341"/>
                <a:gd name="connsiteX17" fmla="*/ 444645 w 622117"/>
                <a:gd name="connsiteY17" fmla="*/ 380885 h 420341"/>
                <a:gd name="connsiteX18" fmla="*/ 491339 w 622117"/>
                <a:gd name="connsiteY18" fmla="*/ 333527 h 420341"/>
                <a:gd name="connsiteX19" fmla="*/ 528362 w 622117"/>
                <a:gd name="connsiteY19" fmla="*/ 108054 h 420341"/>
                <a:gd name="connsiteX20" fmla="*/ 593332 w 622117"/>
                <a:gd name="connsiteY20" fmla="*/ 24331 h 420341"/>
                <a:gd name="connsiteX21" fmla="*/ 580031 w 622117"/>
                <a:gd name="connsiteY21" fmla="*/ 39536 h 420341"/>
                <a:gd name="connsiteX22" fmla="*/ 525455 w 622117"/>
                <a:gd name="connsiteY22" fmla="*/ 215770 h 420341"/>
                <a:gd name="connsiteX23" fmla="*/ 546295 w 622117"/>
                <a:gd name="connsiteY23" fmla="*/ 207522 h 420341"/>
                <a:gd name="connsiteX24" fmla="*/ 590083 w 622117"/>
                <a:gd name="connsiteY24" fmla="*/ 171383 h 420341"/>
                <a:gd name="connsiteX25" fmla="*/ 609717 w 622117"/>
                <a:gd name="connsiteY25" fmla="*/ 190299 h 420341"/>
                <a:gd name="connsiteX26" fmla="*/ 587481 w 622117"/>
                <a:gd name="connsiteY26" fmla="*/ 352167 h 420341"/>
                <a:gd name="connsiteX27" fmla="*/ 515873 w 622117"/>
                <a:gd name="connsiteY27" fmla="*/ 418817 h 420341"/>
                <a:gd name="connsiteX28" fmla="*/ 500642 w 622117"/>
                <a:gd name="connsiteY28" fmla="*/ 417313 h 420341"/>
                <a:gd name="connsiteX29" fmla="*/ 492024 w 622117"/>
                <a:gd name="connsiteY29" fmla="*/ 355990 h 420341"/>
                <a:gd name="connsiteX30" fmla="*/ 489207 w 622117"/>
                <a:gd name="connsiteY30" fmla="*/ 354085 h 420341"/>
                <a:gd name="connsiteX31" fmla="*/ 416862 w 622117"/>
                <a:gd name="connsiteY31" fmla="*/ 419958 h 420341"/>
                <a:gd name="connsiteX32" fmla="*/ 408397 w 622117"/>
                <a:gd name="connsiteY32" fmla="*/ 418015 h 420341"/>
                <a:gd name="connsiteX33" fmla="*/ 398345 w 622117"/>
                <a:gd name="connsiteY33" fmla="*/ 380409 h 420341"/>
                <a:gd name="connsiteX34" fmla="*/ 344175 w 622117"/>
                <a:gd name="connsiteY34" fmla="*/ 420221 h 420341"/>
                <a:gd name="connsiteX35" fmla="*/ 325493 w 622117"/>
                <a:gd name="connsiteY35" fmla="*/ 399989 h 420341"/>
                <a:gd name="connsiteX36" fmla="*/ 310719 w 622117"/>
                <a:gd name="connsiteY36" fmla="*/ 359011 h 420341"/>
                <a:gd name="connsiteX37" fmla="*/ 242182 w 622117"/>
                <a:gd name="connsiteY37" fmla="*/ 419306 h 420341"/>
                <a:gd name="connsiteX38" fmla="*/ 228221 w 622117"/>
                <a:gd name="connsiteY38" fmla="*/ 408852 h 420341"/>
                <a:gd name="connsiteX39" fmla="*/ 220047 w 622117"/>
                <a:gd name="connsiteY39" fmla="*/ 358222 h 420341"/>
                <a:gd name="connsiteX40" fmla="*/ 216240 w 622117"/>
                <a:gd name="connsiteY40" fmla="*/ 359124 h 420341"/>
                <a:gd name="connsiteX41" fmla="*/ 149607 w 622117"/>
                <a:gd name="connsiteY41" fmla="*/ 419406 h 420341"/>
                <a:gd name="connsiteX42" fmla="*/ 136470 w 622117"/>
                <a:gd name="connsiteY42" fmla="*/ 410857 h 420341"/>
                <a:gd name="connsiteX43" fmla="*/ 127586 w 622117"/>
                <a:gd name="connsiteY43" fmla="*/ 346138 h 420341"/>
                <a:gd name="connsiteX44" fmla="*/ 123778 w 622117"/>
                <a:gd name="connsiteY44" fmla="*/ 346138 h 420341"/>
                <a:gd name="connsiteX45" fmla="*/ 29616 w 622117"/>
                <a:gd name="connsiteY45" fmla="*/ 420234 h 420341"/>
                <a:gd name="connsiteX46" fmla="*/ 19298 w 622117"/>
                <a:gd name="connsiteY46" fmla="*/ 412637 h 420341"/>
                <a:gd name="connsiteX47" fmla="*/ 41090 w 622117"/>
                <a:gd name="connsiteY47" fmla="*/ 197368 h 420341"/>
                <a:gd name="connsiteX48" fmla="*/ 83177 w 622117"/>
                <a:gd name="connsiteY48" fmla="*/ 178766 h 420341"/>
                <a:gd name="connsiteX49" fmla="*/ 102367 w 622117"/>
                <a:gd name="connsiteY49" fmla="*/ 208224 h 420341"/>
                <a:gd name="connsiteX50" fmla="*/ 102100 w 622117"/>
                <a:gd name="connsiteY50" fmla="*/ 239136 h 420341"/>
                <a:gd name="connsiteX51" fmla="*/ 36368 w 622117"/>
                <a:gd name="connsiteY51" fmla="*/ 299443 h 420341"/>
                <a:gd name="connsiteX52" fmla="*/ 46167 w 622117"/>
                <a:gd name="connsiteY52" fmla="*/ 383831 h 420341"/>
                <a:gd name="connsiteX53" fmla="*/ 58592 w 622117"/>
                <a:gd name="connsiteY53" fmla="*/ 385649 h 420341"/>
                <a:gd name="connsiteX54" fmla="*/ 60331 w 622117"/>
                <a:gd name="connsiteY54" fmla="*/ 383969 h 420341"/>
                <a:gd name="connsiteX55" fmla="*/ 127954 w 622117"/>
                <a:gd name="connsiteY55" fmla="*/ 320866 h 420341"/>
                <a:gd name="connsiteX56" fmla="*/ 202291 w 622117"/>
                <a:gd name="connsiteY56" fmla="*/ 37681 h 420341"/>
                <a:gd name="connsiteX57" fmla="*/ 243007 w 622117"/>
                <a:gd name="connsiteY57" fmla="*/ 0 h 420341"/>
                <a:gd name="connsiteX58" fmla="*/ 244974 w 622117"/>
                <a:gd name="connsiteY58" fmla="*/ 4024 h 420341"/>
                <a:gd name="connsiteX59" fmla="*/ 244162 w 622117"/>
                <a:gd name="connsiteY59" fmla="*/ 5265 h 420341"/>
                <a:gd name="connsiteX60" fmla="*/ 77224 w 622117"/>
                <a:gd name="connsiteY60" fmla="*/ 185510 h 420341"/>
                <a:gd name="connsiteX61" fmla="*/ 63936 w 622117"/>
                <a:gd name="connsiteY61" fmla="*/ 193821 h 420341"/>
                <a:gd name="connsiteX62" fmla="*/ 39516 w 622117"/>
                <a:gd name="connsiteY62" fmla="*/ 281656 h 420341"/>
                <a:gd name="connsiteX63" fmla="*/ 80448 w 622117"/>
                <a:gd name="connsiteY63" fmla="*/ 246419 h 420341"/>
                <a:gd name="connsiteX64" fmla="*/ 86553 w 622117"/>
                <a:gd name="connsiteY64" fmla="*/ 197770 h 420341"/>
                <a:gd name="connsiteX65" fmla="*/ 77224 w 622117"/>
                <a:gd name="connsiteY65" fmla="*/ 185510 h 420341"/>
                <a:gd name="connsiteX66" fmla="*/ 415111 w 622117"/>
                <a:gd name="connsiteY66" fmla="*/ 203536 h 420341"/>
                <a:gd name="connsiteX67" fmla="*/ 378215 w 622117"/>
                <a:gd name="connsiteY67" fmla="*/ 212574 h 420341"/>
                <a:gd name="connsiteX68" fmla="*/ 346891 w 622117"/>
                <a:gd name="connsiteY68" fmla="*/ 331271 h 420341"/>
                <a:gd name="connsiteX69" fmla="*/ 360611 w 622117"/>
                <a:gd name="connsiteY69" fmla="*/ 381976 h 420341"/>
                <a:gd name="connsiteX70" fmla="*/ 395730 w 622117"/>
                <a:gd name="connsiteY70" fmla="*/ 361681 h 420341"/>
                <a:gd name="connsiteX71" fmla="*/ 416037 w 622117"/>
                <a:gd name="connsiteY71" fmla="*/ 208224 h 420341"/>
                <a:gd name="connsiteX72" fmla="*/ 566146 w 622117"/>
                <a:gd name="connsiteY72" fmla="*/ 207698 h 420341"/>
                <a:gd name="connsiteX73" fmla="*/ 530887 w 622117"/>
                <a:gd name="connsiteY73" fmla="*/ 242997 h 420341"/>
                <a:gd name="connsiteX74" fmla="*/ 529618 w 622117"/>
                <a:gd name="connsiteY74" fmla="*/ 378792 h 420341"/>
                <a:gd name="connsiteX75" fmla="*/ 533324 w 622117"/>
                <a:gd name="connsiteY75" fmla="*/ 388219 h 420341"/>
                <a:gd name="connsiteX76" fmla="*/ 558899 w 622117"/>
                <a:gd name="connsiteY76" fmla="*/ 370995 h 420341"/>
                <a:gd name="connsiteX77" fmla="*/ 581871 w 622117"/>
                <a:gd name="connsiteY77" fmla="*/ 223730 h 420341"/>
                <a:gd name="connsiteX78" fmla="*/ 566158 w 622117"/>
                <a:gd name="connsiteY78" fmla="*/ 207710 h 4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22117" h="420341">
                  <a:moveTo>
                    <a:pt x="244162" y="5265"/>
                  </a:moveTo>
                  <a:cubicBezTo>
                    <a:pt x="206086" y="28342"/>
                    <a:pt x="203801" y="76089"/>
                    <a:pt x="190234" y="115337"/>
                  </a:cubicBezTo>
                  <a:cubicBezTo>
                    <a:pt x="169685" y="194774"/>
                    <a:pt x="154696" y="286444"/>
                    <a:pt x="166119" y="372750"/>
                  </a:cubicBezTo>
                  <a:cubicBezTo>
                    <a:pt x="167666" y="376363"/>
                    <a:pt x="170752" y="379115"/>
                    <a:pt x="174546" y="380271"/>
                  </a:cubicBezTo>
                  <a:cubicBezTo>
                    <a:pt x="191170" y="369352"/>
                    <a:pt x="206217" y="356253"/>
                    <a:pt x="219273" y="341336"/>
                  </a:cubicBezTo>
                  <a:cubicBezTo>
                    <a:pt x="227904" y="228092"/>
                    <a:pt x="248807" y="118709"/>
                    <a:pt x="302545" y="23617"/>
                  </a:cubicBezTo>
                  <a:cubicBezTo>
                    <a:pt x="309823" y="12451"/>
                    <a:pt x="320916" y="4236"/>
                    <a:pt x="333806" y="464"/>
                  </a:cubicBezTo>
                  <a:cubicBezTo>
                    <a:pt x="336636" y="464"/>
                    <a:pt x="337613" y="5165"/>
                    <a:pt x="335633" y="7032"/>
                  </a:cubicBezTo>
                  <a:cubicBezTo>
                    <a:pt x="316443" y="13977"/>
                    <a:pt x="309780" y="30298"/>
                    <a:pt x="302964" y="48950"/>
                  </a:cubicBezTo>
                  <a:cubicBezTo>
                    <a:pt x="299197" y="58697"/>
                    <a:pt x="296018" y="68655"/>
                    <a:pt x="293445" y="78772"/>
                  </a:cubicBezTo>
                  <a:cubicBezTo>
                    <a:pt x="267185" y="170380"/>
                    <a:pt x="246358" y="270399"/>
                    <a:pt x="257717" y="371697"/>
                  </a:cubicBezTo>
                  <a:cubicBezTo>
                    <a:pt x="259570" y="376398"/>
                    <a:pt x="264241" y="382064"/>
                    <a:pt x="269927" y="380221"/>
                  </a:cubicBezTo>
                  <a:cubicBezTo>
                    <a:pt x="285184" y="369996"/>
                    <a:pt x="298419" y="357102"/>
                    <a:pt x="308980" y="342176"/>
                  </a:cubicBezTo>
                  <a:cubicBezTo>
                    <a:pt x="303214" y="285875"/>
                    <a:pt x="329984" y="231155"/>
                    <a:pt x="378228" y="200628"/>
                  </a:cubicBezTo>
                  <a:cubicBezTo>
                    <a:pt x="399780" y="188729"/>
                    <a:pt x="425822" y="187833"/>
                    <a:pt x="448161" y="198221"/>
                  </a:cubicBezTo>
                  <a:cubicBezTo>
                    <a:pt x="436742" y="251477"/>
                    <a:pt x="430553" y="305697"/>
                    <a:pt x="429681" y="360127"/>
                  </a:cubicBezTo>
                  <a:cubicBezTo>
                    <a:pt x="430316" y="366633"/>
                    <a:pt x="429529" y="377915"/>
                    <a:pt x="437030" y="382690"/>
                  </a:cubicBezTo>
                  <a:lnTo>
                    <a:pt x="444645" y="380885"/>
                  </a:lnTo>
                  <a:lnTo>
                    <a:pt x="491339" y="333527"/>
                  </a:lnTo>
                  <a:cubicBezTo>
                    <a:pt x="498793" y="257666"/>
                    <a:pt x="511159" y="182354"/>
                    <a:pt x="528362" y="108054"/>
                  </a:cubicBezTo>
                  <a:cubicBezTo>
                    <a:pt x="539048" y="74435"/>
                    <a:pt x="563899" y="27954"/>
                    <a:pt x="593332" y="24331"/>
                  </a:cubicBezTo>
                  <a:cubicBezTo>
                    <a:pt x="604171" y="33808"/>
                    <a:pt x="592228" y="28092"/>
                    <a:pt x="580031" y="39536"/>
                  </a:cubicBezTo>
                  <a:cubicBezTo>
                    <a:pt x="544722" y="77957"/>
                    <a:pt x="531725" y="152116"/>
                    <a:pt x="525455" y="215770"/>
                  </a:cubicBezTo>
                  <a:cubicBezTo>
                    <a:pt x="532702" y="217738"/>
                    <a:pt x="534073" y="216911"/>
                    <a:pt x="546295" y="207522"/>
                  </a:cubicBezTo>
                  <a:lnTo>
                    <a:pt x="590083" y="171383"/>
                  </a:lnTo>
                  <a:cubicBezTo>
                    <a:pt x="600465" y="170530"/>
                    <a:pt x="606011" y="182765"/>
                    <a:pt x="609717" y="190299"/>
                  </a:cubicBezTo>
                  <a:cubicBezTo>
                    <a:pt x="632199" y="244293"/>
                    <a:pt x="623715" y="306041"/>
                    <a:pt x="587481" y="352167"/>
                  </a:cubicBezTo>
                  <a:cubicBezTo>
                    <a:pt x="569051" y="379470"/>
                    <a:pt x="544562" y="402266"/>
                    <a:pt x="515873" y="418817"/>
                  </a:cubicBezTo>
                  <a:cubicBezTo>
                    <a:pt x="504450" y="422578"/>
                    <a:pt x="501378" y="418002"/>
                    <a:pt x="500642" y="417313"/>
                  </a:cubicBezTo>
                  <a:cubicBezTo>
                    <a:pt x="492227" y="406833"/>
                    <a:pt x="493712" y="378454"/>
                    <a:pt x="492024" y="355990"/>
                  </a:cubicBezTo>
                  <a:lnTo>
                    <a:pt x="489207" y="354085"/>
                  </a:lnTo>
                  <a:lnTo>
                    <a:pt x="416862" y="419958"/>
                  </a:lnTo>
                  <a:cubicBezTo>
                    <a:pt x="414984" y="419958"/>
                    <a:pt x="410059" y="421211"/>
                    <a:pt x="408397" y="418015"/>
                  </a:cubicBezTo>
                  <a:cubicBezTo>
                    <a:pt x="402772" y="406183"/>
                    <a:pt x="399365" y="393442"/>
                    <a:pt x="398345" y="380409"/>
                  </a:cubicBezTo>
                  <a:cubicBezTo>
                    <a:pt x="379307" y="391490"/>
                    <a:pt x="363150" y="409140"/>
                    <a:pt x="344175" y="420221"/>
                  </a:cubicBezTo>
                  <a:cubicBezTo>
                    <a:pt x="333768" y="421061"/>
                    <a:pt x="329084" y="408438"/>
                    <a:pt x="325493" y="399989"/>
                  </a:cubicBezTo>
                  <a:cubicBezTo>
                    <a:pt x="317357" y="379419"/>
                    <a:pt x="316608" y="374655"/>
                    <a:pt x="310719" y="359011"/>
                  </a:cubicBezTo>
                  <a:lnTo>
                    <a:pt x="242182" y="419306"/>
                  </a:lnTo>
                  <a:cubicBezTo>
                    <a:pt x="234567" y="423067"/>
                    <a:pt x="230176" y="414844"/>
                    <a:pt x="228221" y="408852"/>
                  </a:cubicBezTo>
                  <a:cubicBezTo>
                    <a:pt x="224377" y="392170"/>
                    <a:pt x="221646" y="375257"/>
                    <a:pt x="220047" y="358222"/>
                  </a:cubicBezTo>
                  <a:lnTo>
                    <a:pt x="216240" y="359124"/>
                  </a:lnTo>
                  <a:lnTo>
                    <a:pt x="149607" y="419406"/>
                  </a:lnTo>
                  <a:cubicBezTo>
                    <a:pt x="142550" y="421512"/>
                    <a:pt x="139986" y="418755"/>
                    <a:pt x="136470" y="410857"/>
                  </a:cubicBezTo>
                  <a:cubicBezTo>
                    <a:pt x="130416" y="397269"/>
                    <a:pt x="130696" y="366883"/>
                    <a:pt x="127586" y="346138"/>
                  </a:cubicBezTo>
                  <a:lnTo>
                    <a:pt x="123778" y="346138"/>
                  </a:lnTo>
                  <a:cubicBezTo>
                    <a:pt x="92404" y="370193"/>
                    <a:pt x="64722" y="401807"/>
                    <a:pt x="29616" y="420234"/>
                  </a:cubicBezTo>
                  <a:cubicBezTo>
                    <a:pt x="24895" y="421111"/>
                    <a:pt x="21151" y="416473"/>
                    <a:pt x="19298" y="412637"/>
                  </a:cubicBezTo>
                  <a:cubicBezTo>
                    <a:pt x="-11265" y="346777"/>
                    <a:pt x="-6619" y="252185"/>
                    <a:pt x="41090" y="197368"/>
                  </a:cubicBezTo>
                  <a:cubicBezTo>
                    <a:pt x="46839" y="191301"/>
                    <a:pt x="63859" y="170593"/>
                    <a:pt x="83177" y="178766"/>
                  </a:cubicBezTo>
                  <a:cubicBezTo>
                    <a:pt x="94066" y="182527"/>
                    <a:pt x="99169" y="191163"/>
                    <a:pt x="102367" y="208224"/>
                  </a:cubicBezTo>
                  <a:cubicBezTo>
                    <a:pt x="105644" y="218289"/>
                    <a:pt x="105550" y="229128"/>
                    <a:pt x="102100" y="239136"/>
                  </a:cubicBezTo>
                  <a:lnTo>
                    <a:pt x="36368" y="299443"/>
                  </a:lnTo>
                  <a:cubicBezTo>
                    <a:pt x="31891" y="327931"/>
                    <a:pt x="35276" y="357085"/>
                    <a:pt x="46167" y="383831"/>
                  </a:cubicBezTo>
                  <a:cubicBezTo>
                    <a:pt x="49091" y="387721"/>
                    <a:pt x="54653" y="388534"/>
                    <a:pt x="58592" y="385649"/>
                  </a:cubicBezTo>
                  <a:cubicBezTo>
                    <a:pt x="59251" y="385174"/>
                    <a:pt x="59836" y="384608"/>
                    <a:pt x="60331" y="383969"/>
                  </a:cubicBezTo>
                  <a:lnTo>
                    <a:pt x="127954" y="320866"/>
                  </a:lnTo>
                  <a:cubicBezTo>
                    <a:pt x="138298" y="220734"/>
                    <a:pt x="157146" y="123460"/>
                    <a:pt x="202291" y="37681"/>
                  </a:cubicBezTo>
                  <a:cubicBezTo>
                    <a:pt x="207634" y="27791"/>
                    <a:pt x="225365" y="752"/>
                    <a:pt x="243007" y="0"/>
                  </a:cubicBezTo>
                  <a:cubicBezTo>
                    <a:pt x="244671" y="580"/>
                    <a:pt x="245549" y="2377"/>
                    <a:pt x="244974" y="4024"/>
                  </a:cubicBezTo>
                  <a:cubicBezTo>
                    <a:pt x="244800" y="4491"/>
                    <a:pt x="244523" y="4916"/>
                    <a:pt x="244162" y="5265"/>
                  </a:cubicBezTo>
                  <a:close/>
                  <a:moveTo>
                    <a:pt x="77224" y="185510"/>
                  </a:moveTo>
                  <a:cubicBezTo>
                    <a:pt x="72275" y="187374"/>
                    <a:pt x="67757" y="190199"/>
                    <a:pt x="63936" y="193821"/>
                  </a:cubicBezTo>
                  <a:cubicBezTo>
                    <a:pt x="49883" y="221174"/>
                    <a:pt x="41576" y="251051"/>
                    <a:pt x="39516" y="281656"/>
                  </a:cubicBezTo>
                  <a:cubicBezTo>
                    <a:pt x="54645" y="269747"/>
                    <a:pt x="68060" y="257563"/>
                    <a:pt x="80448" y="246419"/>
                  </a:cubicBezTo>
                  <a:lnTo>
                    <a:pt x="86553" y="197770"/>
                  </a:lnTo>
                  <a:cubicBezTo>
                    <a:pt x="89459" y="190311"/>
                    <a:pt x="84776" y="185585"/>
                    <a:pt x="77224" y="185510"/>
                  </a:cubicBezTo>
                  <a:close/>
                  <a:moveTo>
                    <a:pt x="415111" y="203536"/>
                  </a:moveTo>
                  <a:cubicBezTo>
                    <a:pt x="401949" y="195927"/>
                    <a:pt x="388711" y="202746"/>
                    <a:pt x="378215" y="212574"/>
                  </a:cubicBezTo>
                  <a:cubicBezTo>
                    <a:pt x="347754" y="241405"/>
                    <a:pt x="343502" y="289039"/>
                    <a:pt x="346891" y="331271"/>
                  </a:cubicBezTo>
                  <a:cubicBezTo>
                    <a:pt x="346891" y="335307"/>
                    <a:pt x="349125" y="369503"/>
                    <a:pt x="360611" y="381976"/>
                  </a:cubicBezTo>
                  <a:cubicBezTo>
                    <a:pt x="374915" y="383229"/>
                    <a:pt x="386211" y="370030"/>
                    <a:pt x="395730" y="361681"/>
                  </a:cubicBezTo>
                  <a:cubicBezTo>
                    <a:pt x="400921" y="310211"/>
                    <a:pt x="407039" y="258741"/>
                    <a:pt x="416037" y="208224"/>
                  </a:cubicBezTo>
                  <a:close/>
                  <a:moveTo>
                    <a:pt x="566146" y="207698"/>
                  </a:moveTo>
                  <a:cubicBezTo>
                    <a:pt x="549725" y="213795"/>
                    <a:pt x="536837" y="226697"/>
                    <a:pt x="530887" y="242997"/>
                  </a:cubicBezTo>
                  <a:cubicBezTo>
                    <a:pt x="520125" y="285993"/>
                    <a:pt x="527207" y="334768"/>
                    <a:pt x="529618" y="378792"/>
                  </a:cubicBezTo>
                  <a:lnTo>
                    <a:pt x="533324" y="388219"/>
                  </a:lnTo>
                  <a:cubicBezTo>
                    <a:pt x="542615" y="387893"/>
                    <a:pt x="553784" y="376937"/>
                    <a:pt x="558899" y="370995"/>
                  </a:cubicBezTo>
                  <a:cubicBezTo>
                    <a:pt x="596556" y="329628"/>
                    <a:pt x="589969" y="272518"/>
                    <a:pt x="581871" y="223730"/>
                  </a:cubicBezTo>
                  <a:cubicBezTo>
                    <a:pt x="581224" y="219970"/>
                    <a:pt x="579333" y="203749"/>
                    <a:pt x="566158" y="207710"/>
                  </a:cubicBezTo>
                  <a:close/>
                </a:path>
              </a:pathLst>
            </a:custGeom>
            <a:solidFill>
              <a:srgbClr val="1D1D1B"/>
            </a:solidFill>
            <a:ln w="12664" cap="flat">
              <a:noFill/>
              <a:prstDash val="solid"/>
              <a:miter/>
            </a:ln>
          </p:spPr>
          <p:txBody>
            <a:bodyPr rtlCol="0" anchor="ctr"/>
            <a:lstStyle/>
            <a:p>
              <a:endParaRPr lang="en-US">
                <a:latin typeface="+mj-lt"/>
              </a:endParaRPr>
            </a:p>
          </p:txBody>
        </p:sp>
        <p:sp>
          <p:nvSpPr>
            <p:cNvPr id="25" name="Freeform 71">
              <a:extLst>
                <a:ext uri="{FF2B5EF4-FFF2-40B4-BE49-F238E27FC236}">
                  <a16:creationId xmlns:a16="http://schemas.microsoft.com/office/drawing/2014/main" id="{17091D55-F1D5-F422-EEFE-A8B8672ECCC1}"/>
                </a:ext>
              </a:extLst>
            </p:cNvPr>
            <p:cNvSpPr/>
            <p:nvPr/>
          </p:nvSpPr>
          <p:spPr>
            <a:xfrm>
              <a:off x="7944028" y="412486"/>
              <a:ext cx="622096" cy="420416"/>
            </a:xfrm>
            <a:custGeom>
              <a:avLst/>
              <a:gdLst>
                <a:gd name="connsiteX0" fmla="*/ 244048 w 622096"/>
                <a:gd name="connsiteY0" fmla="*/ 5277 h 420416"/>
                <a:gd name="connsiteX1" fmla="*/ 190170 w 622096"/>
                <a:gd name="connsiteY1" fmla="*/ 115337 h 420416"/>
                <a:gd name="connsiteX2" fmla="*/ 166055 w 622096"/>
                <a:gd name="connsiteY2" fmla="*/ 372775 h 420416"/>
                <a:gd name="connsiteX3" fmla="*/ 174496 w 622096"/>
                <a:gd name="connsiteY3" fmla="*/ 380296 h 420416"/>
                <a:gd name="connsiteX4" fmla="*/ 219273 w 622096"/>
                <a:gd name="connsiteY4" fmla="*/ 341437 h 420416"/>
                <a:gd name="connsiteX5" fmla="*/ 302545 w 622096"/>
                <a:gd name="connsiteY5" fmla="*/ 23667 h 420416"/>
                <a:gd name="connsiteX6" fmla="*/ 333806 w 622096"/>
                <a:gd name="connsiteY6" fmla="*/ 514 h 420416"/>
                <a:gd name="connsiteX7" fmla="*/ 335633 w 622096"/>
                <a:gd name="connsiteY7" fmla="*/ 7095 h 420416"/>
                <a:gd name="connsiteX8" fmla="*/ 302964 w 622096"/>
                <a:gd name="connsiteY8" fmla="*/ 49013 h 420416"/>
                <a:gd name="connsiteX9" fmla="*/ 293445 w 622096"/>
                <a:gd name="connsiteY9" fmla="*/ 78835 h 420416"/>
                <a:gd name="connsiteX10" fmla="*/ 257717 w 622096"/>
                <a:gd name="connsiteY10" fmla="*/ 371772 h 420416"/>
                <a:gd name="connsiteX11" fmla="*/ 269927 w 622096"/>
                <a:gd name="connsiteY11" fmla="*/ 380296 h 420416"/>
                <a:gd name="connsiteX12" fmla="*/ 308980 w 622096"/>
                <a:gd name="connsiteY12" fmla="*/ 342239 h 420416"/>
                <a:gd name="connsiteX13" fmla="*/ 378228 w 622096"/>
                <a:gd name="connsiteY13" fmla="*/ 200690 h 420416"/>
                <a:gd name="connsiteX14" fmla="*/ 448161 w 622096"/>
                <a:gd name="connsiteY14" fmla="*/ 198284 h 420416"/>
                <a:gd name="connsiteX15" fmla="*/ 429681 w 622096"/>
                <a:gd name="connsiteY15" fmla="*/ 360202 h 420416"/>
                <a:gd name="connsiteX16" fmla="*/ 437030 w 622096"/>
                <a:gd name="connsiteY16" fmla="*/ 382766 h 420416"/>
                <a:gd name="connsiteX17" fmla="*/ 444645 w 622096"/>
                <a:gd name="connsiteY17" fmla="*/ 380961 h 420416"/>
                <a:gd name="connsiteX18" fmla="*/ 491339 w 622096"/>
                <a:gd name="connsiteY18" fmla="*/ 333590 h 420416"/>
                <a:gd name="connsiteX19" fmla="*/ 528362 w 622096"/>
                <a:gd name="connsiteY19" fmla="*/ 108092 h 420416"/>
                <a:gd name="connsiteX20" fmla="*/ 593332 w 622096"/>
                <a:gd name="connsiteY20" fmla="*/ 24369 h 420416"/>
                <a:gd name="connsiteX21" fmla="*/ 580031 w 622096"/>
                <a:gd name="connsiteY21" fmla="*/ 39574 h 420416"/>
                <a:gd name="connsiteX22" fmla="*/ 525455 w 622096"/>
                <a:gd name="connsiteY22" fmla="*/ 215808 h 420416"/>
                <a:gd name="connsiteX23" fmla="*/ 546295 w 622096"/>
                <a:gd name="connsiteY23" fmla="*/ 207560 h 420416"/>
                <a:gd name="connsiteX24" fmla="*/ 590083 w 622096"/>
                <a:gd name="connsiteY24" fmla="*/ 171420 h 420416"/>
                <a:gd name="connsiteX25" fmla="*/ 609717 w 622096"/>
                <a:gd name="connsiteY25" fmla="*/ 190324 h 420416"/>
                <a:gd name="connsiteX26" fmla="*/ 587443 w 622096"/>
                <a:gd name="connsiteY26" fmla="*/ 352167 h 420416"/>
                <a:gd name="connsiteX27" fmla="*/ 515835 w 622096"/>
                <a:gd name="connsiteY27" fmla="*/ 418842 h 420416"/>
                <a:gd name="connsiteX28" fmla="*/ 500604 w 622096"/>
                <a:gd name="connsiteY28" fmla="*/ 417338 h 420416"/>
                <a:gd name="connsiteX29" fmla="*/ 491986 w 622096"/>
                <a:gd name="connsiteY29" fmla="*/ 356003 h 420416"/>
                <a:gd name="connsiteX30" fmla="*/ 489169 w 622096"/>
                <a:gd name="connsiteY30" fmla="*/ 354097 h 420416"/>
                <a:gd name="connsiteX31" fmla="*/ 416824 w 622096"/>
                <a:gd name="connsiteY31" fmla="*/ 419983 h 420416"/>
                <a:gd name="connsiteX32" fmla="*/ 408359 w 622096"/>
                <a:gd name="connsiteY32" fmla="*/ 418040 h 420416"/>
                <a:gd name="connsiteX33" fmla="*/ 398307 w 622096"/>
                <a:gd name="connsiteY33" fmla="*/ 380434 h 420416"/>
                <a:gd name="connsiteX34" fmla="*/ 344137 w 622096"/>
                <a:gd name="connsiteY34" fmla="*/ 420246 h 420416"/>
                <a:gd name="connsiteX35" fmla="*/ 325454 w 622096"/>
                <a:gd name="connsiteY35" fmla="*/ 400014 h 420416"/>
                <a:gd name="connsiteX36" fmla="*/ 310681 w 622096"/>
                <a:gd name="connsiteY36" fmla="*/ 359036 h 420416"/>
                <a:gd name="connsiteX37" fmla="*/ 242144 w 622096"/>
                <a:gd name="connsiteY37" fmla="*/ 419331 h 420416"/>
                <a:gd name="connsiteX38" fmla="*/ 228183 w 622096"/>
                <a:gd name="connsiteY38" fmla="*/ 408864 h 420416"/>
                <a:gd name="connsiteX39" fmla="*/ 220009 w 622096"/>
                <a:gd name="connsiteY39" fmla="*/ 358222 h 420416"/>
                <a:gd name="connsiteX40" fmla="*/ 216202 w 622096"/>
                <a:gd name="connsiteY40" fmla="*/ 359149 h 420416"/>
                <a:gd name="connsiteX41" fmla="*/ 149607 w 622096"/>
                <a:gd name="connsiteY41" fmla="*/ 419469 h 420416"/>
                <a:gd name="connsiteX42" fmla="*/ 136470 w 622096"/>
                <a:gd name="connsiteY42" fmla="*/ 410920 h 420416"/>
                <a:gd name="connsiteX43" fmla="*/ 127586 w 622096"/>
                <a:gd name="connsiteY43" fmla="*/ 346188 h 420416"/>
                <a:gd name="connsiteX44" fmla="*/ 123778 w 622096"/>
                <a:gd name="connsiteY44" fmla="*/ 346188 h 420416"/>
                <a:gd name="connsiteX45" fmla="*/ 29616 w 622096"/>
                <a:gd name="connsiteY45" fmla="*/ 420309 h 420416"/>
                <a:gd name="connsiteX46" fmla="*/ 19298 w 622096"/>
                <a:gd name="connsiteY46" fmla="*/ 412713 h 420416"/>
                <a:gd name="connsiteX47" fmla="*/ 41090 w 622096"/>
                <a:gd name="connsiteY47" fmla="*/ 197431 h 420416"/>
                <a:gd name="connsiteX48" fmla="*/ 83177 w 622096"/>
                <a:gd name="connsiteY48" fmla="*/ 178829 h 420416"/>
                <a:gd name="connsiteX49" fmla="*/ 102380 w 622096"/>
                <a:gd name="connsiteY49" fmla="*/ 208287 h 420416"/>
                <a:gd name="connsiteX50" fmla="*/ 102100 w 622096"/>
                <a:gd name="connsiteY50" fmla="*/ 239199 h 420416"/>
                <a:gd name="connsiteX51" fmla="*/ 36368 w 622096"/>
                <a:gd name="connsiteY51" fmla="*/ 299506 h 420416"/>
                <a:gd name="connsiteX52" fmla="*/ 46002 w 622096"/>
                <a:gd name="connsiteY52" fmla="*/ 383906 h 420416"/>
                <a:gd name="connsiteX53" fmla="*/ 58427 w 622096"/>
                <a:gd name="connsiteY53" fmla="*/ 385724 h 420416"/>
                <a:gd name="connsiteX54" fmla="*/ 60166 w 622096"/>
                <a:gd name="connsiteY54" fmla="*/ 384044 h 420416"/>
                <a:gd name="connsiteX55" fmla="*/ 127891 w 622096"/>
                <a:gd name="connsiteY55" fmla="*/ 320866 h 420416"/>
                <a:gd name="connsiteX56" fmla="*/ 202240 w 622096"/>
                <a:gd name="connsiteY56" fmla="*/ 37681 h 420416"/>
                <a:gd name="connsiteX57" fmla="*/ 242956 w 622096"/>
                <a:gd name="connsiteY57" fmla="*/ 0 h 420416"/>
                <a:gd name="connsiteX58" fmla="*/ 244860 w 622096"/>
                <a:gd name="connsiteY58" fmla="*/ 4049 h 420416"/>
                <a:gd name="connsiteX59" fmla="*/ 244048 w 622096"/>
                <a:gd name="connsiteY59" fmla="*/ 5277 h 420416"/>
                <a:gd name="connsiteX60" fmla="*/ 77123 w 622096"/>
                <a:gd name="connsiteY60" fmla="*/ 185523 h 420416"/>
                <a:gd name="connsiteX61" fmla="*/ 63834 w 622096"/>
                <a:gd name="connsiteY61" fmla="*/ 193833 h 420416"/>
                <a:gd name="connsiteX62" fmla="*/ 39415 w 622096"/>
                <a:gd name="connsiteY62" fmla="*/ 281681 h 420416"/>
                <a:gd name="connsiteX63" fmla="*/ 80346 w 622096"/>
                <a:gd name="connsiteY63" fmla="*/ 246444 h 420416"/>
                <a:gd name="connsiteX64" fmla="*/ 86451 w 622096"/>
                <a:gd name="connsiteY64" fmla="*/ 197795 h 420416"/>
                <a:gd name="connsiteX65" fmla="*/ 77123 w 622096"/>
                <a:gd name="connsiteY65" fmla="*/ 185523 h 420416"/>
                <a:gd name="connsiteX66" fmla="*/ 415022 w 622096"/>
                <a:gd name="connsiteY66" fmla="*/ 203548 h 420416"/>
                <a:gd name="connsiteX67" fmla="*/ 378126 w 622096"/>
                <a:gd name="connsiteY67" fmla="*/ 212574 h 420416"/>
                <a:gd name="connsiteX68" fmla="*/ 346815 w 622096"/>
                <a:gd name="connsiteY68" fmla="*/ 331283 h 420416"/>
                <a:gd name="connsiteX69" fmla="*/ 360522 w 622096"/>
                <a:gd name="connsiteY69" fmla="*/ 382001 h 420416"/>
                <a:gd name="connsiteX70" fmla="*/ 395641 w 622096"/>
                <a:gd name="connsiteY70" fmla="*/ 361706 h 420416"/>
                <a:gd name="connsiteX71" fmla="*/ 415948 w 622096"/>
                <a:gd name="connsiteY71" fmla="*/ 208237 h 420416"/>
                <a:gd name="connsiteX72" fmla="*/ 566057 w 622096"/>
                <a:gd name="connsiteY72" fmla="*/ 207710 h 420416"/>
                <a:gd name="connsiteX73" fmla="*/ 530798 w 622096"/>
                <a:gd name="connsiteY73" fmla="*/ 243009 h 420416"/>
                <a:gd name="connsiteX74" fmla="*/ 529529 w 622096"/>
                <a:gd name="connsiteY74" fmla="*/ 378817 h 420416"/>
                <a:gd name="connsiteX75" fmla="*/ 533235 w 622096"/>
                <a:gd name="connsiteY75" fmla="*/ 388244 h 420416"/>
                <a:gd name="connsiteX76" fmla="*/ 558810 w 622096"/>
                <a:gd name="connsiteY76" fmla="*/ 371020 h 420416"/>
                <a:gd name="connsiteX77" fmla="*/ 581795 w 622096"/>
                <a:gd name="connsiteY77" fmla="*/ 223743 h 420416"/>
                <a:gd name="connsiteX78" fmla="*/ 566095 w 622096"/>
                <a:gd name="connsiteY78" fmla="*/ 207710 h 420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22096" h="420416">
                  <a:moveTo>
                    <a:pt x="244048" y="5277"/>
                  </a:moveTo>
                  <a:cubicBezTo>
                    <a:pt x="206061" y="28355"/>
                    <a:pt x="203738" y="76114"/>
                    <a:pt x="190170" y="115337"/>
                  </a:cubicBezTo>
                  <a:cubicBezTo>
                    <a:pt x="169609" y="194786"/>
                    <a:pt x="154633" y="286457"/>
                    <a:pt x="166055" y="372775"/>
                  </a:cubicBezTo>
                  <a:cubicBezTo>
                    <a:pt x="167605" y="376390"/>
                    <a:pt x="170696" y="379144"/>
                    <a:pt x="174496" y="380296"/>
                  </a:cubicBezTo>
                  <a:cubicBezTo>
                    <a:pt x="191129" y="369398"/>
                    <a:pt x="206191" y="356326"/>
                    <a:pt x="219273" y="341437"/>
                  </a:cubicBezTo>
                  <a:cubicBezTo>
                    <a:pt x="227853" y="228143"/>
                    <a:pt x="248757" y="118760"/>
                    <a:pt x="302545" y="23667"/>
                  </a:cubicBezTo>
                  <a:cubicBezTo>
                    <a:pt x="309829" y="12508"/>
                    <a:pt x="320920" y="4295"/>
                    <a:pt x="333806" y="514"/>
                  </a:cubicBezTo>
                  <a:cubicBezTo>
                    <a:pt x="336636" y="514"/>
                    <a:pt x="337613" y="5227"/>
                    <a:pt x="335633" y="7095"/>
                  </a:cubicBezTo>
                  <a:cubicBezTo>
                    <a:pt x="316443" y="14027"/>
                    <a:pt x="309780" y="30361"/>
                    <a:pt x="302964" y="49013"/>
                  </a:cubicBezTo>
                  <a:cubicBezTo>
                    <a:pt x="299197" y="58759"/>
                    <a:pt x="296018" y="68717"/>
                    <a:pt x="293445" y="78835"/>
                  </a:cubicBezTo>
                  <a:cubicBezTo>
                    <a:pt x="267185" y="170443"/>
                    <a:pt x="246358" y="270462"/>
                    <a:pt x="257717" y="371772"/>
                  </a:cubicBezTo>
                  <a:cubicBezTo>
                    <a:pt x="259570" y="376473"/>
                    <a:pt x="264241" y="382139"/>
                    <a:pt x="269927" y="380296"/>
                  </a:cubicBezTo>
                  <a:cubicBezTo>
                    <a:pt x="285184" y="370066"/>
                    <a:pt x="298419" y="357169"/>
                    <a:pt x="308980" y="342239"/>
                  </a:cubicBezTo>
                  <a:cubicBezTo>
                    <a:pt x="303214" y="285938"/>
                    <a:pt x="329984" y="231218"/>
                    <a:pt x="378228" y="200690"/>
                  </a:cubicBezTo>
                  <a:cubicBezTo>
                    <a:pt x="399780" y="188792"/>
                    <a:pt x="425822" y="187895"/>
                    <a:pt x="448161" y="198284"/>
                  </a:cubicBezTo>
                  <a:cubicBezTo>
                    <a:pt x="436742" y="251544"/>
                    <a:pt x="430553" y="305768"/>
                    <a:pt x="429681" y="360202"/>
                  </a:cubicBezTo>
                  <a:cubicBezTo>
                    <a:pt x="430316" y="366708"/>
                    <a:pt x="429529" y="377990"/>
                    <a:pt x="437030" y="382766"/>
                  </a:cubicBezTo>
                  <a:lnTo>
                    <a:pt x="444645" y="380961"/>
                  </a:lnTo>
                  <a:lnTo>
                    <a:pt x="491339" y="333590"/>
                  </a:lnTo>
                  <a:cubicBezTo>
                    <a:pt x="498791" y="257720"/>
                    <a:pt x="511158" y="182400"/>
                    <a:pt x="528362" y="108092"/>
                  </a:cubicBezTo>
                  <a:cubicBezTo>
                    <a:pt x="539048" y="74472"/>
                    <a:pt x="563963" y="27979"/>
                    <a:pt x="593332" y="24369"/>
                  </a:cubicBezTo>
                  <a:cubicBezTo>
                    <a:pt x="604171" y="33845"/>
                    <a:pt x="592228" y="28129"/>
                    <a:pt x="580031" y="39574"/>
                  </a:cubicBezTo>
                  <a:cubicBezTo>
                    <a:pt x="544722" y="77982"/>
                    <a:pt x="531725" y="152154"/>
                    <a:pt x="525455" y="215808"/>
                  </a:cubicBezTo>
                  <a:cubicBezTo>
                    <a:pt x="532702" y="217763"/>
                    <a:pt x="534073" y="216949"/>
                    <a:pt x="546295" y="207560"/>
                  </a:cubicBezTo>
                  <a:lnTo>
                    <a:pt x="590083" y="171420"/>
                  </a:lnTo>
                  <a:cubicBezTo>
                    <a:pt x="600465" y="170568"/>
                    <a:pt x="606011" y="182802"/>
                    <a:pt x="609717" y="190324"/>
                  </a:cubicBezTo>
                  <a:cubicBezTo>
                    <a:pt x="632177" y="244318"/>
                    <a:pt x="623681" y="306053"/>
                    <a:pt x="587443" y="352167"/>
                  </a:cubicBezTo>
                  <a:cubicBezTo>
                    <a:pt x="569021" y="379484"/>
                    <a:pt x="544530" y="402288"/>
                    <a:pt x="515835" y="418842"/>
                  </a:cubicBezTo>
                  <a:cubicBezTo>
                    <a:pt x="504412" y="422603"/>
                    <a:pt x="501340" y="418027"/>
                    <a:pt x="500604" y="417338"/>
                  </a:cubicBezTo>
                  <a:cubicBezTo>
                    <a:pt x="492189" y="406846"/>
                    <a:pt x="493674" y="378479"/>
                    <a:pt x="491986" y="356003"/>
                  </a:cubicBezTo>
                  <a:lnTo>
                    <a:pt x="489169" y="354097"/>
                  </a:lnTo>
                  <a:lnTo>
                    <a:pt x="416824" y="419983"/>
                  </a:lnTo>
                  <a:cubicBezTo>
                    <a:pt x="414946" y="419983"/>
                    <a:pt x="410021" y="421237"/>
                    <a:pt x="408359" y="418040"/>
                  </a:cubicBezTo>
                  <a:cubicBezTo>
                    <a:pt x="402734" y="406208"/>
                    <a:pt x="399327" y="393467"/>
                    <a:pt x="398307" y="380434"/>
                  </a:cubicBezTo>
                  <a:cubicBezTo>
                    <a:pt x="379269" y="391515"/>
                    <a:pt x="363112" y="409165"/>
                    <a:pt x="344137" y="420246"/>
                  </a:cubicBezTo>
                  <a:cubicBezTo>
                    <a:pt x="333730" y="421086"/>
                    <a:pt x="329046" y="408463"/>
                    <a:pt x="325454" y="400014"/>
                  </a:cubicBezTo>
                  <a:cubicBezTo>
                    <a:pt x="317319" y="379444"/>
                    <a:pt x="316570" y="374668"/>
                    <a:pt x="310681" y="359036"/>
                  </a:cubicBezTo>
                  <a:lnTo>
                    <a:pt x="242144" y="419331"/>
                  </a:lnTo>
                  <a:cubicBezTo>
                    <a:pt x="234529" y="423017"/>
                    <a:pt x="230137" y="414869"/>
                    <a:pt x="228183" y="408864"/>
                  </a:cubicBezTo>
                  <a:cubicBezTo>
                    <a:pt x="224332" y="392180"/>
                    <a:pt x="221602" y="375262"/>
                    <a:pt x="220009" y="358222"/>
                  </a:cubicBezTo>
                  <a:lnTo>
                    <a:pt x="216202" y="359149"/>
                  </a:lnTo>
                  <a:lnTo>
                    <a:pt x="149607" y="419469"/>
                  </a:lnTo>
                  <a:cubicBezTo>
                    <a:pt x="142550" y="421575"/>
                    <a:pt x="139986" y="418817"/>
                    <a:pt x="136470" y="410920"/>
                  </a:cubicBezTo>
                  <a:cubicBezTo>
                    <a:pt x="130416" y="397332"/>
                    <a:pt x="130696" y="366946"/>
                    <a:pt x="127586" y="346188"/>
                  </a:cubicBezTo>
                  <a:lnTo>
                    <a:pt x="123778" y="346188"/>
                  </a:lnTo>
                  <a:cubicBezTo>
                    <a:pt x="92404" y="370268"/>
                    <a:pt x="64722" y="401882"/>
                    <a:pt x="29616" y="420309"/>
                  </a:cubicBezTo>
                  <a:cubicBezTo>
                    <a:pt x="24895" y="421186"/>
                    <a:pt x="21151" y="416548"/>
                    <a:pt x="19298" y="412713"/>
                  </a:cubicBezTo>
                  <a:cubicBezTo>
                    <a:pt x="-11265" y="346839"/>
                    <a:pt x="-6619" y="252261"/>
                    <a:pt x="41090" y="197431"/>
                  </a:cubicBezTo>
                  <a:cubicBezTo>
                    <a:pt x="46839" y="191364"/>
                    <a:pt x="63859" y="170656"/>
                    <a:pt x="83177" y="178829"/>
                  </a:cubicBezTo>
                  <a:cubicBezTo>
                    <a:pt x="94066" y="182589"/>
                    <a:pt x="99181" y="191226"/>
                    <a:pt x="102380" y="208287"/>
                  </a:cubicBezTo>
                  <a:cubicBezTo>
                    <a:pt x="105640" y="218355"/>
                    <a:pt x="105542" y="229191"/>
                    <a:pt x="102100" y="239199"/>
                  </a:cubicBezTo>
                  <a:lnTo>
                    <a:pt x="36368" y="299506"/>
                  </a:lnTo>
                  <a:cubicBezTo>
                    <a:pt x="31849" y="327984"/>
                    <a:pt x="35177" y="357137"/>
                    <a:pt x="46002" y="383906"/>
                  </a:cubicBezTo>
                  <a:cubicBezTo>
                    <a:pt x="48926" y="387796"/>
                    <a:pt x="54488" y="388610"/>
                    <a:pt x="58427" y="385724"/>
                  </a:cubicBezTo>
                  <a:cubicBezTo>
                    <a:pt x="59086" y="385249"/>
                    <a:pt x="59671" y="384684"/>
                    <a:pt x="60166" y="384044"/>
                  </a:cubicBezTo>
                  <a:lnTo>
                    <a:pt x="127891" y="320866"/>
                  </a:lnTo>
                  <a:cubicBezTo>
                    <a:pt x="138235" y="220734"/>
                    <a:pt x="157082" y="123460"/>
                    <a:pt x="202240" y="37681"/>
                  </a:cubicBezTo>
                  <a:cubicBezTo>
                    <a:pt x="207584" y="27791"/>
                    <a:pt x="225314" y="752"/>
                    <a:pt x="242956" y="0"/>
                  </a:cubicBezTo>
                  <a:cubicBezTo>
                    <a:pt x="244613" y="600"/>
                    <a:pt x="245466" y="2412"/>
                    <a:pt x="244860" y="4049"/>
                  </a:cubicBezTo>
                  <a:cubicBezTo>
                    <a:pt x="244685" y="4513"/>
                    <a:pt x="244408" y="4933"/>
                    <a:pt x="244048" y="5277"/>
                  </a:cubicBezTo>
                  <a:close/>
                  <a:moveTo>
                    <a:pt x="77123" y="185523"/>
                  </a:moveTo>
                  <a:cubicBezTo>
                    <a:pt x="72174" y="187387"/>
                    <a:pt x="67656" y="190212"/>
                    <a:pt x="63834" y="193833"/>
                  </a:cubicBezTo>
                  <a:cubicBezTo>
                    <a:pt x="49780" y="221191"/>
                    <a:pt x="41473" y="251072"/>
                    <a:pt x="39415" y="281681"/>
                  </a:cubicBezTo>
                  <a:cubicBezTo>
                    <a:pt x="54543" y="269772"/>
                    <a:pt x="67959" y="257588"/>
                    <a:pt x="80346" y="246444"/>
                  </a:cubicBezTo>
                  <a:lnTo>
                    <a:pt x="86451" y="197795"/>
                  </a:lnTo>
                  <a:cubicBezTo>
                    <a:pt x="89383" y="190324"/>
                    <a:pt x="84738" y="185598"/>
                    <a:pt x="77123" y="185523"/>
                  </a:cubicBezTo>
                  <a:close/>
                  <a:moveTo>
                    <a:pt x="415022" y="203548"/>
                  </a:moveTo>
                  <a:cubicBezTo>
                    <a:pt x="401860" y="195939"/>
                    <a:pt x="388623" y="202759"/>
                    <a:pt x="378126" y="212574"/>
                  </a:cubicBezTo>
                  <a:cubicBezTo>
                    <a:pt x="347665" y="241405"/>
                    <a:pt x="343414" y="289039"/>
                    <a:pt x="346815" y="331283"/>
                  </a:cubicBezTo>
                  <a:cubicBezTo>
                    <a:pt x="346815" y="335320"/>
                    <a:pt x="349036" y="369528"/>
                    <a:pt x="360522" y="382001"/>
                  </a:cubicBezTo>
                  <a:cubicBezTo>
                    <a:pt x="374826" y="383255"/>
                    <a:pt x="386122" y="370055"/>
                    <a:pt x="395641" y="361706"/>
                  </a:cubicBezTo>
                  <a:cubicBezTo>
                    <a:pt x="400832" y="310224"/>
                    <a:pt x="406950" y="258754"/>
                    <a:pt x="415948" y="208237"/>
                  </a:cubicBezTo>
                  <a:close/>
                  <a:moveTo>
                    <a:pt x="566057" y="207710"/>
                  </a:moveTo>
                  <a:cubicBezTo>
                    <a:pt x="549631" y="213798"/>
                    <a:pt x="536740" y="226705"/>
                    <a:pt x="530798" y="243009"/>
                  </a:cubicBezTo>
                  <a:cubicBezTo>
                    <a:pt x="520036" y="286006"/>
                    <a:pt x="527118" y="334781"/>
                    <a:pt x="529529" y="378817"/>
                  </a:cubicBezTo>
                  <a:lnTo>
                    <a:pt x="533235" y="388244"/>
                  </a:lnTo>
                  <a:cubicBezTo>
                    <a:pt x="542526" y="387918"/>
                    <a:pt x="553695" y="376962"/>
                    <a:pt x="558810" y="371020"/>
                  </a:cubicBezTo>
                  <a:cubicBezTo>
                    <a:pt x="596467" y="329654"/>
                    <a:pt x="589880" y="272530"/>
                    <a:pt x="581795" y="223743"/>
                  </a:cubicBezTo>
                  <a:cubicBezTo>
                    <a:pt x="581160" y="219982"/>
                    <a:pt x="579257" y="203761"/>
                    <a:pt x="566095" y="207710"/>
                  </a:cubicBezTo>
                  <a:close/>
                </a:path>
              </a:pathLst>
            </a:custGeom>
            <a:solidFill>
              <a:srgbClr val="FFFFFF"/>
            </a:solidFill>
            <a:ln w="12664" cap="flat">
              <a:noFill/>
              <a:prstDash val="solid"/>
              <a:miter/>
            </a:ln>
          </p:spPr>
          <p:txBody>
            <a:bodyPr rtlCol="0" anchor="ctr"/>
            <a:lstStyle/>
            <a:p>
              <a:endParaRPr lang="en-US">
                <a:latin typeface="+mj-lt"/>
              </a:endParaRPr>
            </a:p>
          </p:txBody>
        </p:sp>
      </p:grpSp>
    </p:spTree>
    <p:extLst>
      <p:ext uri="{BB962C8B-B14F-4D97-AF65-F5344CB8AC3E}">
        <p14:creationId xmlns:p14="http://schemas.microsoft.com/office/powerpoint/2010/main" val="325083076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617EFF32-D96F-E6A4-DF55-8299315A68C8}"/>
              </a:ext>
            </a:extLst>
          </p:cNvPr>
          <p:cNvSpPr/>
          <p:nvPr/>
        </p:nvSpPr>
        <p:spPr>
          <a:xfrm>
            <a:off x="4240058" y="-1634890"/>
            <a:ext cx="11317337" cy="10542329"/>
          </a:xfrm>
          <a:custGeom>
            <a:avLst/>
            <a:gdLst>
              <a:gd name="connsiteX0" fmla="*/ 4715513 w 9431114"/>
              <a:gd name="connsiteY0" fmla="*/ 8785273 h 8785274"/>
              <a:gd name="connsiteX1" fmla="*/ 4715602 w 9431114"/>
              <a:gd name="connsiteY1" fmla="*/ 8785273 h 8785274"/>
              <a:gd name="connsiteX2" fmla="*/ 4715557 w 9431114"/>
              <a:gd name="connsiteY2" fmla="*/ 8785274 h 8785274"/>
              <a:gd name="connsiteX3" fmla="*/ 4715557 w 9431114"/>
              <a:gd name="connsiteY3" fmla="*/ 0 h 8785274"/>
              <a:gd name="connsiteX4" fmla="*/ 9431114 w 9431114"/>
              <a:gd name="connsiteY4" fmla="*/ 4392637 h 8785274"/>
              <a:gd name="connsiteX5" fmla="*/ 8748427 w 9431114"/>
              <a:gd name="connsiteY5" fmla="*/ 6670379 h 8785274"/>
              <a:gd name="connsiteX6" fmla="*/ 8713146 w 9431114"/>
              <a:gd name="connsiteY6" fmla="*/ 6721643 h 8785274"/>
              <a:gd name="connsiteX7" fmla="*/ 717968 w 9431114"/>
              <a:gd name="connsiteY7" fmla="*/ 6721643 h 8785274"/>
              <a:gd name="connsiteX8" fmla="*/ 682687 w 9431114"/>
              <a:gd name="connsiteY8" fmla="*/ 6670379 h 8785274"/>
              <a:gd name="connsiteX9" fmla="*/ 0 w 9431114"/>
              <a:gd name="connsiteY9" fmla="*/ 4392637 h 8785274"/>
              <a:gd name="connsiteX10" fmla="*/ 4715557 w 9431114"/>
              <a:gd name="connsiteY10" fmla="*/ 0 h 878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1114" h="8785274">
                <a:moveTo>
                  <a:pt x="4715513" y="8785273"/>
                </a:moveTo>
                <a:lnTo>
                  <a:pt x="4715602" y="8785273"/>
                </a:lnTo>
                <a:lnTo>
                  <a:pt x="4715557" y="8785274"/>
                </a:lnTo>
                <a:close/>
                <a:moveTo>
                  <a:pt x="4715557" y="0"/>
                </a:moveTo>
                <a:cubicBezTo>
                  <a:pt x="7319887" y="0"/>
                  <a:pt x="9431114" y="1966651"/>
                  <a:pt x="9431114" y="4392637"/>
                </a:cubicBezTo>
                <a:cubicBezTo>
                  <a:pt x="9431114" y="5226570"/>
                  <a:pt x="9181643" y="6006226"/>
                  <a:pt x="8748427" y="6670379"/>
                </a:cubicBezTo>
                <a:lnTo>
                  <a:pt x="8713146" y="6721643"/>
                </a:lnTo>
                <a:lnTo>
                  <a:pt x="717968" y="6721643"/>
                </a:lnTo>
                <a:lnTo>
                  <a:pt x="682687" y="6670379"/>
                </a:lnTo>
                <a:cubicBezTo>
                  <a:pt x="249471" y="6006226"/>
                  <a:pt x="0" y="5226570"/>
                  <a:pt x="0" y="4392637"/>
                </a:cubicBezTo>
                <a:cubicBezTo>
                  <a:pt x="0" y="1966651"/>
                  <a:pt x="2111227" y="0"/>
                  <a:pt x="47155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DK"/>
          </a:p>
        </p:txBody>
      </p:sp>
      <p:pic>
        <p:nvPicPr>
          <p:cNvPr id="9" name="Picture 8">
            <a:extLst>
              <a:ext uri="{FF2B5EF4-FFF2-40B4-BE49-F238E27FC236}">
                <a16:creationId xmlns:a16="http://schemas.microsoft.com/office/drawing/2014/main" id="{AD18443C-701A-B030-12E5-DC9CCBD5F16A}"/>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rcRect/>
          <a:stretch/>
        </p:blipFill>
        <p:spPr>
          <a:xfrm>
            <a:off x="6906300" y="1289485"/>
            <a:ext cx="4676101" cy="6033427"/>
          </a:xfrm>
          <a:custGeom>
            <a:avLst/>
            <a:gdLst>
              <a:gd name="connsiteX0" fmla="*/ 2350800 w 3643892"/>
              <a:gd name="connsiteY0" fmla="*/ 0 h 4701600"/>
              <a:gd name="connsiteX1" fmla="*/ 3471331 w 3643892"/>
              <a:gd name="connsiteY1" fmla="*/ 283729 h 4701600"/>
              <a:gd name="connsiteX2" fmla="*/ 3643892 w 3643892"/>
              <a:gd name="connsiteY2" fmla="*/ 388562 h 4701600"/>
              <a:gd name="connsiteX3" fmla="*/ 3643892 w 3643892"/>
              <a:gd name="connsiteY3" fmla="*/ 4313038 h 4701600"/>
              <a:gd name="connsiteX4" fmla="*/ 3471331 w 3643892"/>
              <a:gd name="connsiteY4" fmla="*/ 4417871 h 4701600"/>
              <a:gd name="connsiteX5" fmla="*/ 2350800 w 3643892"/>
              <a:gd name="connsiteY5" fmla="*/ 4701600 h 4701600"/>
              <a:gd name="connsiteX6" fmla="*/ 0 w 3643892"/>
              <a:gd name="connsiteY6" fmla="*/ 2350800 h 4701600"/>
              <a:gd name="connsiteX7" fmla="*/ 2350800 w 3643892"/>
              <a:gd name="connsiteY7" fmla="*/ 0 h 47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3892" h="4701600">
                <a:moveTo>
                  <a:pt x="2350800" y="0"/>
                </a:moveTo>
                <a:cubicBezTo>
                  <a:pt x="2756522" y="0"/>
                  <a:pt x="3138238" y="102782"/>
                  <a:pt x="3471331" y="283729"/>
                </a:cubicBezTo>
                <a:lnTo>
                  <a:pt x="3643892" y="388562"/>
                </a:lnTo>
                <a:lnTo>
                  <a:pt x="3643892" y="4313038"/>
                </a:lnTo>
                <a:lnTo>
                  <a:pt x="3471331" y="4417871"/>
                </a:lnTo>
                <a:cubicBezTo>
                  <a:pt x="3138238" y="4598818"/>
                  <a:pt x="2756522" y="4701600"/>
                  <a:pt x="2350800" y="4701600"/>
                </a:cubicBezTo>
                <a:cubicBezTo>
                  <a:pt x="1052489" y="4701600"/>
                  <a:pt x="0" y="3649111"/>
                  <a:pt x="0" y="2350800"/>
                </a:cubicBezTo>
                <a:cubicBezTo>
                  <a:pt x="0" y="1052489"/>
                  <a:pt x="1052489" y="0"/>
                  <a:pt x="2350800" y="0"/>
                </a:cubicBezTo>
                <a:close/>
              </a:path>
            </a:pathLst>
          </a:custGeom>
        </p:spPr>
      </p:pic>
      <p:sp>
        <p:nvSpPr>
          <p:cNvPr id="3" name="Text Placeholder 2">
            <a:extLst>
              <a:ext uri="{FF2B5EF4-FFF2-40B4-BE49-F238E27FC236}">
                <a16:creationId xmlns:a16="http://schemas.microsoft.com/office/drawing/2014/main" id="{9C575CA1-DC30-8C5E-ED79-BE3FFB78B6BF}"/>
              </a:ext>
            </a:extLst>
          </p:cNvPr>
          <p:cNvSpPr>
            <a:spLocks noGrp="1"/>
          </p:cNvSpPr>
          <p:nvPr>
            <p:ph type="body" sz="half" idx="10"/>
          </p:nvPr>
        </p:nvSpPr>
        <p:spPr/>
        <p:txBody>
          <a:bodyPr/>
          <a:lstStyle/>
          <a:p>
            <a:endParaRPr lang="en-US" dirty="0"/>
          </a:p>
        </p:txBody>
      </p:sp>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p:txBody>
          <a:bodyPr/>
          <a:lstStyle/>
          <a:p>
            <a:r>
              <a:rPr lang="en-US" dirty="0"/>
              <a:t>Dataloggers clearly preferred solution</a:t>
            </a:r>
          </a:p>
        </p:txBody>
      </p:sp>
      <p:sp>
        <p:nvSpPr>
          <p:cNvPr id="2" name="Text Placeholder 1">
            <a:extLst>
              <a:ext uri="{FF2B5EF4-FFF2-40B4-BE49-F238E27FC236}">
                <a16:creationId xmlns:a16="http://schemas.microsoft.com/office/drawing/2014/main" id="{8EE3C808-01C6-37D8-5E27-81EE943F026F}"/>
              </a:ext>
            </a:extLst>
          </p:cNvPr>
          <p:cNvSpPr>
            <a:spLocks noGrp="1"/>
          </p:cNvSpPr>
          <p:nvPr>
            <p:ph type="body" sz="half" idx="2"/>
          </p:nvPr>
        </p:nvSpPr>
        <p:spPr/>
        <p:txBody>
          <a:bodyPr/>
          <a:lstStyle/>
          <a:p>
            <a:endParaRPr lang="en-US"/>
          </a:p>
        </p:txBody>
      </p:sp>
      <p:sp>
        <p:nvSpPr>
          <p:cNvPr id="7" name="Title 5">
            <a:extLst>
              <a:ext uri="{FF2B5EF4-FFF2-40B4-BE49-F238E27FC236}">
                <a16:creationId xmlns:a16="http://schemas.microsoft.com/office/drawing/2014/main" id="{D0A1C4CA-DF3D-7678-AF2E-F73FFFE3D371}"/>
              </a:ext>
            </a:extLst>
          </p:cNvPr>
          <p:cNvSpPr txBox="1">
            <a:spLocks/>
          </p:cNvSpPr>
          <p:nvPr/>
        </p:nvSpPr>
        <p:spPr>
          <a:xfrm>
            <a:off x="2166184" y="3889887"/>
            <a:ext cx="4059968" cy="559868"/>
          </a:xfrm>
          <a:prstGeom prst="rect">
            <a:avLst/>
          </a:prstGeom>
        </p:spPr>
        <p:txBody>
          <a:bodyPr spcFirstLastPara="1" wrap="square" lIns="109710" tIns="109710" rIns="109710" bIns="109710" anchor="b" anchorCtr="0">
            <a:noAutofit/>
          </a:bodyPr>
          <a:lstStyle>
            <a:lvl1pPr lvl="0" algn="l" defTabSz="685800" rtl="0" eaLnBrk="1" fontAlgn="base" hangingPunct="1">
              <a:lnSpc>
                <a:spcPct val="100000"/>
              </a:lnSpc>
              <a:spcBef>
                <a:spcPts val="0"/>
              </a:spcBef>
              <a:spcAft>
                <a:spcPts val="0"/>
              </a:spcAft>
              <a:buSzPts val="2400"/>
              <a:buNone/>
              <a:defRPr sz="2400" b="1" i="0" kern="1200">
                <a:solidFill>
                  <a:schemeClr val="tx1"/>
                </a:solidFill>
                <a:latin typeface="+mj-lt"/>
                <a:ea typeface="+mj-ea"/>
                <a:cs typeface="+mj-cs"/>
              </a:defRPr>
            </a:lvl1pPr>
            <a:lvl2pPr lvl="1"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2pPr>
            <a:lvl3pPr lvl="2"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3pPr>
            <a:lvl4pPr lvl="3"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4pPr>
            <a:lvl5pPr lvl="4"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5pPr>
            <a:lvl6pPr marL="457200" lvl="5"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6pPr>
            <a:lvl7pPr marL="914400" lvl="6"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7pPr>
            <a:lvl8pPr marL="1371600" lvl="7"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8pPr>
            <a:lvl9pPr marL="1828800" lvl="8" algn="l" defTabSz="685800" rtl="0" eaLnBrk="1" fontAlgn="base" hangingPunct="1">
              <a:lnSpc>
                <a:spcPct val="90000"/>
              </a:lnSpc>
              <a:spcBef>
                <a:spcPts val="0"/>
              </a:spcBef>
              <a:spcAft>
                <a:spcPts val="0"/>
              </a:spcAft>
              <a:buClr>
                <a:schemeClr val="lt1"/>
              </a:buClr>
              <a:buSzPts val="4000"/>
              <a:buNone/>
              <a:defRPr sz="4444">
                <a:solidFill>
                  <a:schemeClr val="lt1"/>
                </a:solidFill>
                <a:latin typeface="Calibri Light" panose="020F0302020204030204" pitchFamily="34" charset="0"/>
              </a:defRPr>
            </a:lvl9pPr>
          </a:lstStyle>
          <a:p>
            <a:r>
              <a:rPr lang="en-US" sz="2160" dirty="0"/>
              <a:t>Quick in process installation.</a:t>
            </a:r>
          </a:p>
        </p:txBody>
      </p:sp>
      <p:sp>
        <p:nvSpPr>
          <p:cNvPr id="13" name="TextBox 12">
            <a:extLst>
              <a:ext uri="{FF2B5EF4-FFF2-40B4-BE49-F238E27FC236}">
                <a16:creationId xmlns:a16="http://schemas.microsoft.com/office/drawing/2014/main" id="{0DC36251-3998-6955-2F31-EEB6CD90987F}"/>
              </a:ext>
            </a:extLst>
          </p:cNvPr>
          <p:cNvSpPr txBox="1"/>
          <p:nvPr/>
        </p:nvSpPr>
        <p:spPr>
          <a:xfrm>
            <a:off x="2166184" y="2583295"/>
            <a:ext cx="2557310" cy="369332"/>
          </a:xfrm>
          <a:prstGeom prst="rect">
            <a:avLst/>
          </a:prstGeom>
          <a:noFill/>
        </p:spPr>
        <p:txBody>
          <a:bodyPr wrap="square" rtlCol="0">
            <a:spAutoFit/>
          </a:bodyPr>
          <a:lstStyle/>
          <a:p>
            <a:pPr eaLnBrk="1" fontAlgn="auto" hangingPunct="1">
              <a:spcBef>
                <a:spcPts val="0"/>
              </a:spcBef>
              <a:spcAft>
                <a:spcPts val="0"/>
              </a:spcAft>
            </a:pPr>
            <a:r>
              <a:rPr lang="en-US" b="0" dirty="0">
                <a:solidFill>
                  <a:schemeClr val="tx1">
                    <a:lumMod val="75000"/>
                  </a:schemeClr>
                </a:solidFill>
                <a:latin typeface="+mj-lt"/>
              </a:rPr>
              <a:t>Ease of use.</a:t>
            </a:r>
          </a:p>
        </p:txBody>
      </p:sp>
      <p:sp>
        <p:nvSpPr>
          <p:cNvPr id="14" name="TextBox 13">
            <a:extLst>
              <a:ext uri="{FF2B5EF4-FFF2-40B4-BE49-F238E27FC236}">
                <a16:creationId xmlns:a16="http://schemas.microsoft.com/office/drawing/2014/main" id="{DBCF9CA5-EC4A-6688-D81A-A41359CD597A}"/>
              </a:ext>
            </a:extLst>
          </p:cNvPr>
          <p:cNvSpPr txBox="1"/>
          <p:nvPr/>
        </p:nvSpPr>
        <p:spPr>
          <a:xfrm>
            <a:off x="1789536" y="3207401"/>
            <a:ext cx="3605645" cy="369332"/>
          </a:xfrm>
          <a:prstGeom prst="rect">
            <a:avLst/>
          </a:prstGeom>
          <a:noFill/>
        </p:spPr>
        <p:txBody>
          <a:bodyPr wrap="square" rtlCol="0">
            <a:spAutoFit/>
          </a:bodyPr>
          <a:lstStyle/>
          <a:p>
            <a:pPr eaLnBrk="1" fontAlgn="auto" hangingPunct="1">
              <a:spcBef>
                <a:spcPts val="0"/>
              </a:spcBef>
              <a:spcAft>
                <a:spcPts val="0"/>
              </a:spcAft>
            </a:pPr>
            <a:r>
              <a:rPr lang="en-US" b="0" dirty="0">
                <a:solidFill>
                  <a:schemeClr val="accent1"/>
                </a:solidFill>
                <a:latin typeface="+mj-lt"/>
              </a:rPr>
              <a:t>Multiparameter</a:t>
            </a:r>
            <a:r>
              <a:rPr lang="en-US" b="0" dirty="0">
                <a:solidFill>
                  <a:srgbClr val="95DBF8"/>
                </a:solidFill>
                <a:latin typeface="+mj-lt"/>
              </a:rPr>
              <a:t> </a:t>
            </a:r>
            <a:r>
              <a:rPr lang="en-US" b="0" dirty="0">
                <a:solidFill>
                  <a:srgbClr val="1F6898"/>
                </a:solidFill>
                <a:latin typeface="+mj-lt"/>
              </a:rPr>
              <a:t> </a:t>
            </a:r>
            <a:r>
              <a:rPr lang="en-US" b="0" dirty="0">
                <a:solidFill>
                  <a:schemeClr val="accent4"/>
                </a:solidFill>
                <a:latin typeface="+mj-lt"/>
              </a:rPr>
              <a:t>solution.</a:t>
            </a:r>
          </a:p>
        </p:txBody>
      </p:sp>
    </p:spTree>
    <p:extLst>
      <p:ext uri="{BB962C8B-B14F-4D97-AF65-F5344CB8AC3E}">
        <p14:creationId xmlns:p14="http://schemas.microsoft.com/office/powerpoint/2010/main" val="48528950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6A9ED0E-777A-272F-BB5D-18253996FF6D}"/>
              </a:ext>
            </a:extLst>
          </p:cNvPr>
          <p:cNvSpPr txBox="1">
            <a:spLocks/>
          </p:cNvSpPr>
          <p:nvPr/>
        </p:nvSpPr>
        <p:spPr>
          <a:xfrm>
            <a:off x="3615451" y="2255842"/>
            <a:ext cx="4596170" cy="1531788"/>
          </a:xfrm>
          <a:prstGeom prst="rect">
            <a:avLst/>
          </a:prstGeom>
        </p:spPr>
        <p:txBody>
          <a:bodyPr/>
          <a:lstStyle>
            <a:lvl1pPr marL="171450" indent="-171450" algn="l" defTabSz="685800" rtl="0" eaLnBrk="1" fontAlgn="base" hangingPunct="1">
              <a:lnSpc>
                <a:spcPct val="90000"/>
              </a:lnSpc>
              <a:spcBef>
                <a:spcPts val="750"/>
              </a:spcBef>
              <a:spcAft>
                <a:spcPct val="0"/>
              </a:spcAft>
              <a:buFont typeface="Arial" panose="020B0604020202020204" pitchFamily="34" charset="0"/>
              <a:buNone/>
              <a:defRPr sz="1600" b="1" i="0" kern="1200">
                <a:solidFill>
                  <a:schemeClr val="tx1"/>
                </a:solidFill>
                <a:latin typeface="+mj-lt"/>
                <a:ea typeface="+mn-ea"/>
                <a:cs typeface="+mn-cs"/>
              </a:defRPr>
            </a:lvl1pPr>
            <a:lvl2pPr marL="301497"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200" b="0" i="0" kern="1200">
                <a:solidFill>
                  <a:schemeClr val="bg2">
                    <a:lumMod val="10000"/>
                  </a:schemeClr>
                </a:solidFill>
                <a:latin typeface="+mn-lt"/>
                <a:ea typeface="+mn-ea"/>
                <a:cs typeface="+mn-cs"/>
              </a:defRPr>
            </a:lvl2pPr>
            <a:lvl3pPr marL="599994"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200" b="0" i="0" kern="1200">
                <a:solidFill>
                  <a:schemeClr val="bg2">
                    <a:lumMod val="10000"/>
                  </a:schemeClr>
                </a:solidFill>
                <a:latin typeface="+mn-lt"/>
                <a:ea typeface="+mn-ea"/>
                <a:cs typeface="+mn-cs"/>
              </a:defRPr>
            </a:lvl3pPr>
            <a:lvl4pPr marL="899991"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200" b="0" i="0" kern="1200">
                <a:solidFill>
                  <a:schemeClr val="bg2">
                    <a:lumMod val="10000"/>
                  </a:schemeClr>
                </a:solidFill>
                <a:latin typeface="+mn-lt"/>
                <a:ea typeface="+mn-ea"/>
                <a:cs typeface="+mn-cs"/>
              </a:defRPr>
            </a:lvl4pPr>
            <a:lvl5pPr marL="1199988"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200" b="0" i="0" kern="1200">
                <a:solidFill>
                  <a:schemeClr val="bg2">
                    <a:lumMod val="1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2880" dirty="0">
                <a:solidFill>
                  <a:schemeClr val="tx2"/>
                </a:solidFill>
              </a:rPr>
              <a:t>But</a:t>
            </a:r>
          </a:p>
          <a:p>
            <a:pPr algn="ctr"/>
            <a:r>
              <a:rPr lang="en-US" sz="4320" dirty="0">
                <a:solidFill>
                  <a:schemeClr val="accent1"/>
                </a:solidFill>
              </a:rPr>
              <a:t>Thermocouples</a:t>
            </a:r>
          </a:p>
          <a:p>
            <a:pPr algn="ctr"/>
            <a:r>
              <a:rPr lang="en-US" sz="2880" dirty="0">
                <a:solidFill>
                  <a:schemeClr val="tx2"/>
                </a:solidFill>
              </a:rPr>
              <a:t>won’t die. </a:t>
            </a:r>
          </a:p>
        </p:txBody>
      </p:sp>
      <p:sp>
        <p:nvSpPr>
          <p:cNvPr id="14" name="Freeform: Shape 13">
            <a:extLst>
              <a:ext uri="{FF2B5EF4-FFF2-40B4-BE49-F238E27FC236}">
                <a16:creationId xmlns:a16="http://schemas.microsoft.com/office/drawing/2014/main" id="{67E47ED8-FCE0-1C28-21D1-C926002F00B5}"/>
              </a:ext>
            </a:extLst>
          </p:cNvPr>
          <p:cNvSpPr/>
          <p:nvPr/>
        </p:nvSpPr>
        <p:spPr>
          <a:xfrm>
            <a:off x="-102183" y="708744"/>
            <a:ext cx="11944526" cy="1360760"/>
          </a:xfrm>
          <a:custGeom>
            <a:avLst/>
            <a:gdLst>
              <a:gd name="connsiteX0" fmla="*/ 0 w 9953772"/>
              <a:gd name="connsiteY0" fmla="*/ 506437 h 1133967"/>
              <a:gd name="connsiteX1" fmla="*/ 2089053 w 9953772"/>
              <a:gd name="connsiteY1" fmla="*/ 1125416 h 1133967"/>
              <a:gd name="connsiteX2" fmla="*/ 3509890 w 9953772"/>
              <a:gd name="connsiteY2" fmla="*/ 365760 h 1133967"/>
              <a:gd name="connsiteX3" fmla="*/ 5085471 w 9953772"/>
              <a:gd name="connsiteY3" fmla="*/ 1041009 h 1133967"/>
              <a:gd name="connsiteX4" fmla="*/ 6858000 w 9953772"/>
              <a:gd name="connsiteY4" fmla="*/ 260253 h 1133967"/>
              <a:gd name="connsiteX5" fmla="*/ 8574259 w 9953772"/>
              <a:gd name="connsiteY5" fmla="*/ 1132449 h 1133967"/>
              <a:gd name="connsiteX6" fmla="*/ 9770013 w 9953772"/>
              <a:gd name="connsiteY6" fmla="*/ 0 h 113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53772" h="1133967">
                <a:moveTo>
                  <a:pt x="0" y="506437"/>
                </a:moveTo>
                <a:cubicBezTo>
                  <a:pt x="752035" y="827649"/>
                  <a:pt x="1504071" y="1148862"/>
                  <a:pt x="2089053" y="1125416"/>
                </a:cubicBezTo>
                <a:cubicBezTo>
                  <a:pt x="2674035" y="1101970"/>
                  <a:pt x="3010487" y="379828"/>
                  <a:pt x="3509890" y="365760"/>
                </a:cubicBezTo>
                <a:cubicBezTo>
                  <a:pt x="4009293" y="351692"/>
                  <a:pt x="4527453" y="1058593"/>
                  <a:pt x="5085471" y="1041009"/>
                </a:cubicBezTo>
                <a:cubicBezTo>
                  <a:pt x="5643489" y="1023425"/>
                  <a:pt x="6276535" y="245013"/>
                  <a:pt x="6858000" y="260253"/>
                </a:cubicBezTo>
                <a:cubicBezTo>
                  <a:pt x="7439465" y="275493"/>
                  <a:pt x="8088924" y="1175824"/>
                  <a:pt x="8574259" y="1132449"/>
                </a:cubicBezTo>
                <a:cubicBezTo>
                  <a:pt x="9059594" y="1089074"/>
                  <a:pt x="10449952" y="46892"/>
                  <a:pt x="9770013" y="0"/>
                </a:cubicBezTo>
              </a:path>
            </a:pathLst>
          </a:custGeom>
          <a:ln w="19050"/>
        </p:spPr>
        <p:style>
          <a:lnRef idx="1">
            <a:schemeClr val="accent3"/>
          </a:lnRef>
          <a:fillRef idx="0">
            <a:schemeClr val="accent3"/>
          </a:fillRef>
          <a:effectRef idx="0">
            <a:schemeClr val="accent3"/>
          </a:effectRef>
          <a:fontRef idx="minor">
            <a:schemeClr val="tx1"/>
          </a:fontRef>
        </p:style>
        <p:txBody>
          <a:bodyPr rtlCol="0" anchor="ctr"/>
          <a:lstStyle/>
          <a:p>
            <a:pPr algn="ctr"/>
            <a:endParaRPr lang="en-DK"/>
          </a:p>
        </p:txBody>
      </p:sp>
      <p:sp>
        <p:nvSpPr>
          <p:cNvPr id="15" name="Freeform: Shape 14">
            <a:extLst>
              <a:ext uri="{FF2B5EF4-FFF2-40B4-BE49-F238E27FC236}">
                <a16:creationId xmlns:a16="http://schemas.microsoft.com/office/drawing/2014/main" id="{5A6B40D3-1845-5956-8ACC-526AFBF854E8}"/>
              </a:ext>
            </a:extLst>
          </p:cNvPr>
          <p:cNvSpPr/>
          <p:nvPr/>
        </p:nvSpPr>
        <p:spPr>
          <a:xfrm>
            <a:off x="-102183" y="666440"/>
            <a:ext cx="11944526" cy="1360760"/>
          </a:xfrm>
          <a:custGeom>
            <a:avLst/>
            <a:gdLst>
              <a:gd name="connsiteX0" fmla="*/ 0 w 9953772"/>
              <a:gd name="connsiteY0" fmla="*/ 506437 h 1133967"/>
              <a:gd name="connsiteX1" fmla="*/ 2089053 w 9953772"/>
              <a:gd name="connsiteY1" fmla="*/ 1125416 h 1133967"/>
              <a:gd name="connsiteX2" fmla="*/ 3509890 w 9953772"/>
              <a:gd name="connsiteY2" fmla="*/ 365760 h 1133967"/>
              <a:gd name="connsiteX3" fmla="*/ 5085471 w 9953772"/>
              <a:gd name="connsiteY3" fmla="*/ 1041009 h 1133967"/>
              <a:gd name="connsiteX4" fmla="*/ 6858000 w 9953772"/>
              <a:gd name="connsiteY4" fmla="*/ 260253 h 1133967"/>
              <a:gd name="connsiteX5" fmla="*/ 8574259 w 9953772"/>
              <a:gd name="connsiteY5" fmla="*/ 1132449 h 1133967"/>
              <a:gd name="connsiteX6" fmla="*/ 9770013 w 9953772"/>
              <a:gd name="connsiteY6" fmla="*/ 0 h 113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53772" h="1133967">
                <a:moveTo>
                  <a:pt x="0" y="506437"/>
                </a:moveTo>
                <a:cubicBezTo>
                  <a:pt x="752035" y="827649"/>
                  <a:pt x="1504071" y="1148862"/>
                  <a:pt x="2089053" y="1125416"/>
                </a:cubicBezTo>
                <a:cubicBezTo>
                  <a:pt x="2674035" y="1101970"/>
                  <a:pt x="3010487" y="379828"/>
                  <a:pt x="3509890" y="365760"/>
                </a:cubicBezTo>
                <a:cubicBezTo>
                  <a:pt x="4009293" y="351692"/>
                  <a:pt x="4527453" y="1058593"/>
                  <a:pt x="5085471" y="1041009"/>
                </a:cubicBezTo>
                <a:cubicBezTo>
                  <a:pt x="5643489" y="1023425"/>
                  <a:pt x="6276535" y="245013"/>
                  <a:pt x="6858000" y="260253"/>
                </a:cubicBezTo>
                <a:cubicBezTo>
                  <a:pt x="7439465" y="275493"/>
                  <a:pt x="8088924" y="1175824"/>
                  <a:pt x="8574259" y="1132449"/>
                </a:cubicBezTo>
                <a:cubicBezTo>
                  <a:pt x="9059594" y="1089074"/>
                  <a:pt x="10449952" y="46892"/>
                  <a:pt x="9770013" y="0"/>
                </a:cubicBezTo>
              </a:path>
            </a:pathLst>
          </a:custGeom>
          <a:ln w="19050">
            <a:solidFill>
              <a:schemeClr val="tx1"/>
            </a:solidFill>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DK"/>
          </a:p>
        </p:txBody>
      </p:sp>
      <p:pic>
        <p:nvPicPr>
          <p:cNvPr id="2" name="Picture 1">
            <a:extLst>
              <a:ext uri="{FF2B5EF4-FFF2-40B4-BE49-F238E27FC236}">
                <a16:creationId xmlns:a16="http://schemas.microsoft.com/office/drawing/2014/main" id="{E1182559-E341-47A4-AB72-2739C9F8A661}"/>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8702042" y="2868882"/>
            <a:ext cx="2285340" cy="3433642"/>
          </a:xfrm>
          <a:prstGeom prst="roundRect">
            <a:avLst>
              <a:gd name="adj" fmla="val 8647"/>
            </a:avLst>
          </a:prstGeom>
          <a:ln>
            <a:noFill/>
          </a:ln>
          <a:effectLst/>
          <a:scene3d>
            <a:camera prst="orthographicFront"/>
            <a:lightRig rig="threePt" dir="t"/>
          </a:scene3d>
          <a:sp3d prstMaterial="matte">
            <a:contourClr>
              <a:srgbClr val="969696"/>
            </a:contourClr>
          </a:sp3d>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13A4A0C9-511C-E9BC-ED40-F06F9478D0E1}"/>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82D74541-44EC-727C-2148-D409ED868B1F}"/>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16941037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617EFF32-D96F-E6A4-DF55-8299315A68C8}"/>
              </a:ext>
            </a:extLst>
          </p:cNvPr>
          <p:cNvSpPr/>
          <p:nvPr/>
        </p:nvSpPr>
        <p:spPr>
          <a:xfrm>
            <a:off x="4240058" y="-1634890"/>
            <a:ext cx="11317337" cy="10542329"/>
          </a:xfrm>
          <a:custGeom>
            <a:avLst/>
            <a:gdLst>
              <a:gd name="connsiteX0" fmla="*/ 4715513 w 9431114"/>
              <a:gd name="connsiteY0" fmla="*/ 8785273 h 8785274"/>
              <a:gd name="connsiteX1" fmla="*/ 4715602 w 9431114"/>
              <a:gd name="connsiteY1" fmla="*/ 8785273 h 8785274"/>
              <a:gd name="connsiteX2" fmla="*/ 4715557 w 9431114"/>
              <a:gd name="connsiteY2" fmla="*/ 8785274 h 8785274"/>
              <a:gd name="connsiteX3" fmla="*/ 4715557 w 9431114"/>
              <a:gd name="connsiteY3" fmla="*/ 0 h 8785274"/>
              <a:gd name="connsiteX4" fmla="*/ 9431114 w 9431114"/>
              <a:gd name="connsiteY4" fmla="*/ 4392637 h 8785274"/>
              <a:gd name="connsiteX5" fmla="*/ 8748427 w 9431114"/>
              <a:gd name="connsiteY5" fmla="*/ 6670379 h 8785274"/>
              <a:gd name="connsiteX6" fmla="*/ 8713146 w 9431114"/>
              <a:gd name="connsiteY6" fmla="*/ 6721643 h 8785274"/>
              <a:gd name="connsiteX7" fmla="*/ 717968 w 9431114"/>
              <a:gd name="connsiteY7" fmla="*/ 6721643 h 8785274"/>
              <a:gd name="connsiteX8" fmla="*/ 682687 w 9431114"/>
              <a:gd name="connsiteY8" fmla="*/ 6670379 h 8785274"/>
              <a:gd name="connsiteX9" fmla="*/ 0 w 9431114"/>
              <a:gd name="connsiteY9" fmla="*/ 4392637 h 8785274"/>
              <a:gd name="connsiteX10" fmla="*/ 4715557 w 9431114"/>
              <a:gd name="connsiteY10" fmla="*/ 0 h 878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1114" h="8785274">
                <a:moveTo>
                  <a:pt x="4715513" y="8785273"/>
                </a:moveTo>
                <a:lnTo>
                  <a:pt x="4715602" y="8785273"/>
                </a:lnTo>
                <a:lnTo>
                  <a:pt x="4715557" y="8785274"/>
                </a:lnTo>
                <a:close/>
                <a:moveTo>
                  <a:pt x="4715557" y="0"/>
                </a:moveTo>
                <a:cubicBezTo>
                  <a:pt x="7319887" y="0"/>
                  <a:pt x="9431114" y="1966651"/>
                  <a:pt x="9431114" y="4392637"/>
                </a:cubicBezTo>
                <a:cubicBezTo>
                  <a:pt x="9431114" y="5226570"/>
                  <a:pt x="9181643" y="6006226"/>
                  <a:pt x="8748427" y="6670379"/>
                </a:cubicBezTo>
                <a:lnTo>
                  <a:pt x="8713146" y="6721643"/>
                </a:lnTo>
                <a:lnTo>
                  <a:pt x="717968" y="6721643"/>
                </a:lnTo>
                <a:lnTo>
                  <a:pt x="682687" y="6670379"/>
                </a:lnTo>
                <a:cubicBezTo>
                  <a:pt x="249471" y="6006226"/>
                  <a:pt x="0" y="5226570"/>
                  <a:pt x="0" y="4392637"/>
                </a:cubicBezTo>
                <a:cubicBezTo>
                  <a:pt x="0" y="1966651"/>
                  <a:pt x="2111227" y="0"/>
                  <a:pt x="47155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DK"/>
          </a:p>
        </p:txBody>
      </p:sp>
      <p:pic>
        <p:nvPicPr>
          <p:cNvPr id="9" name="Picture 8">
            <a:extLst>
              <a:ext uri="{FF2B5EF4-FFF2-40B4-BE49-F238E27FC236}">
                <a16:creationId xmlns:a16="http://schemas.microsoft.com/office/drawing/2014/main" id="{AD18443C-701A-B030-12E5-DC9CCBD5F16A}"/>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rcRect/>
          <a:stretch/>
        </p:blipFill>
        <p:spPr>
          <a:xfrm>
            <a:off x="6906300" y="1289485"/>
            <a:ext cx="4676101" cy="6033427"/>
          </a:xfrm>
          <a:custGeom>
            <a:avLst/>
            <a:gdLst>
              <a:gd name="connsiteX0" fmla="*/ 2350800 w 3643892"/>
              <a:gd name="connsiteY0" fmla="*/ 0 h 4701600"/>
              <a:gd name="connsiteX1" fmla="*/ 3471331 w 3643892"/>
              <a:gd name="connsiteY1" fmla="*/ 283729 h 4701600"/>
              <a:gd name="connsiteX2" fmla="*/ 3643892 w 3643892"/>
              <a:gd name="connsiteY2" fmla="*/ 388562 h 4701600"/>
              <a:gd name="connsiteX3" fmla="*/ 3643892 w 3643892"/>
              <a:gd name="connsiteY3" fmla="*/ 4313038 h 4701600"/>
              <a:gd name="connsiteX4" fmla="*/ 3471331 w 3643892"/>
              <a:gd name="connsiteY4" fmla="*/ 4417871 h 4701600"/>
              <a:gd name="connsiteX5" fmla="*/ 2350800 w 3643892"/>
              <a:gd name="connsiteY5" fmla="*/ 4701600 h 4701600"/>
              <a:gd name="connsiteX6" fmla="*/ 0 w 3643892"/>
              <a:gd name="connsiteY6" fmla="*/ 2350800 h 4701600"/>
              <a:gd name="connsiteX7" fmla="*/ 2350800 w 3643892"/>
              <a:gd name="connsiteY7" fmla="*/ 0 h 47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3892" h="4701600">
                <a:moveTo>
                  <a:pt x="2350800" y="0"/>
                </a:moveTo>
                <a:cubicBezTo>
                  <a:pt x="2756522" y="0"/>
                  <a:pt x="3138238" y="102782"/>
                  <a:pt x="3471331" y="283729"/>
                </a:cubicBezTo>
                <a:lnTo>
                  <a:pt x="3643892" y="388562"/>
                </a:lnTo>
                <a:lnTo>
                  <a:pt x="3643892" y="4313038"/>
                </a:lnTo>
                <a:lnTo>
                  <a:pt x="3471331" y="4417871"/>
                </a:lnTo>
                <a:cubicBezTo>
                  <a:pt x="3138238" y="4598818"/>
                  <a:pt x="2756522" y="4701600"/>
                  <a:pt x="2350800" y="4701600"/>
                </a:cubicBezTo>
                <a:cubicBezTo>
                  <a:pt x="1052489" y="4701600"/>
                  <a:pt x="0" y="3649111"/>
                  <a:pt x="0" y="2350800"/>
                </a:cubicBezTo>
                <a:cubicBezTo>
                  <a:pt x="0" y="1052489"/>
                  <a:pt x="1052489" y="0"/>
                  <a:pt x="2350800" y="0"/>
                </a:cubicBezTo>
                <a:close/>
              </a:path>
            </a:pathLst>
          </a:custGeom>
        </p:spPr>
      </p:pic>
      <p:sp>
        <p:nvSpPr>
          <p:cNvPr id="4" name="Text Placeholder 3">
            <a:extLst>
              <a:ext uri="{FF2B5EF4-FFF2-40B4-BE49-F238E27FC236}">
                <a16:creationId xmlns:a16="http://schemas.microsoft.com/office/drawing/2014/main" id="{DE19414B-777D-51DF-A881-5C44A88C2CAB}"/>
              </a:ext>
            </a:extLst>
          </p:cNvPr>
          <p:cNvSpPr>
            <a:spLocks noGrp="1"/>
          </p:cNvSpPr>
          <p:nvPr>
            <p:ph type="body" sz="half" idx="10"/>
          </p:nvPr>
        </p:nvSpPr>
        <p:spPr/>
        <p:txBody>
          <a:bodyPr/>
          <a:lstStyle/>
          <a:p>
            <a:endParaRPr lang="en-US"/>
          </a:p>
        </p:txBody>
      </p:sp>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p:txBody>
          <a:bodyPr/>
          <a:lstStyle/>
          <a:p>
            <a:r>
              <a:rPr lang="en-US" dirty="0"/>
              <a:t>Dataloggers </a:t>
            </a:r>
            <a:r>
              <a:rPr lang="en-US" dirty="0">
                <a:solidFill>
                  <a:schemeClr val="tx1">
                    <a:lumMod val="40000"/>
                    <a:lumOff val="60000"/>
                  </a:schemeClr>
                </a:solidFill>
              </a:rPr>
              <a:t>and</a:t>
            </a:r>
            <a:r>
              <a:rPr lang="en-US" dirty="0"/>
              <a:t> thermocouples</a:t>
            </a:r>
          </a:p>
        </p:txBody>
      </p:sp>
      <p:sp>
        <p:nvSpPr>
          <p:cNvPr id="3" name="Text Placeholder 2">
            <a:extLst>
              <a:ext uri="{FF2B5EF4-FFF2-40B4-BE49-F238E27FC236}">
                <a16:creationId xmlns:a16="http://schemas.microsoft.com/office/drawing/2014/main" id="{3FF7549B-7510-6AE6-BEDC-B731DC132DE9}"/>
              </a:ext>
            </a:extLst>
          </p:cNvPr>
          <p:cNvSpPr>
            <a:spLocks noGrp="1"/>
          </p:cNvSpPr>
          <p:nvPr>
            <p:ph type="body" sz="half" idx="2"/>
          </p:nvPr>
        </p:nvSpPr>
        <p:spPr/>
        <p:txBody>
          <a:bodyPr/>
          <a:lstStyle/>
          <a:p>
            <a:endParaRPr lang="en-US"/>
          </a:p>
        </p:txBody>
      </p:sp>
      <p:sp>
        <p:nvSpPr>
          <p:cNvPr id="13" name="TextBox 12">
            <a:extLst>
              <a:ext uri="{FF2B5EF4-FFF2-40B4-BE49-F238E27FC236}">
                <a16:creationId xmlns:a16="http://schemas.microsoft.com/office/drawing/2014/main" id="{0DC36251-3998-6955-2F31-EEB6CD90987F}"/>
              </a:ext>
            </a:extLst>
          </p:cNvPr>
          <p:cNvSpPr txBox="1"/>
          <p:nvPr/>
        </p:nvSpPr>
        <p:spPr>
          <a:xfrm>
            <a:off x="2210075" y="1571527"/>
            <a:ext cx="4059967" cy="923330"/>
          </a:xfrm>
          <a:prstGeom prst="rect">
            <a:avLst/>
          </a:prstGeom>
          <a:noFill/>
        </p:spPr>
        <p:txBody>
          <a:bodyPr wrap="square" rtlCol="0">
            <a:spAutoFit/>
          </a:bodyPr>
          <a:lstStyle/>
          <a:p>
            <a:pPr eaLnBrk="1" fontAlgn="auto" hangingPunct="1">
              <a:spcBef>
                <a:spcPts val="0"/>
              </a:spcBef>
              <a:spcAft>
                <a:spcPts val="0"/>
              </a:spcAft>
            </a:pPr>
            <a:r>
              <a:rPr lang="en-US" b="0" dirty="0">
                <a:solidFill>
                  <a:srgbClr val="95DBF8"/>
                </a:solidFill>
                <a:latin typeface="+mj-lt"/>
              </a:rPr>
              <a:t>Specific applications </a:t>
            </a:r>
            <a:r>
              <a:rPr lang="en-US" b="0" dirty="0">
                <a:solidFill>
                  <a:schemeClr val="tx1">
                    <a:lumMod val="75000"/>
                  </a:schemeClr>
                </a:solidFill>
                <a:latin typeface="+mj-lt"/>
              </a:rPr>
              <a:t>may require thermocouple systems within same site. Specially for </a:t>
            </a:r>
            <a:r>
              <a:rPr lang="en-US" dirty="0">
                <a:solidFill>
                  <a:schemeClr val="tx1">
                    <a:lumMod val="75000"/>
                  </a:schemeClr>
                </a:solidFill>
                <a:latin typeface="+mj-lt"/>
              </a:rPr>
              <a:t> large studies.</a:t>
            </a:r>
            <a:endParaRPr lang="en-US" b="0" dirty="0">
              <a:solidFill>
                <a:schemeClr val="tx1">
                  <a:lumMod val="75000"/>
                </a:schemeClr>
              </a:solidFill>
              <a:latin typeface="+mj-lt"/>
            </a:endParaRPr>
          </a:p>
        </p:txBody>
      </p:sp>
      <p:sp>
        <p:nvSpPr>
          <p:cNvPr id="14" name="TextBox 13">
            <a:extLst>
              <a:ext uri="{FF2B5EF4-FFF2-40B4-BE49-F238E27FC236}">
                <a16:creationId xmlns:a16="http://schemas.microsoft.com/office/drawing/2014/main" id="{DBCF9CA5-EC4A-6688-D81A-A41359CD597A}"/>
              </a:ext>
            </a:extLst>
          </p:cNvPr>
          <p:cNvSpPr txBox="1"/>
          <p:nvPr/>
        </p:nvSpPr>
        <p:spPr>
          <a:xfrm>
            <a:off x="2210075" y="4476970"/>
            <a:ext cx="3605645" cy="1200329"/>
          </a:xfrm>
          <a:prstGeom prst="rect">
            <a:avLst/>
          </a:prstGeom>
          <a:noFill/>
        </p:spPr>
        <p:txBody>
          <a:bodyPr wrap="square" rtlCol="0">
            <a:spAutoFit/>
          </a:bodyPr>
          <a:lstStyle/>
          <a:p>
            <a:pPr eaLnBrk="1" fontAlgn="auto" hangingPunct="1">
              <a:spcBef>
                <a:spcPts val="0"/>
              </a:spcBef>
              <a:spcAft>
                <a:spcPts val="0"/>
              </a:spcAft>
            </a:pPr>
            <a:r>
              <a:rPr lang="en-US" b="0" dirty="0">
                <a:solidFill>
                  <a:srgbClr val="95DBF8"/>
                </a:solidFill>
                <a:latin typeface="+mj-lt"/>
              </a:rPr>
              <a:t>One software </a:t>
            </a:r>
            <a:r>
              <a:rPr lang="en-US" b="0" dirty="0">
                <a:solidFill>
                  <a:srgbClr val="1F6898"/>
                </a:solidFill>
                <a:latin typeface="+mj-lt"/>
              </a:rPr>
              <a:t>to allow reporting </a:t>
            </a:r>
            <a:r>
              <a:rPr lang="en-US" dirty="0">
                <a:solidFill>
                  <a:srgbClr val="1F6898"/>
                </a:solidFill>
                <a:latin typeface="+mj-lt"/>
              </a:rPr>
              <a:t>all types of equipment in </a:t>
            </a:r>
            <a:r>
              <a:rPr lang="en-US" dirty="0">
                <a:solidFill>
                  <a:schemeClr val="tx1">
                    <a:lumMod val="40000"/>
                    <a:lumOff val="60000"/>
                  </a:schemeClr>
                </a:solidFill>
                <a:latin typeface="+mj-lt"/>
              </a:rPr>
              <a:t>one unique report.</a:t>
            </a:r>
            <a:endParaRPr lang="en-US" b="0" dirty="0">
              <a:solidFill>
                <a:schemeClr val="tx1">
                  <a:lumMod val="40000"/>
                  <a:lumOff val="60000"/>
                </a:schemeClr>
              </a:solidFill>
              <a:latin typeface="+mj-lt"/>
            </a:endParaRPr>
          </a:p>
        </p:txBody>
      </p:sp>
      <p:sp>
        <p:nvSpPr>
          <p:cNvPr id="2" name="TextBox 1">
            <a:extLst>
              <a:ext uri="{FF2B5EF4-FFF2-40B4-BE49-F238E27FC236}">
                <a16:creationId xmlns:a16="http://schemas.microsoft.com/office/drawing/2014/main" id="{78757D97-D09A-BCEB-4544-1FAFC6DD6B11}"/>
              </a:ext>
            </a:extLst>
          </p:cNvPr>
          <p:cNvSpPr txBox="1"/>
          <p:nvPr/>
        </p:nvSpPr>
        <p:spPr>
          <a:xfrm>
            <a:off x="2210075" y="3429001"/>
            <a:ext cx="3605645" cy="646331"/>
          </a:xfrm>
          <a:prstGeom prst="rect">
            <a:avLst/>
          </a:prstGeom>
          <a:noFill/>
        </p:spPr>
        <p:txBody>
          <a:bodyPr wrap="square" rtlCol="0">
            <a:spAutoFit/>
          </a:bodyPr>
          <a:lstStyle/>
          <a:p>
            <a:pPr eaLnBrk="1" fontAlgn="auto" hangingPunct="1">
              <a:spcBef>
                <a:spcPts val="0"/>
              </a:spcBef>
              <a:spcAft>
                <a:spcPts val="0"/>
              </a:spcAft>
            </a:pPr>
            <a:r>
              <a:rPr lang="en-US" b="0" dirty="0">
                <a:solidFill>
                  <a:srgbClr val="95DBF8"/>
                </a:solidFill>
                <a:latin typeface="+mj-lt"/>
              </a:rPr>
              <a:t>Combine </a:t>
            </a:r>
            <a:r>
              <a:rPr lang="en-US" b="0" dirty="0">
                <a:latin typeface="+mj-lt"/>
              </a:rPr>
              <a:t>technology in a safe way.</a:t>
            </a:r>
          </a:p>
        </p:txBody>
      </p:sp>
    </p:spTree>
    <p:extLst>
      <p:ext uri="{BB962C8B-B14F-4D97-AF65-F5344CB8AC3E}">
        <p14:creationId xmlns:p14="http://schemas.microsoft.com/office/powerpoint/2010/main" val="324873807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F8ED5E0-CD28-49AF-B2B1-C2E3463836D5}"/>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7" name="Object 16" hidden="1">
                        <a:extLst>
                          <a:ext uri="{FF2B5EF4-FFF2-40B4-BE49-F238E27FC236}">
                            <a16:creationId xmlns:a16="http://schemas.microsoft.com/office/drawing/2014/main" id="{FF8ED5E0-CD28-49AF-B2B1-C2E3463836D5}"/>
                          </a:ext>
                        </a:extLst>
                      </p:cNvPr>
                      <p:cNvPicPr/>
                      <p:nvPr/>
                    </p:nvPicPr>
                    <p:blipFill>
                      <a:blip r:embed="rId4"/>
                      <a:stretch>
                        <a:fillRect/>
                      </a:stretch>
                    </p:blipFill>
                    <p:spPr>
                      <a:xfrm>
                        <a:off x="611505" y="1905"/>
                        <a:ext cx="1906" cy="1906"/>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EBB309-F8A5-BDE5-516B-87FCBDB1A316}"/>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82BE049B-B01C-E547-A2C7-B6FE945096AC}"/>
              </a:ext>
            </a:extLst>
          </p:cNvPr>
          <p:cNvSpPr>
            <a:spLocks noGrp="1"/>
          </p:cNvSpPr>
          <p:nvPr>
            <p:ph type="title"/>
          </p:nvPr>
        </p:nvSpPr>
        <p:spPr/>
        <p:txBody>
          <a:bodyPr vert="horz"/>
          <a:lstStyle/>
          <a:p>
            <a:pPr fontAlgn="auto">
              <a:defRPr/>
            </a:pPr>
            <a:r>
              <a:rPr lang="en-US" dirty="0"/>
              <a:t>Thank you</a:t>
            </a:r>
          </a:p>
        </p:txBody>
      </p:sp>
      <p:sp>
        <p:nvSpPr>
          <p:cNvPr id="3" name="Subtitle 2">
            <a:extLst>
              <a:ext uri="{FF2B5EF4-FFF2-40B4-BE49-F238E27FC236}">
                <a16:creationId xmlns:a16="http://schemas.microsoft.com/office/drawing/2014/main" id="{D17D0F79-72D8-1A46-9A19-939B533E0305}"/>
              </a:ext>
            </a:extLst>
          </p:cNvPr>
          <p:cNvSpPr>
            <a:spLocks noGrp="1"/>
          </p:cNvSpPr>
          <p:nvPr>
            <p:ph type="body" sz="half" idx="2"/>
          </p:nvPr>
        </p:nvSpPr>
        <p:spPr/>
        <p:txBody>
          <a:bodyPr/>
          <a:lstStyle/>
          <a:p>
            <a:pPr fontAlgn="auto">
              <a:defRPr/>
            </a:pPr>
            <a:r>
              <a:rPr lang="en-US" dirty="0"/>
              <a:t>Do you have any questions?</a:t>
            </a:r>
          </a:p>
          <a:p>
            <a:pPr fontAlgn="auto">
              <a:defRPr/>
            </a:pPr>
            <a:endParaRPr lang="en-US" dirty="0"/>
          </a:p>
          <a:p>
            <a:pPr fontAlgn="auto">
              <a:defRPr/>
            </a:pPr>
            <a:endParaRPr lang="en-US" dirty="0"/>
          </a:p>
        </p:txBody>
      </p:sp>
      <p:cxnSp>
        <p:nvCxnSpPr>
          <p:cNvPr id="5" name="Straight Connector 4">
            <a:extLst>
              <a:ext uri="{FF2B5EF4-FFF2-40B4-BE49-F238E27FC236}">
                <a16:creationId xmlns:a16="http://schemas.microsoft.com/office/drawing/2014/main" id="{9E82F9B3-12F8-C24A-8DB9-C61B9AF462F5}"/>
              </a:ext>
            </a:extLst>
          </p:cNvPr>
          <p:cNvCxnSpPr>
            <a:cxnSpLocks/>
          </p:cNvCxnSpPr>
          <p:nvPr/>
        </p:nvCxnSpPr>
        <p:spPr>
          <a:xfrm>
            <a:off x="1411606" y="4019550"/>
            <a:ext cx="1207770" cy="0"/>
          </a:xfrm>
          <a:prstGeom prst="line">
            <a:avLst/>
          </a:prstGeom>
          <a:ln w="12700">
            <a:solidFill>
              <a:srgbClr val="9EC9DF"/>
            </a:solidFill>
          </a:ln>
        </p:spPr>
        <p:style>
          <a:lnRef idx="1">
            <a:schemeClr val="accent1"/>
          </a:lnRef>
          <a:fillRef idx="0">
            <a:schemeClr val="accent1"/>
          </a:fillRef>
          <a:effectRef idx="0">
            <a:schemeClr val="accent1"/>
          </a:effectRef>
          <a:fontRef idx="minor">
            <a:schemeClr val="tx1"/>
          </a:fontRef>
        </p:style>
      </p:cxnSp>
      <p:grpSp>
        <p:nvGrpSpPr>
          <p:cNvPr id="6" name="Graphic 56">
            <a:extLst>
              <a:ext uri="{FF2B5EF4-FFF2-40B4-BE49-F238E27FC236}">
                <a16:creationId xmlns:a16="http://schemas.microsoft.com/office/drawing/2014/main" id="{9D117A7E-8C03-524B-B961-AF867FB50A77}"/>
              </a:ext>
            </a:extLst>
          </p:cNvPr>
          <p:cNvGrpSpPr/>
          <p:nvPr/>
        </p:nvGrpSpPr>
        <p:grpSpPr>
          <a:xfrm>
            <a:off x="1411778" y="4959887"/>
            <a:ext cx="225688" cy="191687"/>
            <a:chOff x="5341096" y="5478279"/>
            <a:chExt cx="308452" cy="261981"/>
          </a:xfrm>
          <a:solidFill>
            <a:schemeClr val="bg1"/>
          </a:solidFill>
        </p:grpSpPr>
        <p:sp>
          <p:nvSpPr>
            <p:cNvPr id="7" name="Freeform 6">
              <a:extLst>
                <a:ext uri="{FF2B5EF4-FFF2-40B4-BE49-F238E27FC236}">
                  <a16:creationId xmlns:a16="http://schemas.microsoft.com/office/drawing/2014/main" id="{AB818DCB-8679-D14E-AF2E-593A80BC95B3}"/>
                </a:ext>
              </a:extLst>
            </p:cNvPr>
            <p:cNvSpPr/>
            <p:nvPr/>
          </p:nvSpPr>
          <p:spPr>
            <a:xfrm>
              <a:off x="5341106" y="5478279"/>
              <a:ext cx="308442" cy="261981"/>
            </a:xfrm>
            <a:custGeom>
              <a:avLst/>
              <a:gdLst>
                <a:gd name="connsiteX0" fmla="*/ 307284 w 308442"/>
                <a:gd name="connsiteY0" fmla="*/ 31435 h 261981"/>
                <a:gd name="connsiteX1" fmla="*/ 276130 w 308442"/>
                <a:gd name="connsiteY1" fmla="*/ 40617 h 261981"/>
                <a:gd name="connsiteX2" fmla="*/ 291499 w 308442"/>
                <a:gd name="connsiteY2" fmla="*/ 26577 h 261981"/>
                <a:gd name="connsiteX3" fmla="*/ 301880 w 308442"/>
                <a:gd name="connsiteY3" fmla="*/ 7070 h 261981"/>
                <a:gd name="connsiteX4" fmla="*/ 301816 w 308442"/>
                <a:gd name="connsiteY4" fmla="*/ 5393 h 261981"/>
                <a:gd name="connsiteX5" fmla="*/ 300172 w 308442"/>
                <a:gd name="connsiteY5" fmla="*/ 5536 h 261981"/>
                <a:gd name="connsiteX6" fmla="*/ 263162 w 308442"/>
                <a:gd name="connsiteY6" fmla="*/ 20138 h 261981"/>
                <a:gd name="connsiteX7" fmla="*/ 260612 w 308442"/>
                <a:gd name="connsiteY7" fmla="*/ 19443 h 261981"/>
                <a:gd name="connsiteX8" fmla="*/ 257380 w 308442"/>
                <a:gd name="connsiteY8" fmla="*/ 16033 h 261981"/>
                <a:gd name="connsiteX9" fmla="*/ 239443 w 308442"/>
                <a:gd name="connsiteY9" fmla="*/ 4707 h 261981"/>
                <a:gd name="connsiteX10" fmla="*/ 211946 w 308442"/>
                <a:gd name="connsiteY10" fmla="*/ 135 h 261981"/>
                <a:gd name="connsiteX11" fmla="*/ 185853 w 308442"/>
                <a:gd name="connsiteY11" fmla="*/ 7755 h 261981"/>
                <a:gd name="connsiteX12" fmla="*/ 164813 w 308442"/>
                <a:gd name="connsiteY12" fmla="*/ 25481 h 261981"/>
                <a:gd name="connsiteX13" fmla="*/ 152242 w 308442"/>
                <a:gd name="connsiteY13" fmla="*/ 51437 h 261981"/>
                <a:gd name="connsiteX14" fmla="*/ 151577 w 308442"/>
                <a:gd name="connsiteY14" fmla="*/ 78850 h 261981"/>
                <a:gd name="connsiteX15" fmla="*/ 150303 w 308442"/>
                <a:gd name="connsiteY15" fmla="*/ 80384 h 261981"/>
                <a:gd name="connsiteX16" fmla="*/ 23081 w 308442"/>
                <a:gd name="connsiteY16" fmla="*/ 13604 h 261981"/>
                <a:gd name="connsiteX17" fmla="*/ 19580 w 308442"/>
                <a:gd name="connsiteY17" fmla="*/ 13737 h 261981"/>
                <a:gd name="connsiteX18" fmla="*/ 30608 w 308442"/>
                <a:gd name="connsiteY18" fmla="*/ 92318 h 261981"/>
                <a:gd name="connsiteX19" fmla="*/ 38422 w 308442"/>
                <a:gd name="connsiteY19" fmla="*/ 99405 h 261981"/>
                <a:gd name="connsiteX20" fmla="*/ 13844 w 308442"/>
                <a:gd name="connsiteY20" fmla="*/ 92318 h 261981"/>
                <a:gd name="connsiteX21" fmla="*/ 11480 w 308442"/>
                <a:gd name="connsiteY21" fmla="*/ 93642 h 261981"/>
                <a:gd name="connsiteX22" fmla="*/ 11886 w 308442"/>
                <a:gd name="connsiteY22" fmla="*/ 101158 h 261981"/>
                <a:gd name="connsiteX23" fmla="*/ 52074 w 308442"/>
                <a:gd name="connsiteY23" fmla="*/ 154764 h 261981"/>
                <a:gd name="connsiteX24" fmla="*/ 60229 w 308442"/>
                <a:gd name="connsiteY24" fmla="*/ 157336 h 261981"/>
                <a:gd name="connsiteX25" fmla="*/ 36196 w 308442"/>
                <a:gd name="connsiteY25" fmla="*/ 158117 h 261981"/>
                <a:gd name="connsiteX26" fmla="*/ 34442 w 308442"/>
                <a:gd name="connsiteY26" fmla="*/ 160413 h 261981"/>
                <a:gd name="connsiteX27" fmla="*/ 85020 w 308442"/>
                <a:gd name="connsiteY27" fmla="*/ 204075 h 261981"/>
                <a:gd name="connsiteX28" fmla="*/ 91901 w 308442"/>
                <a:gd name="connsiteY28" fmla="*/ 205028 h 261981"/>
                <a:gd name="connsiteX29" fmla="*/ 91495 w 308442"/>
                <a:gd name="connsiteY29" fmla="*/ 205447 h 261981"/>
                <a:gd name="connsiteX30" fmla="*/ 56960 w 308442"/>
                <a:gd name="connsiteY30" fmla="*/ 224325 h 261981"/>
                <a:gd name="connsiteX31" fmla="*/ 4506 w 308442"/>
                <a:gd name="connsiteY31" fmla="*/ 231250 h 261981"/>
                <a:gd name="connsiteX32" fmla="*/ 332 w 308442"/>
                <a:gd name="connsiteY32" fmla="*/ 231250 h 261981"/>
                <a:gd name="connsiteX33" fmla="*/ 1135 w 308442"/>
                <a:gd name="connsiteY33" fmla="*/ 233155 h 261981"/>
                <a:gd name="connsiteX34" fmla="*/ 12062 w 308442"/>
                <a:gd name="connsiteY34" fmla="*/ 239823 h 261981"/>
                <a:gd name="connsiteX35" fmla="*/ 47095 w 308442"/>
                <a:gd name="connsiteY35" fmla="*/ 254320 h 261981"/>
                <a:gd name="connsiteX36" fmla="*/ 228396 w 308442"/>
                <a:gd name="connsiteY36" fmla="*/ 210609 h 261981"/>
                <a:gd name="connsiteX37" fmla="*/ 278577 w 308442"/>
                <a:gd name="connsiteY37" fmla="*/ 67477 h 261981"/>
                <a:gd name="connsiteX38" fmla="*/ 282327 w 308442"/>
                <a:gd name="connsiteY38" fmla="*/ 63200 h 261981"/>
                <a:gd name="connsiteX39" fmla="*/ 306896 w 308442"/>
                <a:gd name="connsiteY39" fmla="*/ 36730 h 261981"/>
                <a:gd name="connsiteX40" fmla="*/ 308411 w 308442"/>
                <a:gd name="connsiteY40" fmla="*/ 31663 h 261981"/>
                <a:gd name="connsiteX41" fmla="*/ 308411 w 308442"/>
                <a:gd name="connsiteY41" fmla="*/ 31435 h 261981"/>
                <a:gd name="connsiteX42" fmla="*/ 307284 w 308442"/>
                <a:gd name="connsiteY42" fmla="*/ 31435 h 26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08442" h="261981">
                  <a:moveTo>
                    <a:pt x="307284" y="31435"/>
                  </a:moveTo>
                  <a:cubicBezTo>
                    <a:pt x="297321" y="35852"/>
                    <a:pt x="286851" y="38938"/>
                    <a:pt x="276130" y="40617"/>
                  </a:cubicBezTo>
                  <a:cubicBezTo>
                    <a:pt x="281145" y="39740"/>
                    <a:pt x="288543" y="30368"/>
                    <a:pt x="291499" y="26577"/>
                  </a:cubicBezTo>
                  <a:cubicBezTo>
                    <a:pt x="296127" y="20812"/>
                    <a:pt x="299650" y="14192"/>
                    <a:pt x="301880" y="7070"/>
                  </a:cubicBezTo>
                  <a:cubicBezTo>
                    <a:pt x="302148" y="6517"/>
                    <a:pt x="302352" y="5812"/>
                    <a:pt x="301816" y="5393"/>
                  </a:cubicBezTo>
                  <a:cubicBezTo>
                    <a:pt x="301278" y="5161"/>
                    <a:pt x="300664" y="5214"/>
                    <a:pt x="300172" y="5536"/>
                  </a:cubicBezTo>
                  <a:cubicBezTo>
                    <a:pt x="288474" y="11977"/>
                    <a:pt x="276041" y="16883"/>
                    <a:pt x="263162" y="20138"/>
                  </a:cubicBezTo>
                  <a:cubicBezTo>
                    <a:pt x="262253" y="20436"/>
                    <a:pt x="261259" y="20165"/>
                    <a:pt x="260612" y="19443"/>
                  </a:cubicBezTo>
                  <a:cubicBezTo>
                    <a:pt x="259622" y="18221"/>
                    <a:pt x="258541" y="17081"/>
                    <a:pt x="257380" y="16033"/>
                  </a:cubicBezTo>
                  <a:cubicBezTo>
                    <a:pt x="252031" y="11286"/>
                    <a:pt x="245974" y="7462"/>
                    <a:pt x="239443" y="4707"/>
                  </a:cubicBezTo>
                  <a:cubicBezTo>
                    <a:pt x="230727" y="1070"/>
                    <a:pt x="221328" y="-493"/>
                    <a:pt x="211946" y="135"/>
                  </a:cubicBezTo>
                  <a:cubicBezTo>
                    <a:pt x="202830" y="780"/>
                    <a:pt x="193944" y="3375"/>
                    <a:pt x="185853" y="7755"/>
                  </a:cubicBezTo>
                  <a:cubicBezTo>
                    <a:pt x="177744" y="12127"/>
                    <a:pt x="170584" y="18158"/>
                    <a:pt x="164813" y="25481"/>
                  </a:cubicBezTo>
                  <a:cubicBezTo>
                    <a:pt x="158824" y="33076"/>
                    <a:pt x="154532" y="41938"/>
                    <a:pt x="152242" y="51437"/>
                  </a:cubicBezTo>
                  <a:cubicBezTo>
                    <a:pt x="150277" y="60441"/>
                    <a:pt x="150051" y="69756"/>
                    <a:pt x="151577" y="78850"/>
                  </a:cubicBezTo>
                  <a:cubicBezTo>
                    <a:pt x="151771" y="80384"/>
                    <a:pt x="151642" y="80584"/>
                    <a:pt x="150303" y="80384"/>
                  </a:cubicBezTo>
                  <a:cubicBezTo>
                    <a:pt x="99466" y="72564"/>
                    <a:pt x="57329" y="53799"/>
                    <a:pt x="23081" y="13604"/>
                  </a:cubicBezTo>
                  <a:cubicBezTo>
                    <a:pt x="21603" y="11861"/>
                    <a:pt x="20790" y="11861"/>
                    <a:pt x="19580" y="13737"/>
                  </a:cubicBezTo>
                  <a:cubicBezTo>
                    <a:pt x="4608" y="36873"/>
                    <a:pt x="11905" y="74049"/>
                    <a:pt x="30608" y="92318"/>
                  </a:cubicBezTo>
                  <a:cubicBezTo>
                    <a:pt x="33102" y="94757"/>
                    <a:pt x="35661" y="97186"/>
                    <a:pt x="38422" y="99405"/>
                  </a:cubicBezTo>
                  <a:cubicBezTo>
                    <a:pt x="29855" y="98750"/>
                    <a:pt x="21499" y="96341"/>
                    <a:pt x="13844" y="92318"/>
                  </a:cubicBezTo>
                  <a:cubicBezTo>
                    <a:pt x="12357" y="91366"/>
                    <a:pt x="11618" y="91909"/>
                    <a:pt x="11480" y="93642"/>
                  </a:cubicBezTo>
                  <a:cubicBezTo>
                    <a:pt x="11391" y="96155"/>
                    <a:pt x="11527" y="98671"/>
                    <a:pt x="11886" y="101158"/>
                  </a:cubicBezTo>
                  <a:cubicBezTo>
                    <a:pt x="14936" y="125189"/>
                    <a:pt x="30289" y="145669"/>
                    <a:pt x="52074" y="154764"/>
                  </a:cubicBezTo>
                  <a:cubicBezTo>
                    <a:pt x="54690" y="155934"/>
                    <a:pt x="57426" y="156797"/>
                    <a:pt x="60229" y="157336"/>
                  </a:cubicBezTo>
                  <a:cubicBezTo>
                    <a:pt x="52316" y="158971"/>
                    <a:pt x="44194" y="159235"/>
                    <a:pt x="36196" y="158117"/>
                  </a:cubicBezTo>
                  <a:cubicBezTo>
                    <a:pt x="34442" y="157765"/>
                    <a:pt x="33777" y="158670"/>
                    <a:pt x="34442" y="160413"/>
                  </a:cubicBezTo>
                  <a:cubicBezTo>
                    <a:pt x="45036" y="190178"/>
                    <a:pt x="67896" y="199036"/>
                    <a:pt x="85020" y="204075"/>
                  </a:cubicBezTo>
                  <a:cubicBezTo>
                    <a:pt x="87310" y="204494"/>
                    <a:pt x="89638" y="204494"/>
                    <a:pt x="91901" y="205028"/>
                  </a:cubicBezTo>
                  <a:cubicBezTo>
                    <a:pt x="91762" y="205247"/>
                    <a:pt x="91624" y="205247"/>
                    <a:pt x="91495" y="205447"/>
                  </a:cubicBezTo>
                  <a:cubicBezTo>
                    <a:pt x="85814" y="214381"/>
                    <a:pt x="66122" y="221020"/>
                    <a:pt x="56960" y="224325"/>
                  </a:cubicBezTo>
                  <a:cubicBezTo>
                    <a:pt x="40164" y="230506"/>
                    <a:pt x="22271" y="232868"/>
                    <a:pt x="4506" y="231250"/>
                  </a:cubicBezTo>
                  <a:cubicBezTo>
                    <a:pt x="1736" y="230821"/>
                    <a:pt x="1089" y="230850"/>
                    <a:pt x="332" y="231250"/>
                  </a:cubicBezTo>
                  <a:cubicBezTo>
                    <a:pt x="-426" y="231650"/>
                    <a:pt x="230" y="232431"/>
                    <a:pt x="1135" y="233155"/>
                  </a:cubicBezTo>
                  <a:cubicBezTo>
                    <a:pt x="4710" y="235584"/>
                    <a:pt x="8349" y="237746"/>
                    <a:pt x="12062" y="239823"/>
                  </a:cubicBezTo>
                  <a:cubicBezTo>
                    <a:pt x="23191" y="245959"/>
                    <a:pt x="34939" y="250821"/>
                    <a:pt x="47095" y="254320"/>
                  </a:cubicBezTo>
                  <a:cubicBezTo>
                    <a:pt x="110106" y="272265"/>
                    <a:pt x="181087" y="259082"/>
                    <a:pt x="228396" y="210609"/>
                  </a:cubicBezTo>
                  <a:cubicBezTo>
                    <a:pt x="265554" y="172509"/>
                    <a:pt x="278577" y="120036"/>
                    <a:pt x="278577" y="67477"/>
                  </a:cubicBezTo>
                  <a:cubicBezTo>
                    <a:pt x="278577" y="65420"/>
                    <a:pt x="280932" y="64277"/>
                    <a:pt x="282327" y="63200"/>
                  </a:cubicBezTo>
                  <a:cubicBezTo>
                    <a:pt x="291723" y="55658"/>
                    <a:pt x="300000" y="46741"/>
                    <a:pt x="306896" y="36730"/>
                  </a:cubicBezTo>
                  <a:cubicBezTo>
                    <a:pt x="307967" y="35280"/>
                    <a:pt x="308504" y="33484"/>
                    <a:pt x="308411" y="31663"/>
                  </a:cubicBezTo>
                  <a:lnTo>
                    <a:pt x="308411" y="31435"/>
                  </a:lnTo>
                  <a:cubicBezTo>
                    <a:pt x="308484" y="30568"/>
                    <a:pt x="308540" y="30815"/>
                    <a:pt x="307284" y="31435"/>
                  </a:cubicBezTo>
                  <a:close/>
                </a:path>
              </a:pathLst>
            </a:custGeom>
            <a:grpFill/>
            <a:ln w="9236"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sp>
          <p:nvSpPr>
            <p:cNvPr id="8" name="Freeform 7">
              <a:extLst>
                <a:ext uri="{FF2B5EF4-FFF2-40B4-BE49-F238E27FC236}">
                  <a16:creationId xmlns:a16="http://schemas.microsoft.com/office/drawing/2014/main" id="{30776789-090E-CD45-A51F-010BB89DDC74}"/>
                </a:ext>
              </a:extLst>
            </p:cNvPr>
            <p:cNvSpPr/>
            <p:nvPr/>
          </p:nvSpPr>
          <p:spPr>
            <a:xfrm>
              <a:off x="5341096" y="5478282"/>
              <a:ext cx="9236" cy="9525"/>
            </a:xfrm>
            <a:custGeom>
              <a:avLst/>
              <a:gdLst/>
              <a:ahLst/>
              <a:cxnLst/>
              <a:rect l="l" t="t" r="r" b="b"/>
              <a:pathLst>
                <a:path w="9236" h="9525"/>
              </a:pathLst>
            </a:custGeom>
            <a:grpFill/>
            <a:ln w="9236"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sp>
          <p:nvSpPr>
            <p:cNvPr id="9" name="Freeform 8">
              <a:extLst>
                <a:ext uri="{FF2B5EF4-FFF2-40B4-BE49-F238E27FC236}">
                  <a16:creationId xmlns:a16="http://schemas.microsoft.com/office/drawing/2014/main" id="{9EE79142-8F01-2A41-8E85-AFEA925A6877}"/>
                </a:ext>
              </a:extLst>
            </p:cNvPr>
            <p:cNvSpPr/>
            <p:nvPr/>
          </p:nvSpPr>
          <p:spPr>
            <a:xfrm>
              <a:off x="5430347" y="5739162"/>
              <a:ext cx="2354" cy="9525"/>
            </a:xfrm>
            <a:custGeom>
              <a:avLst/>
              <a:gdLst>
                <a:gd name="connsiteX0" fmla="*/ 2355 w 2354"/>
                <a:gd name="connsiteY0" fmla="*/ 0 h 9525"/>
                <a:gd name="connsiteX1" fmla="*/ 2355 w 2354"/>
                <a:gd name="connsiteY1" fmla="*/ 0 h 9525"/>
              </a:gdLst>
              <a:ahLst/>
              <a:cxnLst>
                <a:cxn ang="0">
                  <a:pos x="connsiteX0" y="connsiteY0"/>
                </a:cxn>
                <a:cxn ang="0">
                  <a:pos x="connsiteX1" y="connsiteY1"/>
                </a:cxn>
              </a:cxnLst>
              <a:rect l="l" t="t" r="r" b="b"/>
              <a:pathLst>
                <a:path w="2354" h="9525">
                  <a:moveTo>
                    <a:pt x="2355" y="0"/>
                  </a:moveTo>
                  <a:cubicBezTo>
                    <a:pt x="1949" y="0"/>
                    <a:pt x="-2734" y="0"/>
                    <a:pt x="2355" y="0"/>
                  </a:cubicBezTo>
                  <a:close/>
                </a:path>
              </a:pathLst>
            </a:custGeom>
            <a:grpFill/>
            <a:ln w="9236"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sp>
          <p:nvSpPr>
            <p:cNvPr id="10" name="Freeform 9">
              <a:extLst>
                <a:ext uri="{FF2B5EF4-FFF2-40B4-BE49-F238E27FC236}">
                  <a16:creationId xmlns:a16="http://schemas.microsoft.com/office/drawing/2014/main" id="{7E896A6B-BD2A-B349-B745-3234D02D5773}"/>
                </a:ext>
              </a:extLst>
            </p:cNvPr>
            <p:cNvSpPr/>
            <p:nvPr/>
          </p:nvSpPr>
          <p:spPr>
            <a:xfrm>
              <a:off x="5443083" y="5739201"/>
              <a:ext cx="2430" cy="237"/>
            </a:xfrm>
            <a:custGeom>
              <a:avLst/>
              <a:gdLst>
                <a:gd name="connsiteX0" fmla="*/ 0 w 2430"/>
                <a:gd name="connsiteY0" fmla="*/ 237 h 237"/>
                <a:gd name="connsiteX1" fmla="*/ 0 w 2430"/>
                <a:gd name="connsiteY1" fmla="*/ 237 h 237"/>
                <a:gd name="connsiteX2" fmla="*/ 0 w 2430"/>
                <a:gd name="connsiteY2" fmla="*/ 237 h 237"/>
              </a:gdLst>
              <a:ahLst/>
              <a:cxnLst>
                <a:cxn ang="0">
                  <a:pos x="connsiteX0" y="connsiteY0"/>
                </a:cxn>
                <a:cxn ang="0">
                  <a:pos x="connsiteX1" y="connsiteY1"/>
                </a:cxn>
                <a:cxn ang="0">
                  <a:pos x="connsiteX2" y="connsiteY2"/>
                </a:cxn>
              </a:cxnLst>
              <a:rect l="l" t="t" r="r" b="b"/>
              <a:pathLst>
                <a:path w="2430" h="237">
                  <a:moveTo>
                    <a:pt x="0" y="237"/>
                  </a:moveTo>
                  <a:cubicBezTo>
                    <a:pt x="0" y="-296"/>
                    <a:pt x="5468" y="237"/>
                    <a:pt x="0" y="237"/>
                  </a:cubicBezTo>
                  <a:cubicBezTo>
                    <a:pt x="0" y="-39"/>
                    <a:pt x="674" y="237"/>
                    <a:pt x="0" y="237"/>
                  </a:cubicBezTo>
                  <a:close/>
                </a:path>
              </a:pathLst>
            </a:custGeom>
            <a:grpFill/>
            <a:ln w="9236"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sp>
          <p:nvSpPr>
            <p:cNvPr id="11" name="Freeform 10">
              <a:extLst>
                <a:ext uri="{FF2B5EF4-FFF2-40B4-BE49-F238E27FC236}">
                  <a16:creationId xmlns:a16="http://schemas.microsoft.com/office/drawing/2014/main" id="{B9C7D6A3-D20F-0E49-B92C-7AE07A819041}"/>
                </a:ext>
              </a:extLst>
            </p:cNvPr>
            <p:cNvSpPr/>
            <p:nvPr/>
          </p:nvSpPr>
          <p:spPr>
            <a:xfrm>
              <a:off x="5550909" y="5478672"/>
              <a:ext cx="1274" cy="207"/>
            </a:xfrm>
            <a:custGeom>
              <a:avLst/>
              <a:gdLst>
                <a:gd name="connsiteX0" fmla="*/ 1275 w 1274"/>
                <a:gd name="connsiteY0" fmla="*/ 0 h 207"/>
                <a:gd name="connsiteX1" fmla="*/ 0 w 1274"/>
                <a:gd name="connsiteY1" fmla="*/ 0 h 207"/>
              </a:gdLst>
              <a:ahLst/>
              <a:cxnLst>
                <a:cxn ang="0">
                  <a:pos x="connsiteX0" y="connsiteY0"/>
                </a:cxn>
                <a:cxn ang="0">
                  <a:pos x="connsiteX1" y="connsiteY1"/>
                </a:cxn>
              </a:cxnLst>
              <a:rect l="l" t="t" r="r" b="b"/>
              <a:pathLst>
                <a:path w="1274" h="207">
                  <a:moveTo>
                    <a:pt x="1275" y="0"/>
                  </a:moveTo>
                  <a:cubicBezTo>
                    <a:pt x="892" y="277"/>
                    <a:pt x="382" y="277"/>
                    <a:pt x="0" y="0"/>
                  </a:cubicBezTo>
                  <a:close/>
                </a:path>
              </a:pathLst>
            </a:custGeom>
            <a:grpFill/>
            <a:ln w="9236"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grpSp>
      <p:grpSp>
        <p:nvGrpSpPr>
          <p:cNvPr id="12" name="Graphic 58">
            <a:extLst>
              <a:ext uri="{FF2B5EF4-FFF2-40B4-BE49-F238E27FC236}">
                <a16:creationId xmlns:a16="http://schemas.microsoft.com/office/drawing/2014/main" id="{EC3265CE-0DF6-4B4D-AB4D-FD96B9F848EC}"/>
              </a:ext>
            </a:extLst>
          </p:cNvPr>
          <p:cNvGrpSpPr/>
          <p:nvPr/>
        </p:nvGrpSpPr>
        <p:grpSpPr>
          <a:xfrm>
            <a:off x="1420241" y="4267983"/>
            <a:ext cx="205889" cy="194176"/>
            <a:chOff x="7329020" y="5440182"/>
            <a:chExt cx="281393" cy="265384"/>
          </a:xfrm>
          <a:solidFill>
            <a:schemeClr val="bg1"/>
          </a:solidFill>
        </p:grpSpPr>
        <p:sp>
          <p:nvSpPr>
            <p:cNvPr id="13" name="Freeform 12">
              <a:extLst>
                <a:ext uri="{FF2B5EF4-FFF2-40B4-BE49-F238E27FC236}">
                  <a16:creationId xmlns:a16="http://schemas.microsoft.com/office/drawing/2014/main" id="{287ED9F4-4002-3B4E-A13F-92239D003446}"/>
                </a:ext>
              </a:extLst>
            </p:cNvPr>
            <p:cNvSpPr/>
            <p:nvPr/>
          </p:nvSpPr>
          <p:spPr>
            <a:xfrm>
              <a:off x="7332950" y="5522386"/>
              <a:ext cx="277462" cy="183180"/>
            </a:xfrm>
            <a:custGeom>
              <a:avLst/>
              <a:gdLst>
                <a:gd name="connsiteX0" fmla="*/ 277463 w 277462"/>
                <a:gd name="connsiteY0" fmla="*/ 80575 h 183180"/>
                <a:gd name="connsiteX1" fmla="*/ 277463 w 277462"/>
                <a:gd name="connsiteY1" fmla="*/ 178794 h 183180"/>
                <a:gd name="connsiteX2" fmla="*/ 273011 w 277462"/>
                <a:gd name="connsiteY2" fmla="*/ 183181 h 183180"/>
                <a:gd name="connsiteX3" fmla="*/ 221667 w 277462"/>
                <a:gd name="connsiteY3" fmla="*/ 183181 h 183180"/>
                <a:gd name="connsiteX4" fmla="*/ 217215 w 277462"/>
                <a:gd name="connsiteY4" fmla="*/ 178794 h 183180"/>
                <a:gd name="connsiteX5" fmla="*/ 217215 w 277462"/>
                <a:gd name="connsiteY5" fmla="*/ 87445 h 183180"/>
                <a:gd name="connsiteX6" fmla="*/ 186704 w 277462"/>
                <a:gd name="connsiteY6" fmla="*/ 46980 h 183180"/>
                <a:gd name="connsiteX7" fmla="*/ 155803 w 277462"/>
                <a:gd name="connsiteY7" fmla="*/ 68739 h 183180"/>
                <a:gd name="connsiteX8" fmla="*/ 153800 w 277462"/>
                <a:gd name="connsiteY8" fmla="*/ 83233 h 183180"/>
                <a:gd name="connsiteX9" fmla="*/ 153800 w 277462"/>
                <a:gd name="connsiteY9" fmla="*/ 178785 h 183180"/>
                <a:gd name="connsiteX10" fmla="*/ 149358 w 277462"/>
                <a:gd name="connsiteY10" fmla="*/ 183181 h 183180"/>
                <a:gd name="connsiteX11" fmla="*/ 98023 w 277462"/>
                <a:gd name="connsiteY11" fmla="*/ 183181 h 183180"/>
                <a:gd name="connsiteX12" fmla="*/ 93571 w 277462"/>
                <a:gd name="connsiteY12" fmla="*/ 178822 h 183180"/>
                <a:gd name="connsiteX13" fmla="*/ 93571 w 277462"/>
                <a:gd name="connsiteY13" fmla="*/ 178785 h 183180"/>
                <a:gd name="connsiteX14" fmla="*/ 93683 w 277462"/>
                <a:gd name="connsiteY14" fmla="*/ 8694 h 183180"/>
                <a:gd name="connsiteX15" fmla="*/ 98022 w 277462"/>
                <a:gd name="connsiteY15" fmla="*/ 4244 h 183180"/>
                <a:gd name="connsiteX16" fmla="*/ 98125 w 277462"/>
                <a:gd name="connsiteY16" fmla="*/ 4243 h 183180"/>
                <a:gd name="connsiteX17" fmla="*/ 149349 w 277462"/>
                <a:gd name="connsiteY17" fmla="*/ 4243 h 183180"/>
                <a:gd name="connsiteX18" fmla="*/ 153800 w 277462"/>
                <a:gd name="connsiteY18" fmla="*/ 8639 h 183180"/>
                <a:gd name="connsiteX19" fmla="*/ 153800 w 277462"/>
                <a:gd name="connsiteY19" fmla="*/ 29607 h 183180"/>
                <a:gd name="connsiteX20" fmla="*/ 153400 w 277462"/>
                <a:gd name="connsiteY20" fmla="*/ 30187 h 183180"/>
                <a:gd name="connsiteX21" fmla="*/ 153800 w 277462"/>
                <a:gd name="connsiteY21" fmla="*/ 30187 h 183180"/>
                <a:gd name="connsiteX22" fmla="*/ 153800 w 277462"/>
                <a:gd name="connsiteY22" fmla="*/ 29607 h 183180"/>
                <a:gd name="connsiteX23" fmla="*/ 208097 w 277462"/>
                <a:gd name="connsiteY23" fmla="*/ 50 h 183180"/>
                <a:gd name="connsiteX24" fmla="*/ 277454 w 277462"/>
                <a:gd name="connsiteY24" fmla="*/ 80566 h 183180"/>
                <a:gd name="connsiteX25" fmla="*/ 4452 w 277462"/>
                <a:gd name="connsiteY25" fmla="*/ 183181 h 183180"/>
                <a:gd name="connsiteX26" fmla="*/ 55787 w 277462"/>
                <a:gd name="connsiteY26" fmla="*/ 183181 h 183180"/>
                <a:gd name="connsiteX27" fmla="*/ 60239 w 277462"/>
                <a:gd name="connsiteY27" fmla="*/ 178794 h 183180"/>
                <a:gd name="connsiteX28" fmla="*/ 60239 w 277462"/>
                <a:gd name="connsiteY28" fmla="*/ 8639 h 183180"/>
                <a:gd name="connsiteX29" fmla="*/ 55787 w 277462"/>
                <a:gd name="connsiteY29" fmla="*/ 4243 h 183180"/>
                <a:gd name="connsiteX30" fmla="*/ 4452 w 277462"/>
                <a:gd name="connsiteY30" fmla="*/ 4243 h 183180"/>
                <a:gd name="connsiteX31" fmla="*/ 0 w 277462"/>
                <a:gd name="connsiteY31" fmla="*/ 8639 h 183180"/>
                <a:gd name="connsiteX32" fmla="*/ 0 w 277462"/>
                <a:gd name="connsiteY32" fmla="*/ 178776 h 183180"/>
                <a:gd name="connsiteX33" fmla="*/ 4442 w 277462"/>
                <a:gd name="connsiteY33" fmla="*/ 183181 h 183180"/>
                <a:gd name="connsiteX34" fmla="*/ 4452 w 277462"/>
                <a:gd name="connsiteY34" fmla="*/ 183181 h 18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7462" h="183180">
                  <a:moveTo>
                    <a:pt x="277463" y="80575"/>
                  </a:moveTo>
                  <a:lnTo>
                    <a:pt x="277463" y="178794"/>
                  </a:lnTo>
                  <a:cubicBezTo>
                    <a:pt x="277458" y="181218"/>
                    <a:pt x="275466" y="183181"/>
                    <a:pt x="273011" y="183181"/>
                  </a:cubicBezTo>
                  <a:lnTo>
                    <a:pt x="221667" y="183181"/>
                  </a:lnTo>
                  <a:cubicBezTo>
                    <a:pt x="219212" y="183181"/>
                    <a:pt x="217220" y="181218"/>
                    <a:pt x="217215" y="178794"/>
                  </a:cubicBezTo>
                  <a:lnTo>
                    <a:pt x="217215" y="87445"/>
                  </a:lnTo>
                  <a:cubicBezTo>
                    <a:pt x="217215" y="63405"/>
                    <a:pt x="208516" y="46980"/>
                    <a:pt x="186704" y="46980"/>
                  </a:cubicBezTo>
                  <a:cubicBezTo>
                    <a:pt x="172783" y="47058"/>
                    <a:pt x="160414" y="55768"/>
                    <a:pt x="155803" y="68739"/>
                  </a:cubicBezTo>
                  <a:cubicBezTo>
                    <a:pt x="154251" y="73410"/>
                    <a:pt x="153573" y="78321"/>
                    <a:pt x="153800" y="83233"/>
                  </a:cubicBezTo>
                  <a:lnTo>
                    <a:pt x="153800" y="178785"/>
                  </a:lnTo>
                  <a:cubicBezTo>
                    <a:pt x="153800" y="181209"/>
                    <a:pt x="151813" y="183176"/>
                    <a:pt x="149358" y="183181"/>
                  </a:cubicBezTo>
                  <a:lnTo>
                    <a:pt x="98023" y="183181"/>
                  </a:lnTo>
                  <a:cubicBezTo>
                    <a:pt x="95575" y="183191"/>
                    <a:pt x="93581" y="181239"/>
                    <a:pt x="93571" y="178822"/>
                  </a:cubicBezTo>
                  <a:cubicBezTo>
                    <a:pt x="93571" y="178809"/>
                    <a:pt x="93571" y="178797"/>
                    <a:pt x="93571" y="178785"/>
                  </a:cubicBezTo>
                  <a:cubicBezTo>
                    <a:pt x="93683" y="154460"/>
                    <a:pt x="94204" y="36431"/>
                    <a:pt x="93683" y="8694"/>
                  </a:cubicBezTo>
                  <a:cubicBezTo>
                    <a:pt x="93637" y="6282"/>
                    <a:pt x="95579" y="4290"/>
                    <a:pt x="98022" y="4244"/>
                  </a:cubicBezTo>
                  <a:cubicBezTo>
                    <a:pt x="98056" y="4243"/>
                    <a:pt x="98091" y="4243"/>
                    <a:pt x="98125" y="4243"/>
                  </a:cubicBezTo>
                  <a:lnTo>
                    <a:pt x="149349" y="4243"/>
                  </a:lnTo>
                  <a:cubicBezTo>
                    <a:pt x="151807" y="4243"/>
                    <a:pt x="153800" y="6211"/>
                    <a:pt x="153800" y="8639"/>
                  </a:cubicBezTo>
                  <a:lnTo>
                    <a:pt x="153800" y="29607"/>
                  </a:lnTo>
                  <a:cubicBezTo>
                    <a:pt x="153679" y="29801"/>
                    <a:pt x="153512" y="29994"/>
                    <a:pt x="153400" y="30187"/>
                  </a:cubicBezTo>
                  <a:lnTo>
                    <a:pt x="153800" y="30187"/>
                  </a:lnTo>
                  <a:lnTo>
                    <a:pt x="153800" y="29607"/>
                  </a:lnTo>
                  <a:cubicBezTo>
                    <a:pt x="164913" y="10539"/>
                    <a:pt x="185836" y="-851"/>
                    <a:pt x="208097" y="50"/>
                  </a:cubicBezTo>
                  <a:cubicBezTo>
                    <a:pt x="247735" y="50"/>
                    <a:pt x="277454" y="25616"/>
                    <a:pt x="277454" y="80566"/>
                  </a:cubicBezTo>
                  <a:close/>
                  <a:moveTo>
                    <a:pt x="4452" y="183181"/>
                  </a:moveTo>
                  <a:lnTo>
                    <a:pt x="55787" y="183181"/>
                  </a:lnTo>
                  <a:cubicBezTo>
                    <a:pt x="58242" y="183181"/>
                    <a:pt x="60234" y="181218"/>
                    <a:pt x="60239" y="178794"/>
                  </a:cubicBezTo>
                  <a:lnTo>
                    <a:pt x="60239" y="8639"/>
                  </a:lnTo>
                  <a:cubicBezTo>
                    <a:pt x="60239" y="6211"/>
                    <a:pt x="58246" y="4243"/>
                    <a:pt x="55787" y="4243"/>
                  </a:cubicBezTo>
                  <a:lnTo>
                    <a:pt x="4452" y="4243"/>
                  </a:lnTo>
                  <a:cubicBezTo>
                    <a:pt x="1993" y="4243"/>
                    <a:pt x="0" y="6211"/>
                    <a:pt x="0" y="8639"/>
                  </a:cubicBezTo>
                  <a:lnTo>
                    <a:pt x="0" y="178776"/>
                  </a:lnTo>
                  <a:cubicBezTo>
                    <a:pt x="-5" y="181203"/>
                    <a:pt x="1984" y="183176"/>
                    <a:pt x="4442" y="183181"/>
                  </a:cubicBezTo>
                  <a:cubicBezTo>
                    <a:pt x="4446" y="183181"/>
                    <a:pt x="4449" y="183181"/>
                    <a:pt x="4452" y="183181"/>
                  </a:cubicBezTo>
                  <a:close/>
                </a:path>
              </a:pathLst>
            </a:custGeom>
            <a:grpFill/>
            <a:ln w="9208"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sp>
          <p:nvSpPr>
            <p:cNvPr id="14" name="Freeform 13">
              <a:extLst>
                <a:ext uri="{FF2B5EF4-FFF2-40B4-BE49-F238E27FC236}">
                  <a16:creationId xmlns:a16="http://schemas.microsoft.com/office/drawing/2014/main" id="{536C2085-3059-D347-8C15-2AD3D8FEE8DE}"/>
                </a:ext>
              </a:extLst>
            </p:cNvPr>
            <p:cNvSpPr/>
            <p:nvPr/>
          </p:nvSpPr>
          <p:spPr>
            <a:xfrm>
              <a:off x="7329020" y="5440182"/>
              <a:ext cx="64504" cy="63695"/>
            </a:xfrm>
            <a:custGeom>
              <a:avLst/>
              <a:gdLst>
                <a:gd name="connsiteX0" fmla="*/ 64504 w 64504"/>
                <a:gd name="connsiteY0" fmla="*/ 31848 h 63695"/>
                <a:gd name="connsiteX1" fmla="*/ 32252 w 64504"/>
                <a:gd name="connsiteY1" fmla="*/ 63695 h 63695"/>
                <a:gd name="connsiteX2" fmla="*/ 0 w 64504"/>
                <a:gd name="connsiteY2" fmla="*/ 31848 h 63695"/>
                <a:gd name="connsiteX3" fmla="*/ 32252 w 64504"/>
                <a:gd name="connsiteY3" fmla="*/ 0 h 63695"/>
                <a:gd name="connsiteX4" fmla="*/ 64504 w 64504"/>
                <a:gd name="connsiteY4" fmla="*/ 31848 h 63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04" h="63695">
                  <a:moveTo>
                    <a:pt x="64504" y="31848"/>
                  </a:moveTo>
                  <a:cubicBezTo>
                    <a:pt x="64504" y="49437"/>
                    <a:pt x="50064" y="63695"/>
                    <a:pt x="32252" y="63695"/>
                  </a:cubicBezTo>
                  <a:cubicBezTo>
                    <a:pt x="14440" y="63695"/>
                    <a:pt x="0" y="49437"/>
                    <a:pt x="0" y="31848"/>
                  </a:cubicBezTo>
                  <a:cubicBezTo>
                    <a:pt x="0" y="14259"/>
                    <a:pt x="14440" y="0"/>
                    <a:pt x="32252" y="0"/>
                  </a:cubicBezTo>
                  <a:cubicBezTo>
                    <a:pt x="50062" y="5"/>
                    <a:pt x="64499" y="14261"/>
                    <a:pt x="64504" y="31848"/>
                  </a:cubicBezTo>
                  <a:close/>
                </a:path>
              </a:pathLst>
            </a:custGeom>
            <a:grpFill/>
            <a:ln w="9208"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grpSp>
      <p:sp>
        <p:nvSpPr>
          <p:cNvPr id="15" name="Graphic 60">
            <a:extLst>
              <a:ext uri="{FF2B5EF4-FFF2-40B4-BE49-F238E27FC236}">
                <a16:creationId xmlns:a16="http://schemas.microsoft.com/office/drawing/2014/main" id="{92142D65-F03C-CB48-AE93-151AE8B85CE9}"/>
              </a:ext>
            </a:extLst>
          </p:cNvPr>
          <p:cNvSpPr/>
          <p:nvPr/>
        </p:nvSpPr>
        <p:spPr>
          <a:xfrm>
            <a:off x="1412612" y="4632960"/>
            <a:ext cx="230506" cy="165736"/>
          </a:xfrm>
          <a:custGeom>
            <a:avLst/>
            <a:gdLst>
              <a:gd name="connsiteX0" fmla="*/ 315632 w 315632"/>
              <a:gd name="connsiteY0" fmla="*/ 70085 h 225361"/>
              <a:gd name="connsiteX1" fmla="*/ 246922 w 315632"/>
              <a:gd name="connsiteY1" fmla="*/ 0 h 225361"/>
              <a:gd name="connsiteX2" fmla="*/ 68711 w 315632"/>
              <a:gd name="connsiteY2" fmla="*/ 0 h 225361"/>
              <a:gd name="connsiteX3" fmla="*/ 0 w 315632"/>
              <a:gd name="connsiteY3" fmla="*/ 70085 h 225361"/>
              <a:gd name="connsiteX4" fmla="*/ 0 w 315632"/>
              <a:gd name="connsiteY4" fmla="*/ 155258 h 225361"/>
              <a:gd name="connsiteX5" fmla="*/ 68692 w 315632"/>
              <a:gd name="connsiteY5" fmla="*/ 225362 h 225361"/>
              <a:gd name="connsiteX6" fmla="*/ 68711 w 315632"/>
              <a:gd name="connsiteY6" fmla="*/ 225362 h 225361"/>
              <a:gd name="connsiteX7" fmla="*/ 246922 w 315632"/>
              <a:gd name="connsiteY7" fmla="*/ 225362 h 225361"/>
              <a:gd name="connsiteX8" fmla="*/ 315632 w 315632"/>
              <a:gd name="connsiteY8" fmla="*/ 155277 h 225361"/>
              <a:gd name="connsiteX9" fmla="*/ 315632 w 315632"/>
              <a:gd name="connsiteY9" fmla="*/ 155258 h 225361"/>
              <a:gd name="connsiteX10" fmla="*/ 203191 w 315632"/>
              <a:gd name="connsiteY10" fmla="*/ 116977 h 225361"/>
              <a:gd name="connsiteX11" fmla="*/ 132117 w 315632"/>
              <a:gd name="connsiteY11" fmla="*/ 156734 h 225361"/>
              <a:gd name="connsiteX12" fmla="*/ 126253 w 315632"/>
              <a:gd name="connsiteY12" fmla="*/ 152571 h 225361"/>
              <a:gd name="connsiteX13" fmla="*/ 126253 w 315632"/>
              <a:gd name="connsiteY13" fmla="*/ 70961 h 225361"/>
              <a:gd name="connsiteX14" fmla="*/ 132211 w 315632"/>
              <a:gd name="connsiteY14" fmla="*/ 66846 h 225361"/>
              <a:gd name="connsiteX15" fmla="*/ 203770 w 315632"/>
              <a:gd name="connsiteY15" fmla="*/ 108699 h 225361"/>
              <a:gd name="connsiteX16" fmla="*/ 205088 w 315632"/>
              <a:gd name="connsiteY16" fmla="*/ 115299 h 225361"/>
              <a:gd name="connsiteX17" fmla="*/ 203191 w 315632"/>
              <a:gd name="connsiteY17" fmla="*/ 116977 h 22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5632" h="225361">
                <a:moveTo>
                  <a:pt x="315632" y="70085"/>
                </a:moveTo>
                <a:cubicBezTo>
                  <a:pt x="315632" y="31378"/>
                  <a:pt x="284870" y="0"/>
                  <a:pt x="246922" y="0"/>
                </a:cubicBezTo>
                <a:lnTo>
                  <a:pt x="68711" y="0"/>
                </a:lnTo>
                <a:cubicBezTo>
                  <a:pt x="30763" y="0"/>
                  <a:pt x="0" y="31378"/>
                  <a:pt x="0" y="70085"/>
                </a:cubicBezTo>
                <a:lnTo>
                  <a:pt x="0" y="155258"/>
                </a:lnTo>
                <a:cubicBezTo>
                  <a:pt x="-10" y="193964"/>
                  <a:pt x="30744" y="225351"/>
                  <a:pt x="68692" y="225362"/>
                </a:cubicBezTo>
                <a:cubicBezTo>
                  <a:pt x="68698" y="225362"/>
                  <a:pt x="68705" y="225362"/>
                  <a:pt x="68711" y="225362"/>
                </a:cubicBezTo>
                <a:lnTo>
                  <a:pt x="246922" y="225362"/>
                </a:lnTo>
                <a:cubicBezTo>
                  <a:pt x="284870" y="225362"/>
                  <a:pt x="315632" y="193983"/>
                  <a:pt x="315632" y="155277"/>
                </a:cubicBezTo>
                <a:cubicBezTo>
                  <a:pt x="315632" y="155270"/>
                  <a:pt x="315632" y="155264"/>
                  <a:pt x="315632" y="155258"/>
                </a:cubicBezTo>
                <a:close/>
                <a:moveTo>
                  <a:pt x="203191" y="116977"/>
                </a:moveTo>
                <a:lnTo>
                  <a:pt x="132117" y="156734"/>
                </a:lnTo>
                <a:cubicBezTo>
                  <a:pt x="129036" y="158439"/>
                  <a:pt x="126253" y="156153"/>
                  <a:pt x="126253" y="152571"/>
                </a:cubicBezTo>
                <a:lnTo>
                  <a:pt x="126253" y="70961"/>
                </a:lnTo>
                <a:cubicBezTo>
                  <a:pt x="126253" y="67332"/>
                  <a:pt x="129120" y="65056"/>
                  <a:pt x="132211" y="66846"/>
                </a:cubicBezTo>
                <a:lnTo>
                  <a:pt x="203770" y="108699"/>
                </a:lnTo>
                <a:cubicBezTo>
                  <a:pt x="205920" y="110150"/>
                  <a:pt x="206511" y="113105"/>
                  <a:pt x="205088" y="115299"/>
                </a:cubicBezTo>
                <a:cubicBezTo>
                  <a:pt x="204618" y="116024"/>
                  <a:pt x="203961" y="116605"/>
                  <a:pt x="203191" y="116977"/>
                </a:cubicBezTo>
                <a:close/>
              </a:path>
            </a:pathLst>
          </a:custGeom>
          <a:solidFill>
            <a:schemeClr val="bg1"/>
          </a:solidFill>
          <a:ln w="9245" cap="flat">
            <a:noFill/>
            <a:prstDash val="solid"/>
            <a:miter/>
          </a:ln>
        </p:spPr>
        <p:txBody>
          <a:bodyPr anchor="ctr"/>
          <a:lstStyle/>
          <a:p>
            <a:pPr eaLnBrk="1" fontAlgn="auto" hangingPunct="1">
              <a:spcBef>
                <a:spcPts val="0"/>
              </a:spcBef>
              <a:spcAft>
                <a:spcPts val="0"/>
              </a:spcAft>
              <a:defRPr/>
            </a:pPr>
            <a:endParaRPr lang="en-US" sz="1351">
              <a:latin typeface="AvenirNext LT Pro Regular" panose="020B0504020202020204" pitchFamily="34" charset="77"/>
            </a:endParaRPr>
          </a:p>
        </p:txBody>
      </p:sp>
      <p:sp>
        <p:nvSpPr>
          <p:cNvPr id="16" name="Subtitle 6">
            <a:extLst>
              <a:ext uri="{FF2B5EF4-FFF2-40B4-BE49-F238E27FC236}">
                <a16:creationId xmlns:a16="http://schemas.microsoft.com/office/drawing/2014/main" id="{67BB9B40-A322-BA42-BC65-571F894DD7C6}"/>
              </a:ext>
            </a:extLst>
          </p:cNvPr>
          <p:cNvSpPr txBox="1">
            <a:spLocks noChangeArrowheads="1"/>
          </p:cNvSpPr>
          <p:nvPr/>
        </p:nvSpPr>
        <p:spPr bwMode="auto">
          <a:xfrm>
            <a:off x="1646928" y="4231006"/>
            <a:ext cx="3893820" cy="133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6" tIns="91426" rIns="91426" bIns="91426"/>
          <a:lstStyle>
            <a:lvl1pPr indent="-228600">
              <a:defRPr>
                <a:solidFill>
                  <a:schemeClr val="tx1"/>
                </a:solidFill>
                <a:latin typeface="Calibri" panose="020F0502020204030204" pitchFamily="34" charset="0"/>
              </a:defRPr>
            </a:lvl1pPr>
            <a:lvl2pPr marL="685800" indent="-2286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1097280" eaLnBrk="1" hangingPunct="1">
              <a:lnSpc>
                <a:spcPct val="90000"/>
              </a:lnSpc>
            </a:pPr>
            <a:r>
              <a:rPr lang="en-US" altLang="en-US" sz="1200" err="1">
                <a:solidFill>
                  <a:schemeClr val="bg1"/>
                </a:solidFill>
                <a:latin typeface="AvenirNext LT Pro Regular" panose="020B0504020202020204" pitchFamily="34" charset="77"/>
              </a:rPr>
              <a:t>linkedin.com</a:t>
            </a:r>
            <a:r>
              <a:rPr lang="en-US" altLang="en-US" sz="1200">
                <a:solidFill>
                  <a:schemeClr val="bg1"/>
                </a:solidFill>
                <a:latin typeface="AvenirNext LT Pro Regular" panose="020B0504020202020204" pitchFamily="34" charset="77"/>
              </a:rPr>
              <a:t>/company/</a:t>
            </a:r>
            <a:r>
              <a:rPr lang="en-US" altLang="en-US" sz="1200" err="1">
                <a:solidFill>
                  <a:schemeClr val="bg1"/>
                </a:solidFill>
                <a:latin typeface="AvenirNext LT Pro Regular" panose="020B0504020202020204" pitchFamily="34" charset="77"/>
              </a:rPr>
              <a:t>ellab</a:t>
            </a:r>
            <a:r>
              <a:rPr lang="en-US" altLang="en-US" sz="1200">
                <a:solidFill>
                  <a:schemeClr val="bg1"/>
                </a:solidFill>
                <a:latin typeface="AvenirNext LT Pro Regular" panose="020B0504020202020204" pitchFamily="34" charset="77"/>
              </a:rPr>
              <a:t>/</a:t>
            </a:r>
          </a:p>
          <a:p>
            <a:pPr defTabSz="1097280" eaLnBrk="1" hangingPunct="1">
              <a:lnSpc>
                <a:spcPct val="90000"/>
              </a:lnSpc>
            </a:pPr>
            <a:endParaRPr lang="en-US" altLang="en-US" sz="1200">
              <a:solidFill>
                <a:schemeClr val="bg1"/>
              </a:solidFill>
              <a:latin typeface="AvenirNext LT Pro Regular" panose="020B0504020202020204" pitchFamily="34" charset="77"/>
            </a:endParaRPr>
          </a:p>
          <a:p>
            <a:pPr defTabSz="1097280" eaLnBrk="1" hangingPunct="1">
              <a:lnSpc>
                <a:spcPct val="90000"/>
              </a:lnSpc>
            </a:pPr>
            <a:r>
              <a:rPr lang="en-US" altLang="en-US" sz="1200" err="1">
                <a:solidFill>
                  <a:schemeClr val="bg1"/>
                </a:solidFill>
                <a:latin typeface="AvenirNext LT Pro Regular" panose="020B0504020202020204" pitchFamily="34" charset="77"/>
              </a:rPr>
              <a:t>youtube.com</a:t>
            </a:r>
            <a:r>
              <a:rPr lang="en-US" altLang="en-US" sz="1200">
                <a:solidFill>
                  <a:schemeClr val="bg1"/>
                </a:solidFill>
                <a:latin typeface="AvenirNext LT Pro Regular" panose="020B0504020202020204" pitchFamily="34" charset="77"/>
              </a:rPr>
              <a:t>/c/</a:t>
            </a:r>
            <a:r>
              <a:rPr lang="en-US" altLang="en-US" sz="1200" err="1">
                <a:solidFill>
                  <a:schemeClr val="bg1"/>
                </a:solidFill>
                <a:latin typeface="AvenirNext LT Pro Regular" panose="020B0504020202020204" pitchFamily="34" charset="77"/>
              </a:rPr>
              <a:t>EllabValidationMonitoringSolutions</a:t>
            </a:r>
            <a:endParaRPr lang="en-US" altLang="en-US" sz="1200" u="sng">
              <a:solidFill>
                <a:schemeClr val="bg1"/>
              </a:solidFill>
              <a:latin typeface="AvenirNext LT Pro Regular" panose="020B0504020202020204" pitchFamily="34" charset="77"/>
            </a:endParaRPr>
          </a:p>
          <a:p>
            <a:pPr defTabSz="1097280" eaLnBrk="1" hangingPunct="1">
              <a:lnSpc>
                <a:spcPct val="90000"/>
              </a:lnSpc>
            </a:pPr>
            <a:endParaRPr lang="en-US" altLang="en-US" sz="1200">
              <a:solidFill>
                <a:schemeClr val="bg1"/>
              </a:solidFill>
              <a:latin typeface="AvenirNext LT Pro Regular" panose="020B0504020202020204" pitchFamily="34" charset="77"/>
            </a:endParaRPr>
          </a:p>
          <a:p>
            <a:pPr defTabSz="1097280" eaLnBrk="1" hangingPunct="1">
              <a:lnSpc>
                <a:spcPct val="90000"/>
              </a:lnSpc>
            </a:pPr>
            <a:r>
              <a:rPr lang="en-US" altLang="en-US" sz="1200" err="1">
                <a:solidFill>
                  <a:schemeClr val="bg1"/>
                </a:solidFill>
                <a:latin typeface="AvenirNext LT Pro Regular" panose="020B0504020202020204" pitchFamily="34" charset="77"/>
              </a:rPr>
              <a:t>twitter.com</a:t>
            </a:r>
            <a:r>
              <a:rPr lang="en-US" altLang="en-US" sz="1200">
                <a:solidFill>
                  <a:schemeClr val="bg1"/>
                </a:solidFill>
                <a:latin typeface="AvenirNext LT Pro Regular" panose="020B0504020202020204" pitchFamily="34" charset="77"/>
              </a:rPr>
              <a:t>/</a:t>
            </a:r>
            <a:r>
              <a:rPr lang="en-US" altLang="en-US" sz="1200" err="1">
                <a:solidFill>
                  <a:schemeClr val="bg1"/>
                </a:solidFill>
                <a:latin typeface="AvenirNext LT Pro Regular" panose="020B0504020202020204" pitchFamily="34" charset="77"/>
              </a:rPr>
              <a:t>ellabsolutions</a:t>
            </a:r>
            <a:endParaRPr lang="en-US" altLang="en-US" sz="1200">
              <a:solidFill>
                <a:schemeClr val="bg1"/>
              </a:solidFill>
              <a:latin typeface="AvenirNext LT Pro Regular" panose="020B0504020202020204" pitchFamily="34" charset="77"/>
            </a:endParaRPr>
          </a:p>
        </p:txBody>
      </p:sp>
      <p:sp>
        <p:nvSpPr>
          <p:cNvPr id="18" name="Graphic 2">
            <a:extLst>
              <a:ext uri="{FF2B5EF4-FFF2-40B4-BE49-F238E27FC236}">
                <a16:creationId xmlns:a16="http://schemas.microsoft.com/office/drawing/2014/main" id="{C8E90FFF-798C-944B-A603-6342E7598F3A}"/>
              </a:ext>
            </a:extLst>
          </p:cNvPr>
          <p:cNvSpPr/>
          <p:nvPr/>
        </p:nvSpPr>
        <p:spPr>
          <a:xfrm>
            <a:off x="606016" y="5930266"/>
            <a:ext cx="2163631" cy="382970"/>
          </a:xfrm>
          <a:custGeom>
            <a:avLst/>
            <a:gdLst>
              <a:gd name="connsiteX0" fmla="*/ 1704137 w 1943442"/>
              <a:gd name="connsiteY0" fmla="*/ 382972 h 383495"/>
              <a:gd name="connsiteX1" fmla="*/ 0 w 1943442"/>
              <a:gd name="connsiteY1" fmla="*/ 383496 h 383495"/>
              <a:gd name="connsiteX2" fmla="*/ 0 w 1943442"/>
              <a:gd name="connsiteY2" fmla="*/ 524 h 383495"/>
              <a:gd name="connsiteX3" fmla="*/ 1943443 w 1943442"/>
              <a:gd name="connsiteY3" fmla="*/ 0 h 383495"/>
              <a:gd name="connsiteX4" fmla="*/ 1704137 w 1943442"/>
              <a:gd name="connsiteY4" fmla="*/ 382972 h 383495"/>
              <a:gd name="connsiteX0" fmla="*/ 2733497 w 2972803"/>
              <a:gd name="connsiteY0" fmla="*/ 382972 h 387630"/>
              <a:gd name="connsiteX1" fmla="*/ 0 w 2972803"/>
              <a:gd name="connsiteY1" fmla="*/ 387630 h 387630"/>
              <a:gd name="connsiteX2" fmla="*/ 1029360 w 2972803"/>
              <a:gd name="connsiteY2" fmla="*/ 524 h 387630"/>
              <a:gd name="connsiteX3" fmla="*/ 2972803 w 2972803"/>
              <a:gd name="connsiteY3" fmla="*/ 0 h 387630"/>
              <a:gd name="connsiteX4" fmla="*/ 2733497 w 2972803"/>
              <a:gd name="connsiteY4" fmla="*/ 382972 h 387630"/>
              <a:gd name="connsiteX0" fmla="*/ 2733497 w 2972803"/>
              <a:gd name="connsiteY0" fmla="*/ 382972 h 387630"/>
              <a:gd name="connsiteX1" fmla="*/ 0 w 2972803"/>
              <a:gd name="connsiteY1" fmla="*/ 387630 h 387630"/>
              <a:gd name="connsiteX2" fmla="*/ 0 w 2972803"/>
              <a:gd name="connsiteY2" fmla="*/ 523 h 387630"/>
              <a:gd name="connsiteX3" fmla="*/ 2972803 w 2972803"/>
              <a:gd name="connsiteY3" fmla="*/ 0 h 387630"/>
              <a:gd name="connsiteX4" fmla="*/ 2733497 w 2972803"/>
              <a:gd name="connsiteY4" fmla="*/ 382972 h 387630"/>
              <a:gd name="connsiteX0" fmla="*/ 2733497 w 2972803"/>
              <a:gd name="connsiteY0" fmla="*/ 382972 h 387630"/>
              <a:gd name="connsiteX1" fmla="*/ 0 w 2972803"/>
              <a:gd name="connsiteY1" fmla="*/ 387630 h 387630"/>
              <a:gd name="connsiteX2" fmla="*/ 782842 w 2972803"/>
              <a:gd name="connsiteY2" fmla="*/ 523 h 387630"/>
              <a:gd name="connsiteX3" fmla="*/ 2972803 w 2972803"/>
              <a:gd name="connsiteY3" fmla="*/ 0 h 387630"/>
              <a:gd name="connsiteX4" fmla="*/ 2733497 w 2972803"/>
              <a:gd name="connsiteY4" fmla="*/ 382972 h 387630"/>
              <a:gd name="connsiteX0" fmla="*/ 1950655 w 2189961"/>
              <a:gd name="connsiteY0" fmla="*/ 382972 h 387630"/>
              <a:gd name="connsiteX1" fmla="*/ 0 w 2189961"/>
              <a:gd name="connsiteY1" fmla="*/ 387630 h 387630"/>
              <a:gd name="connsiteX2" fmla="*/ 0 w 2189961"/>
              <a:gd name="connsiteY2" fmla="*/ 523 h 387630"/>
              <a:gd name="connsiteX3" fmla="*/ 2189961 w 2189961"/>
              <a:gd name="connsiteY3" fmla="*/ 0 h 387630"/>
              <a:gd name="connsiteX4" fmla="*/ 1950655 w 2189961"/>
              <a:gd name="connsiteY4" fmla="*/ 382972 h 387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9961" h="387630">
                <a:moveTo>
                  <a:pt x="1950655" y="382972"/>
                </a:moveTo>
                <a:lnTo>
                  <a:pt x="0" y="387630"/>
                </a:lnTo>
                <a:lnTo>
                  <a:pt x="0" y="523"/>
                </a:lnTo>
                <a:lnTo>
                  <a:pt x="2189961" y="0"/>
                </a:lnTo>
                <a:lnTo>
                  <a:pt x="1950655" y="382972"/>
                </a:lnTo>
                <a:close/>
              </a:path>
            </a:pathLst>
          </a:custGeom>
          <a:solidFill>
            <a:srgbClr val="BB283D"/>
          </a:solidFill>
          <a:ln w="9525" cap="flat">
            <a:noFill/>
            <a:prstDash val="solid"/>
            <a:miter/>
          </a:ln>
        </p:spPr>
        <p:txBody>
          <a:bodyPr rtlCol="0" anchor="ctr"/>
          <a:lstStyle/>
          <a:p>
            <a:pPr defTabSz="822926" eaLnBrk="1" fontAlgn="auto" hangingPunct="1">
              <a:spcBef>
                <a:spcPts val="0"/>
              </a:spcBef>
              <a:spcAft>
                <a:spcPts val="0"/>
              </a:spcAft>
              <a:defRPr/>
            </a:pPr>
            <a:r>
              <a:rPr lang="en-US" sz="1356" b="1">
                <a:solidFill>
                  <a:schemeClr val="bg1"/>
                </a:solidFill>
                <a:latin typeface="AvenirNext LT Pro Medium" panose="020B0504020202020204" pitchFamily="34" charset="77"/>
              </a:rPr>
              <a:t>                ellab.com</a:t>
            </a:r>
          </a:p>
        </p:txBody>
      </p:sp>
      <p:pic>
        <p:nvPicPr>
          <p:cNvPr id="21" name="Picture 20" descr="A picture containing grass, sky, outdoor, building&#10;&#10;Description automatically generated">
            <a:extLst>
              <a:ext uri="{FF2B5EF4-FFF2-40B4-BE49-F238E27FC236}">
                <a16:creationId xmlns:a16="http://schemas.microsoft.com/office/drawing/2014/main" id="{4330E69B-28B9-2025-6BC4-95BE7F5C73E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22930" y="1833733"/>
            <a:ext cx="5486400" cy="3126154"/>
          </a:xfrm>
          <a:prstGeom prst="rect">
            <a:avLst/>
          </a:prstGeom>
        </p:spPr>
      </p:pic>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8749DD0-803A-F30C-9EB4-B29ACD6E8CC6}"/>
              </a:ext>
            </a:extLst>
          </p:cNvPr>
          <p:cNvSpPr>
            <a:spLocks noGrp="1"/>
          </p:cNvSpPr>
          <p:nvPr>
            <p:ph type="title"/>
          </p:nvPr>
        </p:nvSpPr>
        <p:spPr/>
        <p:txBody>
          <a:bodyPr/>
          <a:lstStyle/>
          <a:p>
            <a:r>
              <a:rPr lang="en-GB" dirty="0"/>
              <a:t>Workshop</a:t>
            </a:r>
            <a:endParaRPr lang="en-DK" dirty="0"/>
          </a:p>
        </p:txBody>
      </p:sp>
    </p:spTree>
    <p:extLst>
      <p:ext uri="{BB962C8B-B14F-4D97-AF65-F5344CB8AC3E}">
        <p14:creationId xmlns:p14="http://schemas.microsoft.com/office/powerpoint/2010/main" val="5221894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35D88-D868-9A1B-52FF-2441648DCD40}"/>
            </a:ext>
          </a:extLst>
        </p:cNvPr>
        <p:cNvGrpSpPr/>
        <p:nvPr/>
      </p:nvGrpSpPr>
      <p:grpSpPr>
        <a:xfrm>
          <a:off x="0" y="0"/>
          <a:ext cx="0" cy="0"/>
          <a:chOff x="0" y="0"/>
          <a:chExt cx="0" cy="0"/>
        </a:xfrm>
      </p:grpSpPr>
      <p:sp>
        <p:nvSpPr>
          <p:cNvPr id="36" name="Rectangle 4">
            <a:extLst>
              <a:ext uri="{FF2B5EF4-FFF2-40B4-BE49-F238E27FC236}">
                <a16:creationId xmlns:a16="http://schemas.microsoft.com/office/drawing/2014/main" id="{117D3EDF-5047-F32D-D938-2005F6BB0541}"/>
              </a:ext>
            </a:extLst>
          </p:cNvPr>
          <p:cNvSpPr/>
          <p:nvPr/>
        </p:nvSpPr>
        <p:spPr>
          <a:xfrm>
            <a:off x="6703862" y="1914937"/>
            <a:ext cx="2199137" cy="4766863"/>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US" sz="1620">
              <a:solidFill>
                <a:srgbClr val="FFFFFF"/>
              </a:solidFill>
              <a:latin typeface="Ellab Sans"/>
            </a:endParaRPr>
          </a:p>
        </p:txBody>
      </p:sp>
      <p:sp>
        <p:nvSpPr>
          <p:cNvPr id="37" name="Titel 2">
            <a:extLst>
              <a:ext uri="{FF2B5EF4-FFF2-40B4-BE49-F238E27FC236}">
                <a16:creationId xmlns:a16="http://schemas.microsoft.com/office/drawing/2014/main" id="{EF196D27-DBAD-338C-546F-47A3AC5EECB6}"/>
              </a:ext>
            </a:extLst>
          </p:cNvPr>
          <p:cNvSpPr txBox="1">
            <a:spLocks/>
          </p:cNvSpPr>
          <p:nvPr/>
        </p:nvSpPr>
        <p:spPr bwMode="auto">
          <a:xfrm>
            <a:off x="6756854" y="4092753"/>
            <a:ext cx="2146146" cy="660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defTabSz="822960">
              <a:lnSpc>
                <a:spcPct val="100000"/>
              </a:lnSpc>
            </a:pPr>
            <a:r>
              <a:rPr lang="en-US" sz="1620" noProof="1">
                <a:solidFill>
                  <a:srgbClr val="00004B"/>
                </a:solidFill>
                <a:latin typeface="Ellab Sans"/>
              </a:rPr>
              <a:t>We unite equipment, expertise &amp; services</a:t>
            </a:r>
          </a:p>
          <a:p>
            <a:pPr defTabSz="822960">
              <a:lnSpc>
                <a:spcPct val="100000"/>
              </a:lnSpc>
            </a:pPr>
            <a:endParaRPr lang="en-US" sz="946" noProof="1">
              <a:solidFill>
                <a:srgbClr val="00004B"/>
              </a:solidFill>
              <a:latin typeface="Ellab Sans"/>
            </a:endParaRPr>
          </a:p>
        </p:txBody>
      </p:sp>
      <p:grpSp>
        <p:nvGrpSpPr>
          <p:cNvPr id="38" name="Group 37">
            <a:extLst>
              <a:ext uri="{FF2B5EF4-FFF2-40B4-BE49-F238E27FC236}">
                <a16:creationId xmlns:a16="http://schemas.microsoft.com/office/drawing/2014/main" id="{1DC51BDB-DF91-092C-2F92-30B535CBB015}"/>
              </a:ext>
            </a:extLst>
          </p:cNvPr>
          <p:cNvGrpSpPr/>
          <p:nvPr/>
        </p:nvGrpSpPr>
        <p:grpSpPr>
          <a:xfrm>
            <a:off x="6756852" y="4852554"/>
            <a:ext cx="2108396" cy="1135373"/>
            <a:chOff x="1599784" y="4991220"/>
            <a:chExt cx="2342662" cy="1261525"/>
          </a:xfrm>
        </p:grpSpPr>
        <p:sp>
          <p:nvSpPr>
            <p:cNvPr id="39" name="Titel 2">
              <a:extLst>
                <a:ext uri="{FF2B5EF4-FFF2-40B4-BE49-F238E27FC236}">
                  <a16:creationId xmlns:a16="http://schemas.microsoft.com/office/drawing/2014/main" id="{5C749EC6-937D-4642-202D-8775E5CC7E83}"/>
                </a:ext>
              </a:extLst>
            </p:cNvPr>
            <p:cNvSpPr txBox="1">
              <a:spLocks/>
            </p:cNvSpPr>
            <p:nvPr/>
          </p:nvSpPr>
          <p:spPr bwMode="auto">
            <a:xfrm>
              <a:off x="1599784" y="4991220"/>
              <a:ext cx="2342662" cy="572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defTabSz="822960">
                <a:lnSpc>
                  <a:spcPct val="100000"/>
                </a:lnSpc>
              </a:pPr>
              <a:r>
                <a:rPr lang="en-US" sz="810" b="0" noProof="1">
                  <a:solidFill>
                    <a:srgbClr val="FFFFFF"/>
                  </a:solidFill>
                  <a:latin typeface="Ellab Sans"/>
                </a:rPr>
                <a:t>You get tailored solutions that fit your project goals, timeline, and budget - from equipment rental to acquisition, and scalable personnel support.</a:t>
              </a:r>
            </a:p>
          </p:txBody>
        </p:sp>
        <p:sp>
          <p:nvSpPr>
            <p:cNvPr id="40" name="Titel 2">
              <a:extLst>
                <a:ext uri="{FF2B5EF4-FFF2-40B4-BE49-F238E27FC236}">
                  <a16:creationId xmlns:a16="http://schemas.microsoft.com/office/drawing/2014/main" id="{FD80226F-9298-FE57-26EB-DD4F8002AE61}"/>
                </a:ext>
              </a:extLst>
            </p:cNvPr>
            <p:cNvSpPr txBox="1">
              <a:spLocks/>
            </p:cNvSpPr>
            <p:nvPr/>
          </p:nvSpPr>
          <p:spPr bwMode="auto">
            <a:xfrm>
              <a:off x="1599784" y="5725316"/>
              <a:ext cx="2342662" cy="52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defTabSz="822960">
                <a:lnSpc>
                  <a:spcPct val="100000"/>
                </a:lnSpc>
              </a:pPr>
              <a:r>
                <a:rPr lang="en-US" sz="810" b="0" noProof="1">
                  <a:solidFill>
                    <a:srgbClr val="FFFFFF"/>
                  </a:solidFill>
                  <a:latin typeface="Ellab Sans"/>
                </a:rPr>
                <a:t>You get reliable, consistent compliance - no matter where you operate in the world. </a:t>
              </a:r>
            </a:p>
          </p:txBody>
        </p:sp>
        <p:cxnSp>
          <p:nvCxnSpPr>
            <p:cNvPr id="41" name="Conector recto 14">
              <a:extLst>
                <a:ext uri="{FF2B5EF4-FFF2-40B4-BE49-F238E27FC236}">
                  <a16:creationId xmlns:a16="http://schemas.microsoft.com/office/drawing/2014/main" id="{301ACB2D-558D-7381-51E9-E47E0E1DCDD6}"/>
                </a:ext>
              </a:extLst>
            </p:cNvPr>
            <p:cNvCxnSpPr/>
            <p:nvPr/>
          </p:nvCxnSpPr>
          <p:spPr>
            <a:xfrm>
              <a:off x="1755424" y="5599393"/>
              <a:ext cx="1852749" cy="0"/>
            </a:xfrm>
            <a:prstGeom prst="line">
              <a:avLst/>
            </a:prstGeom>
            <a:ln w="6350">
              <a:solidFill>
                <a:schemeClr val="accent3">
                  <a:alpha val="52144"/>
                </a:schemeClr>
              </a:solidFill>
            </a:ln>
          </p:spPr>
          <p:style>
            <a:lnRef idx="2">
              <a:schemeClr val="accent3"/>
            </a:lnRef>
            <a:fillRef idx="0">
              <a:schemeClr val="accent3"/>
            </a:fillRef>
            <a:effectRef idx="1">
              <a:schemeClr val="accent3"/>
            </a:effectRef>
            <a:fontRef idx="minor">
              <a:schemeClr val="tx1"/>
            </a:fontRef>
          </p:style>
        </p:cxnSp>
      </p:grpSp>
      <p:sp>
        <p:nvSpPr>
          <p:cNvPr id="5" name="Rectangle 4">
            <a:extLst>
              <a:ext uri="{FF2B5EF4-FFF2-40B4-BE49-F238E27FC236}">
                <a16:creationId xmlns:a16="http://schemas.microsoft.com/office/drawing/2014/main" id="{211F0E7A-5724-5D79-14FA-911D0CBB7D28}"/>
              </a:ext>
            </a:extLst>
          </p:cNvPr>
          <p:cNvSpPr/>
          <p:nvPr/>
        </p:nvSpPr>
        <p:spPr>
          <a:xfrm>
            <a:off x="1996417" y="1897381"/>
            <a:ext cx="2199137" cy="4766863"/>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US" sz="1620">
              <a:solidFill>
                <a:srgbClr val="FFFFFF"/>
              </a:solidFill>
              <a:latin typeface="Ellab Sans"/>
            </a:endParaRPr>
          </a:p>
        </p:txBody>
      </p:sp>
      <p:sp>
        <p:nvSpPr>
          <p:cNvPr id="16" name="Rectangle 4">
            <a:extLst>
              <a:ext uri="{FF2B5EF4-FFF2-40B4-BE49-F238E27FC236}">
                <a16:creationId xmlns:a16="http://schemas.microsoft.com/office/drawing/2014/main" id="{C08A1D7E-B273-8562-BC41-A9A7A54D83B2}"/>
              </a:ext>
            </a:extLst>
          </p:cNvPr>
          <p:cNvSpPr/>
          <p:nvPr/>
        </p:nvSpPr>
        <p:spPr>
          <a:xfrm rot="10800000">
            <a:off x="4351434" y="297666"/>
            <a:ext cx="2199137" cy="4766863"/>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US" sz="1620">
              <a:solidFill>
                <a:srgbClr val="FFFFFF"/>
              </a:solidFill>
              <a:latin typeface="Ellab Sans"/>
            </a:endParaRPr>
          </a:p>
        </p:txBody>
      </p:sp>
      <p:sp>
        <p:nvSpPr>
          <p:cNvPr id="21" name="Rectangle 4">
            <a:extLst>
              <a:ext uri="{FF2B5EF4-FFF2-40B4-BE49-F238E27FC236}">
                <a16:creationId xmlns:a16="http://schemas.microsoft.com/office/drawing/2014/main" id="{2621FA91-D84E-D7CA-B4AB-8EDA00E82A40}"/>
              </a:ext>
            </a:extLst>
          </p:cNvPr>
          <p:cNvSpPr/>
          <p:nvPr/>
        </p:nvSpPr>
        <p:spPr>
          <a:xfrm rot="10800000">
            <a:off x="9112818" y="-13424"/>
            <a:ext cx="2199137" cy="4766863"/>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22960"/>
            <a:endParaRPr lang="en-US" sz="1620">
              <a:solidFill>
                <a:srgbClr val="FFFFFF"/>
              </a:solidFill>
              <a:latin typeface="Ellab Sans"/>
            </a:endParaRPr>
          </a:p>
        </p:txBody>
      </p:sp>
      <p:sp>
        <p:nvSpPr>
          <p:cNvPr id="3" name="Titel 2">
            <a:extLst>
              <a:ext uri="{FF2B5EF4-FFF2-40B4-BE49-F238E27FC236}">
                <a16:creationId xmlns:a16="http://schemas.microsoft.com/office/drawing/2014/main" id="{B42D8D85-2BCF-16B6-47B2-CBB6AE86D976}"/>
              </a:ext>
            </a:extLst>
          </p:cNvPr>
          <p:cNvSpPr>
            <a:spLocks noGrp="1"/>
          </p:cNvSpPr>
          <p:nvPr>
            <p:ph type="title"/>
          </p:nvPr>
        </p:nvSpPr>
        <p:spPr>
          <a:xfrm>
            <a:off x="943928" y="1193007"/>
            <a:ext cx="3213875" cy="1038059"/>
          </a:xfrm>
        </p:spPr>
        <p:txBody>
          <a:bodyPr/>
          <a:lstStyle/>
          <a:p>
            <a:pPr>
              <a:lnSpc>
                <a:spcPct val="100000"/>
              </a:lnSpc>
            </a:pPr>
            <a:r>
              <a:rPr lang="en-US" noProof="1"/>
              <a:t>How Do We Ensure Success?</a:t>
            </a:r>
          </a:p>
        </p:txBody>
      </p:sp>
      <p:sp>
        <p:nvSpPr>
          <p:cNvPr id="11" name="Titel 2">
            <a:extLst>
              <a:ext uri="{FF2B5EF4-FFF2-40B4-BE49-F238E27FC236}">
                <a16:creationId xmlns:a16="http://schemas.microsoft.com/office/drawing/2014/main" id="{B03A9932-D4D3-F554-BDFE-E506FD284BD5}"/>
              </a:ext>
            </a:extLst>
          </p:cNvPr>
          <p:cNvSpPr txBox="1">
            <a:spLocks/>
          </p:cNvSpPr>
          <p:nvPr/>
        </p:nvSpPr>
        <p:spPr bwMode="auto">
          <a:xfrm>
            <a:off x="2049407" y="4075198"/>
            <a:ext cx="2009622" cy="660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defTabSz="822960">
              <a:lnSpc>
                <a:spcPct val="100000"/>
              </a:lnSpc>
            </a:pPr>
            <a:r>
              <a:rPr lang="en-US" sz="1620" noProof="1">
                <a:solidFill>
                  <a:srgbClr val="00004B"/>
                </a:solidFill>
                <a:latin typeface="Ellab Sans"/>
              </a:rPr>
              <a:t>We deliver end-to-end compliance</a:t>
            </a:r>
          </a:p>
          <a:p>
            <a:pPr defTabSz="822960">
              <a:lnSpc>
                <a:spcPct val="100000"/>
              </a:lnSpc>
            </a:pPr>
            <a:endParaRPr lang="en-US" sz="946" noProof="1">
              <a:solidFill>
                <a:srgbClr val="00004B"/>
              </a:solidFill>
              <a:latin typeface="Ellab Sans"/>
            </a:endParaRPr>
          </a:p>
        </p:txBody>
      </p:sp>
      <p:grpSp>
        <p:nvGrpSpPr>
          <p:cNvPr id="34" name="Group 33">
            <a:extLst>
              <a:ext uri="{FF2B5EF4-FFF2-40B4-BE49-F238E27FC236}">
                <a16:creationId xmlns:a16="http://schemas.microsoft.com/office/drawing/2014/main" id="{5189570F-61CF-17B2-E9D7-D9CF1031EC5C}"/>
              </a:ext>
            </a:extLst>
          </p:cNvPr>
          <p:cNvGrpSpPr/>
          <p:nvPr/>
        </p:nvGrpSpPr>
        <p:grpSpPr>
          <a:xfrm>
            <a:off x="2049406" y="4834998"/>
            <a:ext cx="2108396" cy="1135373"/>
            <a:chOff x="1599784" y="4991220"/>
            <a:chExt cx="2342662" cy="1261525"/>
          </a:xfrm>
        </p:grpSpPr>
        <p:sp>
          <p:nvSpPr>
            <p:cNvPr id="12" name="Titel 2">
              <a:extLst>
                <a:ext uri="{FF2B5EF4-FFF2-40B4-BE49-F238E27FC236}">
                  <a16:creationId xmlns:a16="http://schemas.microsoft.com/office/drawing/2014/main" id="{F18AB6AA-21EA-9C45-0F77-7FED7024B0A8}"/>
                </a:ext>
              </a:extLst>
            </p:cNvPr>
            <p:cNvSpPr txBox="1">
              <a:spLocks/>
            </p:cNvSpPr>
            <p:nvPr/>
          </p:nvSpPr>
          <p:spPr bwMode="auto">
            <a:xfrm>
              <a:off x="1599784" y="4991220"/>
              <a:ext cx="2342662" cy="572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defTabSz="822960">
                <a:lnSpc>
                  <a:spcPct val="100000"/>
                </a:lnSpc>
              </a:pPr>
              <a:r>
                <a:rPr lang="en-US" sz="810" b="0" noProof="1">
                  <a:solidFill>
                    <a:srgbClr val="FFFFFF"/>
                  </a:solidFill>
                  <a:latin typeface="Ellab Sans"/>
                </a:rPr>
                <a:t>With one trusted partner, you can eliminate vendor complexity, ensure better cost control and expect faster project execution.</a:t>
              </a:r>
            </a:p>
          </p:txBody>
        </p:sp>
        <p:sp>
          <p:nvSpPr>
            <p:cNvPr id="13" name="Titel 2">
              <a:extLst>
                <a:ext uri="{FF2B5EF4-FFF2-40B4-BE49-F238E27FC236}">
                  <a16:creationId xmlns:a16="http://schemas.microsoft.com/office/drawing/2014/main" id="{78F1B171-0833-EF9E-992A-C68D534CEEA3}"/>
                </a:ext>
              </a:extLst>
            </p:cNvPr>
            <p:cNvSpPr txBox="1">
              <a:spLocks/>
            </p:cNvSpPr>
            <p:nvPr/>
          </p:nvSpPr>
          <p:spPr bwMode="auto">
            <a:xfrm>
              <a:off x="1599784" y="5725316"/>
              <a:ext cx="2342662" cy="52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defTabSz="822960">
                <a:lnSpc>
                  <a:spcPct val="100000"/>
                </a:lnSpc>
              </a:pPr>
              <a:r>
                <a:rPr lang="en-US" sz="810" b="0" noProof="1">
                  <a:solidFill>
                    <a:srgbClr val="FFFFFF"/>
                  </a:solidFill>
                  <a:latin typeface="Ellab Sans"/>
                </a:rPr>
                <a:t>From greenfield to full operation, you get support in every phase of the project to ensure compliance.</a:t>
              </a:r>
            </a:p>
          </p:txBody>
        </p:sp>
        <p:cxnSp>
          <p:nvCxnSpPr>
            <p:cNvPr id="15" name="Conector recto 14">
              <a:extLst>
                <a:ext uri="{FF2B5EF4-FFF2-40B4-BE49-F238E27FC236}">
                  <a16:creationId xmlns:a16="http://schemas.microsoft.com/office/drawing/2014/main" id="{7F0258CB-0B7E-CFE3-ADFF-FF38C508767E}"/>
                </a:ext>
              </a:extLst>
            </p:cNvPr>
            <p:cNvCxnSpPr/>
            <p:nvPr/>
          </p:nvCxnSpPr>
          <p:spPr>
            <a:xfrm>
              <a:off x="1755424" y="5599393"/>
              <a:ext cx="1852749" cy="0"/>
            </a:xfrm>
            <a:prstGeom prst="line">
              <a:avLst/>
            </a:prstGeom>
            <a:ln w="6350">
              <a:solidFill>
                <a:schemeClr val="accent3">
                  <a:alpha val="52144"/>
                </a:schemeClr>
              </a:solidFill>
            </a:ln>
          </p:spPr>
          <p:style>
            <a:lnRef idx="2">
              <a:schemeClr val="accent3"/>
            </a:lnRef>
            <a:fillRef idx="0">
              <a:schemeClr val="accent3"/>
            </a:fillRef>
            <a:effectRef idx="1">
              <a:schemeClr val="accent3"/>
            </a:effectRef>
            <a:fontRef idx="minor">
              <a:schemeClr val="tx1"/>
            </a:fontRef>
          </p:style>
        </p:cxnSp>
      </p:grpSp>
      <p:sp>
        <p:nvSpPr>
          <p:cNvPr id="24" name="Titel 2">
            <a:extLst>
              <a:ext uri="{FF2B5EF4-FFF2-40B4-BE49-F238E27FC236}">
                <a16:creationId xmlns:a16="http://schemas.microsoft.com/office/drawing/2014/main" id="{09831014-CE94-6816-D98D-82BD98544EDE}"/>
              </a:ext>
            </a:extLst>
          </p:cNvPr>
          <p:cNvSpPr txBox="1">
            <a:spLocks/>
          </p:cNvSpPr>
          <p:nvPr/>
        </p:nvSpPr>
        <p:spPr bwMode="auto">
          <a:xfrm>
            <a:off x="4416275" y="2227044"/>
            <a:ext cx="2185063" cy="454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defTabSz="822960">
              <a:lnSpc>
                <a:spcPct val="100000"/>
              </a:lnSpc>
            </a:pPr>
            <a:r>
              <a:rPr lang="en-US" sz="1620" noProof="1">
                <a:solidFill>
                  <a:srgbClr val="17AAE2"/>
                </a:solidFill>
                <a:latin typeface="Ellab Sans"/>
              </a:rPr>
              <a:t>We enable all-time audit readiness</a:t>
            </a:r>
          </a:p>
          <a:p>
            <a:pPr defTabSz="822960">
              <a:lnSpc>
                <a:spcPct val="100000"/>
              </a:lnSpc>
            </a:pPr>
            <a:endParaRPr lang="en-US" sz="946" noProof="1">
              <a:solidFill>
                <a:srgbClr val="00004B"/>
              </a:solidFill>
              <a:latin typeface="Ellab Sans"/>
            </a:endParaRPr>
          </a:p>
        </p:txBody>
      </p:sp>
      <p:sp>
        <p:nvSpPr>
          <p:cNvPr id="25" name="Titel 2">
            <a:extLst>
              <a:ext uri="{FF2B5EF4-FFF2-40B4-BE49-F238E27FC236}">
                <a16:creationId xmlns:a16="http://schemas.microsoft.com/office/drawing/2014/main" id="{DF4B41FB-95CB-DE8B-6214-5850029FADC4}"/>
              </a:ext>
            </a:extLst>
          </p:cNvPr>
          <p:cNvSpPr txBox="1">
            <a:spLocks/>
          </p:cNvSpPr>
          <p:nvPr/>
        </p:nvSpPr>
        <p:spPr bwMode="auto">
          <a:xfrm>
            <a:off x="4416274" y="2777539"/>
            <a:ext cx="2108396"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defTabSz="822960">
              <a:lnSpc>
                <a:spcPct val="100000"/>
              </a:lnSpc>
            </a:pPr>
            <a:r>
              <a:rPr lang="en-US" sz="810" b="0" noProof="1">
                <a:solidFill>
                  <a:srgbClr val="FFFFFF"/>
                </a:solidFill>
                <a:latin typeface="Ellab Sans"/>
              </a:rPr>
              <a:t>Maintain real-time compliance with validation, calibration, and monitoring – and always remain audit ready.</a:t>
            </a:r>
          </a:p>
        </p:txBody>
      </p:sp>
      <p:sp>
        <p:nvSpPr>
          <p:cNvPr id="26" name="Titel 2">
            <a:extLst>
              <a:ext uri="{FF2B5EF4-FFF2-40B4-BE49-F238E27FC236}">
                <a16:creationId xmlns:a16="http://schemas.microsoft.com/office/drawing/2014/main" id="{25E2760E-DF67-1E14-335D-79F2B1FCD8E5}"/>
              </a:ext>
            </a:extLst>
          </p:cNvPr>
          <p:cNvSpPr txBox="1">
            <a:spLocks/>
          </p:cNvSpPr>
          <p:nvPr/>
        </p:nvSpPr>
        <p:spPr bwMode="auto">
          <a:xfrm>
            <a:off x="9158190" y="2227044"/>
            <a:ext cx="2185063" cy="454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defTabSz="822960">
              <a:lnSpc>
                <a:spcPct val="100000"/>
              </a:lnSpc>
            </a:pPr>
            <a:r>
              <a:rPr lang="en-US" sz="1620" noProof="1">
                <a:solidFill>
                  <a:srgbClr val="17AAE2"/>
                </a:solidFill>
                <a:latin typeface="Ellab Sans"/>
              </a:rPr>
              <a:t>We shape industry standards</a:t>
            </a:r>
          </a:p>
          <a:p>
            <a:pPr defTabSz="822960">
              <a:lnSpc>
                <a:spcPct val="100000"/>
              </a:lnSpc>
            </a:pPr>
            <a:endParaRPr lang="en-US" sz="946" noProof="1">
              <a:solidFill>
                <a:srgbClr val="00004B"/>
              </a:solidFill>
              <a:latin typeface="Ellab Sans"/>
            </a:endParaRPr>
          </a:p>
        </p:txBody>
      </p:sp>
      <p:sp>
        <p:nvSpPr>
          <p:cNvPr id="27" name="Titel 2">
            <a:extLst>
              <a:ext uri="{FF2B5EF4-FFF2-40B4-BE49-F238E27FC236}">
                <a16:creationId xmlns:a16="http://schemas.microsoft.com/office/drawing/2014/main" id="{90BCA84D-C35B-7526-E96F-92322535616E}"/>
              </a:ext>
            </a:extLst>
          </p:cNvPr>
          <p:cNvSpPr txBox="1">
            <a:spLocks/>
          </p:cNvSpPr>
          <p:nvPr/>
        </p:nvSpPr>
        <p:spPr bwMode="auto">
          <a:xfrm>
            <a:off x="9158190" y="2777538"/>
            <a:ext cx="2108396" cy="1035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defTabSz="822960">
              <a:lnSpc>
                <a:spcPct val="100000"/>
              </a:lnSpc>
            </a:pPr>
            <a:r>
              <a:rPr lang="en-US" sz="810" b="0" noProof="1">
                <a:solidFill>
                  <a:srgbClr val="FFFFFF"/>
                </a:solidFill>
                <a:latin typeface="Ellab Sans"/>
              </a:rPr>
              <a:t>Regulations the life science industry are constantly evolving - we keep you </a:t>
            </a:r>
          </a:p>
          <a:p>
            <a:pPr defTabSz="822960">
              <a:lnSpc>
                <a:spcPct val="100000"/>
              </a:lnSpc>
            </a:pPr>
            <a:r>
              <a:rPr lang="en-US" sz="810" b="0" noProof="1">
                <a:solidFill>
                  <a:srgbClr val="FFFFFF"/>
                </a:solidFill>
                <a:latin typeface="Ellab Sans"/>
              </a:rPr>
              <a:t>ahead with regulatory intelligence </a:t>
            </a:r>
          </a:p>
          <a:p>
            <a:pPr defTabSz="822960">
              <a:lnSpc>
                <a:spcPct val="100000"/>
              </a:lnSpc>
            </a:pPr>
            <a:r>
              <a:rPr lang="en-US" sz="810" b="0" noProof="1">
                <a:solidFill>
                  <a:srgbClr val="FFFFFF"/>
                </a:solidFill>
                <a:latin typeface="Ellab Sans"/>
              </a:rPr>
              <a:t>and best practices that </a:t>
            </a:r>
          </a:p>
          <a:p>
            <a:pPr defTabSz="822960">
              <a:lnSpc>
                <a:spcPct val="100000"/>
              </a:lnSpc>
            </a:pPr>
            <a:r>
              <a:rPr lang="en-US" sz="810" b="0" noProof="1">
                <a:solidFill>
                  <a:srgbClr val="FFFFFF"/>
                </a:solidFill>
                <a:latin typeface="Ellab Sans"/>
              </a:rPr>
              <a:t>future-proof your </a:t>
            </a:r>
          </a:p>
          <a:p>
            <a:pPr defTabSz="822960">
              <a:lnSpc>
                <a:spcPct val="100000"/>
              </a:lnSpc>
            </a:pPr>
            <a:r>
              <a:rPr lang="en-US" sz="810" b="0" noProof="1">
                <a:solidFill>
                  <a:srgbClr val="FFFFFF"/>
                </a:solidFill>
                <a:latin typeface="Ellab Sans"/>
              </a:rPr>
              <a:t>compliance. </a:t>
            </a:r>
          </a:p>
        </p:txBody>
      </p:sp>
      <p:pic>
        <p:nvPicPr>
          <p:cNvPr id="29" name="Picture 28">
            <a:extLst>
              <a:ext uri="{FF2B5EF4-FFF2-40B4-BE49-F238E27FC236}">
                <a16:creationId xmlns:a16="http://schemas.microsoft.com/office/drawing/2014/main" id="{405DED18-673F-73B3-3F1D-024476171F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60625" y="3648365"/>
            <a:ext cx="492076" cy="394686"/>
          </a:xfrm>
          <a:prstGeom prst="rect">
            <a:avLst/>
          </a:prstGeom>
        </p:spPr>
      </p:pic>
      <p:pic>
        <p:nvPicPr>
          <p:cNvPr id="23" name="Graphic 22" descr="Shield Tick outline">
            <a:extLst>
              <a:ext uri="{FF2B5EF4-FFF2-40B4-BE49-F238E27FC236}">
                <a16:creationId xmlns:a16="http://schemas.microsoft.com/office/drawing/2014/main" id="{B6E9C174-B4A6-57D9-6298-F2D76A9C11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16275" y="1865417"/>
            <a:ext cx="341563" cy="341563"/>
          </a:xfrm>
          <a:prstGeom prst="rect">
            <a:avLst/>
          </a:prstGeom>
        </p:spPr>
      </p:pic>
      <p:pic>
        <p:nvPicPr>
          <p:cNvPr id="30" name="Graphic 29" descr="Network outline">
            <a:extLst>
              <a:ext uri="{FF2B5EF4-FFF2-40B4-BE49-F238E27FC236}">
                <a16:creationId xmlns:a16="http://schemas.microsoft.com/office/drawing/2014/main" id="{C30C2006-CF79-9F09-3924-B5EA5106FEA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76409" y="1802653"/>
            <a:ext cx="384380" cy="384380"/>
          </a:xfrm>
          <a:prstGeom prst="rect">
            <a:avLst/>
          </a:prstGeom>
        </p:spPr>
      </p:pic>
      <p:pic>
        <p:nvPicPr>
          <p:cNvPr id="44" name="Imagen 8">
            <a:extLst>
              <a:ext uri="{FF2B5EF4-FFF2-40B4-BE49-F238E27FC236}">
                <a16:creationId xmlns:a16="http://schemas.microsoft.com/office/drawing/2014/main" id="{AB9AD685-B4B0-B9AB-86D0-3435CD26BE48}"/>
              </a:ext>
            </a:extLst>
          </p:cNvPr>
          <p:cNvPicPr>
            <a:picLocks noChangeAspect="1"/>
          </p:cNvPicPr>
          <p:nvPr/>
        </p:nvPicPr>
        <p:blipFill>
          <a:blip r:embed="rId8"/>
          <a:stretch>
            <a:fillRect/>
          </a:stretch>
        </p:blipFill>
        <p:spPr>
          <a:xfrm>
            <a:off x="6805762" y="3689126"/>
            <a:ext cx="278202" cy="290298"/>
          </a:xfrm>
          <a:prstGeom prst="rect">
            <a:avLst/>
          </a:prstGeom>
        </p:spPr>
      </p:pic>
    </p:spTree>
    <p:extLst>
      <p:ext uri="{BB962C8B-B14F-4D97-AF65-F5344CB8AC3E}">
        <p14:creationId xmlns:p14="http://schemas.microsoft.com/office/powerpoint/2010/main" val="25965815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88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100" fill="hold"/>
                                        <p:tgtEl>
                                          <p:spTgt spid="5"/>
                                        </p:tgtEl>
                                        <p:attrNameLst>
                                          <p:attrName>ppt_x</p:attrName>
                                        </p:attrNameLst>
                                      </p:cBhvr>
                                      <p:tavLst>
                                        <p:tav tm="0">
                                          <p:val>
                                            <p:strVal val="#ppt_x"/>
                                          </p:val>
                                        </p:tav>
                                        <p:tav tm="100000">
                                          <p:val>
                                            <p:strVal val="#ppt_x"/>
                                          </p:val>
                                        </p:tav>
                                      </p:tavLst>
                                    </p:anim>
                                    <p:anim calcmode="lin" valueType="num">
                                      <p:cBhvr additive="base">
                                        <p:cTn id="8" dur="11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decel="88000" fill="hold" nodeType="withEffect">
                                  <p:stCondLst>
                                    <p:cond delay="20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800" fill="hold"/>
                                        <p:tgtEl>
                                          <p:spTgt spid="29"/>
                                        </p:tgtEl>
                                        <p:attrNameLst>
                                          <p:attrName>ppt_x</p:attrName>
                                        </p:attrNameLst>
                                      </p:cBhvr>
                                      <p:tavLst>
                                        <p:tav tm="0">
                                          <p:val>
                                            <p:strVal val="#ppt_x"/>
                                          </p:val>
                                        </p:tav>
                                        <p:tav tm="100000">
                                          <p:val>
                                            <p:strVal val="#ppt_x"/>
                                          </p:val>
                                        </p:tav>
                                      </p:tavLst>
                                    </p:anim>
                                    <p:anim calcmode="lin" valueType="num">
                                      <p:cBhvr additive="base">
                                        <p:cTn id="12" dur="800" fill="hold"/>
                                        <p:tgtEl>
                                          <p:spTgt spid="29"/>
                                        </p:tgtEl>
                                        <p:attrNameLst>
                                          <p:attrName>ppt_y</p:attrName>
                                        </p:attrNameLst>
                                      </p:cBhvr>
                                      <p:tavLst>
                                        <p:tav tm="0">
                                          <p:val>
                                            <p:strVal val="1+#ppt_h/2"/>
                                          </p:val>
                                        </p:tav>
                                        <p:tav tm="100000">
                                          <p:val>
                                            <p:strVal val="#ppt_y"/>
                                          </p:val>
                                        </p:tav>
                                      </p:tavLst>
                                    </p:anim>
                                  </p:childTnLst>
                                </p:cTn>
                              </p:par>
                              <p:par>
                                <p:cTn id="13" presetID="2" presetClass="entr" presetSubtype="4" decel="88000" fill="hold" grpId="0" nodeType="withEffect">
                                  <p:stCondLst>
                                    <p:cond delay="25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700" fill="hold"/>
                                        <p:tgtEl>
                                          <p:spTgt spid="11"/>
                                        </p:tgtEl>
                                        <p:attrNameLst>
                                          <p:attrName>ppt_x</p:attrName>
                                        </p:attrNameLst>
                                      </p:cBhvr>
                                      <p:tavLst>
                                        <p:tav tm="0">
                                          <p:val>
                                            <p:strVal val="#ppt_x"/>
                                          </p:val>
                                        </p:tav>
                                        <p:tav tm="100000">
                                          <p:val>
                                            <p:strVal val="#ppt_x"/>
                                          </p:val>
                                        </p:tav>
                                      </p:tavLst>
                                    </p:anim>
                                    <p:anim calcmode="lin" valueType="num">
                                      <p:cBhvr additive="base">
                                        <p:cTn id="16" dur="7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30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600" fill="hold"/>
                                        <p:tgtEl>
                                          <p:spTgt spid="34"/>
                                        </p:tgtEl>
                                        <p:attrNameLst>
                                          <p:attrName>ppt_x</p:attrName>
                                        </p:attrNameLst>
                                      </p:cBhvr>
                                      <p:tavLst>
                                        <p:tav tm="0">
                                          <p:val>
                                            <p:strVal val="#ppt_x"/>
                                          </p:val>
                                        </p:tav>
                                        <p:tav tm="100000">
                                          <p:val>
                                            <p:strVal val="#ppt_x"/>
                                          </p:val>
                                        </p:tav>
                                      </p:tavLst>
                                    </p:anim>
                                    <p:anim calcmode="lin" valueType="num">
                                      <p:cBhvr additive="base">
                                        <p:cTn id="20" dur="600" fill="hold"/>
                                        <p:tgtEl>
                                          <p:spTgt spid="34"/>
                                        </p:tgtEl>
                                        <p:attrNameLst>
                                          <p:attrName>ppt_y</p:attrName>
                                        </p:attrNameLst>
                                      </p:cBhvr>
                                      <p:tavLst>
                                        <p:tav tm="0">
                                          <p:val>
                                            <p:strVal val="1+#ppt_h/2"/>
                                          </p:val>
                                        </p:tav>
                                        <p:tav tm="100000">
                                          <p:val>
                                            <p:strVal val="#ppt_y"/>
                                          </p:val>
                                        </p:tav>
                                      </p:tavLst>
                                    </p:anim>
                                  </p:childTnLst>
                                </p:cTn>
                              </p:par>
                              <p:par>
                                <p:cTn id="21" presetID="2" presetClass="entr" presetSubtype="1" fill="hold" grpId="0" nodeType="withEffect">
                                  <p:stCondLst>
                                    <p:cond delay="50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1000" fill="hold"/>
                                        <p:tgtEl>
                                          <p:spTgt spid="16"/>
                                        </p:tgtEl>
                                        <p:attrNameLst>
                                          <p:attrName>ppt_x</p:attrName>
                                        </p:attrNameLst>
                                      </p:cBhvr>
                                      <p:tavLst>
                                        <p:tav tm="0">
                                          <p:val>
                                            <p:strVal val="#ppt_x"/>
                                          </p:val>
                                        </p:tav>
                                        <p:tav tm="100000">
                                          <p:val>
                                            <p:strVal val="#ppt_x"/>
                                          </p:val>
                                        </p:tav>
                                      </p:tavLst>
                                    </p:anim>
                                    <p:anim calcmode="lin" valueType="num">
                                      <p:cBhvr additive="base">
                                        <p:cTn id="24" dur="1000" fill="hold"/>
                                        <p:tgtEl>
                                          <p:spTgt spid="16"/>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90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900" fill="hold"/>
                                        <p:tgtEl>
                                          <p:spTgt spid="25"/>
                                        </p:tgtEl>
                                        <p:attrNameLst>
                                          <p:attrName>ppt_x</p:attrName>
                                        </p:attrNameLst>
                                      </p:cBhvr>
                                      <p:tavLst>
                                        <p:tav tm="0">
                                          <p:val>
                                            <p:strVal val="#ppt_x"/>
                                          </p:val>
                                        </p:tav>
                                        <p:tav tm="100000">
                                          <p:val>
                                            <p:strVal val="#ppt_x"/>
                                          </p:val>
                                        </p:tav>
                                      </p:tavLst>
                                    </p:anim>
                                    <p:anim calcmode="lin" valueType="num">
                                      <p:cBhvr additive="base">
                                        <p:cTn id="28" dur="900" fill="hold"/>
                                        <p:tgtEl>
                                          <p:spTgt spid="25"/>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90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1000" fill="hold"/>
                                        <p:tgtEl>
                                          <p:spTgt spid="24"/>
                                        </p:tgtEl>
                                        <p:attrNameLst>
                                          <p:attrName>ppt_x</p:attrName>
                                        </p:attrNameLst>
                                      </p:cBhvr>
                                      <p:tavLst>
                                        <p:tav tm="0">
                                          <p:val>
                                            <p:strVal val="#ppt_x"/>
                                          </p:val>
                                        </p:tav>
                                        <p:tav tm="100000">
                                          <p:val>
                                            <p:strVal val="#ppt_x"/>
                                          </p:val>
                                        </p:tav>
                                      </p:tavLst>
                                    </p:anim>
                                    <p:anim calcmode="lin" valueType="num">
                                      <p:cBhvr additive="base">
                                        <p:cTn id="32" dur="1000" fill="hold"/>
                                        <p:tgtEl>
                                          <p:spTgt spid="24"/>
                                        </p:tgtEl>
                                        <p:attrNameLst>
                                          <p:attrName>ppt_y</p:attrName>
                                        </p:attrNameLst>
                                      </p:cBhvr>
                                      <p:tavLst>
                                        <p:tav tm="0">
                                          <p:val>
                                            <p:strVal val="0-#ppt_h/2"/>
                                          </p:val>
                                        </p:tav>
                                        <p:tav tm="100000">
                                          <p:val>
                                            <p:strVal val="#ppt_y"/>
                                          </p:val>
                                        </p:tav>
                                      </p:tavLst>
                                    </p:anim>
                                  </p:childTnLst>
                                </p:cTn>
                              </p:par>
                              <p:par>
                                <p:cTn id="33" presetID="2" presetClass="entr" presetSubtype="1" decel="100000" fill="hold" nodeType="withEffect">
                                  <p:stCondLst>
                                    <p:cond delay="1000"/>
                                  </p:stCondLst>
                                  <p:childTnLst>
                                    <p:set>
                                      <p:cBhvr>
                                        <p:cTn id="34" dur="1" fill="hold">
                                          <p:stCondLst>
                                            <p:cond delay="0"/>
                                          </p:stCondLst>
                                        </p:cTn>
                                        <p:tgtEl>
                                          <p:spTgt spid="23"/>
                                        </p:tgtEl>
                                        <p:attrNameLst>
                                          <p:attrName>style.visibility</p:attrName>
                                        </p:attrNameLst>
                                      </p:cBhvr>
                                      <p:to>
                                        <p:strVal val="visible"/>
                                      </p:to>
                                    </p:set>
                                    <p:anim calcmode="lin" valueType="num">
                                      <p:cBhvr additive="base">
                                        <p:cTn id="35" dur="1000" fill="hold"/>
                                        <p:tgtEl>
                                          <p:spTgt spid="23"/>
                                        </p:tgtEl>
                                        <p:attrNameLst>
                                          <p:attrName>ppt_x</p:attrName>
                                        </p:attrNameLst>
                                      </p:cBhvr>
                                      <p:tavLst>
                                        <p:tav tm="0">
                                          <p:val>
                                            <p:strVal val="#ppt_x"/>
                                          </p:val>
                                        </p:tav>
                                        <p:tav tm="100000">
                                          <p:val>
                                            <p:strVal val="#ppt_x"/>
                                          </p:val>
                                        </p:tav>
                                      </p:tavLst>
                                    </p:anim>
                                    <p:anim calcmode="lin" valueType="num">
                                      <p:cBhvr additive="base">
                                        <p:cTn id="36" dur="1000" fill="hold"/>
                                        <p:tgtEl>
                                          <p:spTgt spid="23"/>
                                        </p:tgtEl>
                                        <p:attrNameLst>
                                          <p:attrName>ppt_y</p:attrName>
                                        </p:attrNameLst>
                                      </p:cBhvr>
                                      <p:tavLst>
                                        <p:tav tm="0">
                                          <p:val>
                                            <p:strVal val="0-#ppt_h/2"/>
                                          </p:val>
                                        </p:tav>
                                        <p:tav tm="100000">
                                          <p:val>
                                            <p:strVal val="#ppt_y"/>
                                          </p:val>
                                        </p:tav>
                                      </p:tavLst>
                                    </p:anim>
                                  </p:childTnLst>
                                </p:cTn>
                              </p:par>
                              <p:par>
                                <p:cTn id="37" presetID="2" presetClass="entr" presetSubtype="4" decel="88000" fill="hold" grpId="0" nodeType="withEffect">
                                  <p:stCondLst>
                                    <p:cond delay="1300"/>
                                  </p:stCondLst>
                                  <p:childTnLst>
                                    <p:set>
                                      <p:cBhvr>
                                        <p:cTn id="38" dur="1" fill="hold">
                                          <p:stCondLst>
                                            <p:cond delay="0"/>
                                          </p:stCondLst>
                                        </p:cTn>
                                        <p:tgtEl>
                                          <p:spTgt spid="36"/>
                                        </p:tgtEl>
                                        <p:attrNameLst>
                                          <p:attrName>style.visibility</p:attrName>
                                        </p:attrNameLst>
                                      </p:cBhvr>
                                      <p:to>
                                        <p:strVal val="visible"/>
                                      </p:to>
                                    </p:set>
                                    <p:anim calcmode="lin" valueType="num">
                                      <p:cBhvr additive="base">
                                        <p:cTn id="39" dur="1100" fill="hold"/>
                                        <p:tgtEl>
                                          <p:spTgt spid="36"/>
                                        </p:tgtEl>
                                        <p:attrNameLst>
                                          <p:attrName>ppt_x</p:attrName>
                                        </p:attrNameLst>
                                      </p:cBhvr>
                                      <p:tavLst>
                                        <p:tav tm="0">
                                          <p:val>
                                            <p:strVal val="#ppt_x"/>
                                          </p:val>
                                        </p:tav>
                                        <p:tav tm="100000">
                                          <p:val>
                                            <p:strVal val="#ppt_x"/>
                                          </p:val>
                                        </p:tav>
                                      </p:tavLst>
                                    </p:anim>
                                    <p:anim calcmode="lin" valueType="num">
                                      <p:cBhvr additive="base">
                                        <p:cTn id="40" dur="1100" fill="hold"/>
                                        <p:tgtEl>
                                          <p:spTgt spid="36"/>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1500"/>
                                  </p:stCondLst>
                                  <p:childTnLst>
                                    <p:set>
                                      <p:cBhvr>
                                        <p:cTn id="42" dur="1" fill="hold">
                                          <p:stCondLst>
                                            <p:cond delay="0"/>
                                          </p:stCondLst>
                                        </p:cTn>
                                        <p:tgtEl>
                                          <p:spTgt spid="44"/>
                                        </p:tgtEl>
                                        <p:attrNameLst>
                                          <p:attrName>style.visibility</p:attrName>
                                        </p:attrNameLst>
                                      </p:cBhvr>
                                      <p:to>
                                        <p:strVal val="visible"/>
                                      </p:to>
                                    </p:set>
                                    <p:anim calcmode="lin" valueType="num">
                                      <p:cBhvr additive="base">
                                        <p:cTn id="43" dur="800" fill="hold"/>
                                        <p:tgtEl>
                                          <p:spTgt spid="44"/>
                                        </p:tgtEl>
                                        <p:attrNameLst>
                                          <p:attrName>ppt_x</p:attrName>
                                        </p:attrNameLst>
                                      </p:cBhvr>
                                      <p:tavLst>
                                        <p:tav tm="0">
                                          <p:val>
                                            <p:strVal val="#ppt_x"/>
                                          </p:val>
                                        </p:tav>
                                        <p:tav tm="100000">
                                          <p:val>
                                            <p:strVal val="#ppt_x"/>
                                          </p:val>
                                        </p:tav>
                                      </p:tavLst>
                                    </p:anim>
                                    <p:anim calcmode="lin" valueType="num">
                                      <p:cBhvr additive="base">
                                        <p:cTn id="44" dur="800" fill="hold"/>
                                        <p:tgtEl>
                                          <p:spTgt spid="44"/>
                                        </p:tgtEl>
                                        <p:attrNameLst>
                                          <p:attrName>ppt_y</p:attrName>
                                        </p:attrNameLst>
                                      </p:cBhvr>
                                      <p:tavLst>
                                        <p:tav tm="0">
                                          <p:val>
                                            <p:strVal val="1+#ppt_h/2"/>
                                          </p:val>
                                        </p:tav>
                                        <p:tav tm="100000">
                                          <p:val>
                                            <p:strVal val="#ppt_y"/>
                                          </p:val>
                                        </p:tav>
                                      </p:tavLst>
                                    </p:anim>
                                  </p:childTnLst>
                                </p:cTn>
                              </p:par>
                              <p:par>
                                <p:cTn id="45" presetID="2" presetClass="entr" presetSubtype="4" decel="88000" fill="hold" grpId="0" nodeType="withEffect">
                                  <p:stCondLst>
                                    <p:cond delay="1500"/>
                                  </p:stCondLst>
                                  <p:childTnLst>
                                    <p:set>
                                      <p:cBhvr>
                                        <p:cTn id="46" dur="1" fill="hold">
                                          <p:stCondLst>
                                            <p:cond delay="0"/>
                                          </p:stCondLst>
                                        </p:cTn>
                                        <p:tgtEl>
                                          <p:spTgt spid="37"/>
                                        </p:tgtEl>
                                        <p:attrNameLst>
                                          <p:attrName>style.visibility</p:attrName>
                                        </p:attrNameLst>
                                      </p:cBhvr>
                                      <p:to>
                                        <p:strVal val="visible"/>
                                      </p:to>
                                    </p:set>
                                    <p:anim calcmode="lin" valueType="num">
                                      <p:cBhvr additive="base">
                                        <p:cTn id="47" dur="700" fill="hold"/>
                                        <p:tgtEl>
                                          <p:spTgt spid="37"/>
                                        </p:tgtEl>
                                        <p:attrNameLst>
                                          <p:attrName>ppt_x</p:attrName>
                                        </p:attrNameLst>
                                      </p:cBhvr>
                                      <p:tavLst>
                                        <p:tav tm="0">
                                          <p:val>
                                            <p:strVal val="#ppt_x"/>
                                          </p:val>
                                        </p:tav>
                                        <p:tav tm="100000">
                                          <p:val>
                                            <p:strVal val="#ppt_x"/>
                                          </p:val>
                                        </p:tav>
                                      </p:tavLst>
                                    </p:anim>
                                    <p:anim calcmode="lin" valueType="num">
                                      <p:cBhvr additive="base">
                                        <p:cTn id="48" dur="700" fill="hold"/>
                                        <p:tgtEl>
                                          <p:spTgt spid="37"/>
                                        </p:tgtEl>
                                        <p:attrNameLst>
                                          <p:attrName>ppt_y</p:attrName>
                                        </p:attrNameLst>
                                      </p:cBhvr>
                                      <p:tavLst>
                                        <p:tav tm="0">
                                          <p:val>
                                            <p:strVal val="1+#ppt_h/2"/>
                                          </p:val>
                                        </p:tav>
                                        <p:tav tm="100000">
                                          <p:val>
                                            <p:strVal val="#ppt_y"/>
                                          </p:val>
                                        </p:tav>
                                      </p:tavLst>
                                    </p:anim>
                                  </p:childTnLst>
                                </p:cTn>
                              </p:par>
                              <p:par>
                                <p:cTn id="49" presetID="2" presetClass="entr" presetSubtype="4" decel="100000" fill="hold" nodeType="withEffect">
                                  <p:stCondLst>
                                    <p:cond delay="150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600" fill="hold"/>
                                        <p:tgtEl>
                                          <p:spTgt spid="38"/>
                                        </p:tgtEl>
                                        <p:attrNameLst>
                                          <p:attrName>ppt_x</p:attrName>
                                        </p:attrNameLst>
                                      </p:cBhvr>
                                      <p:tavLst>
                                        <p:tav tm="0">
                                          <p:val>
                                            <p:strVal val="#ppt_x"/>
                                          </p:val>
                                        </p:tav>
                                        <p:tav tm="100000">
                                          <p:val>
                                            <p:strVal val="#ppt_x"/>
                                          </p:val>
                                        </p:tav>
                                      </p:tavLst>
                                    </p:anim>
                                    <p:anim calcmode="lin" valueType="num">
                                      <p:cBhvr additive="base">
                                        <p:cTn id="52" dur="600" fill="hold"/>
                                        <p:tgtEl>
                                          <p:spTgt spid="38"/>
                                        </p:tgtEl>
                                        <p:attrNameLst>
                                          <p:attrName>ppt_y</p:attrName>
                                        </p:attrNameLst>
                                      </p:cBhvr>
                                      <p:tavLst>
                                        <p:tav tm="0">
                                          <p:val>
                                            <p:strVal val="1+#ppt_h/2"/>
                                          </p:val>
                                        </p:tav>
                                        <p:tav tm="100000">
                                          <p:val>
                                            <p:strVal val="#ppt_y"/>
                                          </p:val>
                                        </p:tav>
                                      </p:tavLst>
                                    </p:anim>
                                  </p:childTnLst>
                                </p:cTn>
                              </p:par>
                              <p:par>
                                <p:cTn id="53" presetID="2" presetClass="entr" presetSubtype="1" decel="100000" fill="hold" grpId="0" nodeType="withEffect">
                                  <p:stCondLst>
                                    <p:cond delay="1800"/>
                                  </p:stCondLst>
                                  <p:childTnLst>
                                    <p:set>
                                      <p:cBhvr>
                                        <p:cTn id="54" dur="1" fill="hold">
                                          <p:stCondLst>
                                            <p:cond delay="0"/>
                                          </p:stCondLst>
                                        </p:cTn>
                                        <p:tgtEl>
                                          <p:spTgt spid="21"/>
                                        </p:tgtEl>
                                        <p:attrNameLst>
                                          <p:attrName>style.visibility</p:attrName>
                                        </p:attrNameLst>
                                      </p:cBhvr>
                                      <p:to>
                                        <p:strVal val="visible"/>
                                      </p:to>
                                    </p:set>
                                    <p:anim calcmode="lin" valueType="num">
                                      <p:cBhvr additive="base">
                                        <p:cTn id="55" dur="1200" fill="hold"/>
                                        <p:tgtEl>
                                          <p:spTgt spid="21"/>
                                        </p:tgtEl>
                                        <p:attrNameLst>
                                          <p:attrName>ppt_x</p:attrName>
                                        </p:attrNameLst>
                                      </p:cBhvr>
                                      <p:tavLst>
                                        <p:tav tm="0">
                                          <p:val>
                                            <p:strVal val="#ppt_x"/>
                                          </p:val>
                                        </p:tav>
                                        <p:tav tm="100000">
                                          <p:val>
                                            <p:strVal val="#ppt_x"/>
                                          </p:val>
                                        </p:tav>
                                      </p:tavLst>
                                    </p:anim>
                                    <p:anim calcmode="lin" valueType="num">
                                      <p:cBhvr additive="base">
                                        <p:cTn id="56" dur="1200" fill="hold"/>
                                        <p:tgtEl>
                                          <p:spTgt spid="21"/>
                                        </p:tgtEl>
                                        <p:attrNameLst>
                                          <p:attrName>ppt_y</p:attrName>
                                        </p:attrNameLst>
                                      </p:cBhvr>
                                      <p:tavLst>
                                        <p:tav tm="0">
                                          <p:val>
                                            <p:strVal val="0-#ppt_h/2"/>
                                          </p:val>
                                        </p:tav>
                                        <p:tav tm="100000">
                                          <p:val>
                                            <p:strVal val="#ppt_y"/>
                                          </p:val>
                                        </p:tav>
                                      </p:tavLst>
                                    </p:anim>
                                  </p:childTnLst>
                                </p:cTn>
                              </p:par>
                              <p:par>
                                <p:cTn id="57" presetID="2" presetClass="entr" presetSubtype="1" decel="100000" fill="hold" grpId="0" nodeType="withEffect">
                                  <p:stCondLst>
                                    <p:cond delay="2000"/>
                                  </p:stCondLst>
                                  <p:childTnLst>
                                    <p:set>
                                      <p:cBhvr>
                                        <p:cTn id="58" dur="1" fill="hold">
                                          <p:stCondLst>
                                            <p:cond delay="0"/>
                                          </p:stCondLst>
                                        </p:cTn>
                                        <p:tgtEl>
                                          <p:spTgt spid="27"/>
                                        </p:tgtEl>
                                        <p:attrNameLst>
                                          <p:attrName>style.visibility</p:attrName>
                                        </p:attrNameLst>
                                      </p:cBhvr>
                                      <p:to>
                                        <p:strVal val="visible"/>
                                      </p:to>
                                    </p:set>
                                    <p:anim calcmode="lin" valueType="num">
                                      <p:cBhvr additive="base">
                                        <p:cTn id="59" dur="1000" fill="hold"/>
                                        <p:tgtEl>
                                          <p:spTgt spid="27"/>
                                        </p:tgtEl>
                                        <p:attrNameLst>
                                          <p:attrName>ppt_x</p:attrName>
                                        </p:attrNameLst>
                                      </p:cBhvr>
                                      <p:tavLst>
                                        <p:tav tm="0">
                                          <p:val>
                                            <p:strVal val="#ppt_x"/>
                                          </p:val>
                                        </p:tav>
                                        <p:tav tm="100000">
                                          <p:val>
                                            <p:strVal val="#ppt_x"/>
                                          </p:val>
                                        </p:tav>
                                      </p:tavLst>
                                    </p:anim>
                                    <p:anim calcmode="lin" valueType="num">
                                      <p:cBhvr additive="base">
                                        <p:cTn id="60" dur="1000" fill="hold"/>
                                        <p:tgtEl>
                                          <p:spTgt spid="27"/>
                                        </p:tgtEl>
                                        <p:attrNameLst>
                                          <p:attrName>ppt_y</p:attrName>
                                        </p:attrNameLst>
                                      </p:cBhvr>
                                      <p:tavLst>
                                        <p:tav tm="0">
                                          <p:val>
                                            <p:strVal val="0-#ppt_h/2"/>
                                          </p:val>
                                        </p:tav>
                                        <p:tav tm="100000">
                                          <p:val>
                                            <p:strVal val="#ppt_y"/>
                                          </p:val>
                                        </p:tav>
                                      </p:tavLst>
                                    </p:anim>
                                  </p:childTnLst>
                                </p:cTn>
                              </p:par>
                              <p:par>
                                <p:cTn id="61" presetID="2" presetClass="entr" presetSubtype="1" decel="100000" fill="hold" grpId="0" nodeType="withEffect">
                                  <p:stCondLst>
                                    <p:cond delay="2200"/>
                                  </p:stCondLst>
                                  <p:childTnLst>
                                    <p:set>
                                      <p:cBhvr>
                                        <p:cTn id="62" dur="1" fill="hold">
                                          <p:stCondLst>
                                            <p:cond delay="0"/>
                                          </p:stCondLst>
                                        </p:cTn>
                                        <p:tgtEl>
                                          <p:spTgt spid="26"/>
                                        </p:tgtEl>
                                        <p:attrNameLst>
                                          <p:attrName>style.visibility</p:attrName>
                                        </p:attrNameLst>
                                      </p:cBhvr>
                                      <p:to>
                                        <p:strVal val="visible"/>
                                      </p:to>
                                    </p:set>
                                    <p:anim calcmode="lin" valueType="num">
                                      <p:cBhvr additive="base">
                                        <p:cTn id="63" dur="1000" fill="hold"/>
                                        <p:tgtEl>
                                          <p:spTgt spid="26"/>
                                        </p:tgtEl>
                                        <p:attrNameLst>
                                          <p:attrName>ppt_x</p:attrName>
                                        </p:attrNameLst>
                                      </p:cBhvr>
                                      <p:tavLst>
                                        <p:tav tm="0">
                                          <p:val>
                                            <p:strVal val="#ppt_x"/>
                                          </p:val>
                                        </p:tav>
                                        <p:tav tm="100000">
                                          <p:val>
                                            <p:strVal val="#ppt_x"/>
                                          </p:val>
                                        </p:tav>
                                      </p:tavLst>
                                    </p:anim>
                                    <p:anim calcmode="lin" valueType="num">
                                      <p:cBhvr additive="base">
                                        <p:cTn id="64" dur="1000" fill="hold"/>
                                        <p:tgtEl>
                                          <p:spTgt spid="26"/>
                                        </p:tgtEl>
                                        <p:attrNameLst>
                                          <p:attrName>ppt_y</p:attrName>
                                        </p:attrNameLst>
                                      </p:cBhvr>
                                      <p:tavLst>
                                        <p:tav tm="0">
                                          <p:val>
                                            <p:strVal val="0-#ppt_h/2"/>
                                          </p:val>
                                        </p:tav>
                                        <p:tav tm="100000">
                                          <p:val>
                                            <p:strVal val="#ppt_y"/>
                                          </p:val>
                                        </p:tav>
                                      </p:tavLst>
                                    </p:anim>
                                  </p:childTnLst>
                                </p:cTn>
                              </p:par>
                              <p:par>
                                <p:cTn id="65" presetID="2" presetClass="entr" presetSubtype="1" decel="100000" fill="hold" nodeType="withEffect">
                                  <p:stCondLst>
                                    <p:cond delay="2300"/>
                                  </p:stCondLst>
                                  <p:childTnLst>
                                    <p:set>
                                      <p:cBhvr>
                                        <p:cTn id="66" dur="1" fill="hold">
                                          <p:stCondLst>
                                            <p:cond delay="0"/>
                                          </p:stCondLst>
                                        </p:cTn>
                                        <p:tgtEl>
                                          <p:spTgt spid="30"/>
                                        </p:tgtEl>
                                        <p:attrNameLst>
                                          <p:attrName>style.visibility</p:attrName>
                                        </p:attrNameLst>
                                      </p:cBhvr>
                                      <p:to>
                                        <p:strVal val="visible"/>
                                      </p:to>
                                    </p:set>
                                    <p:anim calcmode="lin" valueType="num">
                                      <p:cBhvr additive="base">
                                        <p:cTn id="67" dur="1000" fill="hold"/>
                                        <p:tgtEl>
                                          <p:spTgt spid="30"/>
                                        </p:tgtEl>
                                        <p:attrNameLst>
                                          <p:attrName>ppt_x</p:attrName>
                                        </p:attrNameLst>
                                      </p:cBhvr>
                                      <p:tavLst>
                                        <p:tav tm="0">
                                          <p:val>
                                            <p:strVal val="#ppt_x"/>
                                          </p:val>
                                        </p:tav>
                                        <p:tav tm="100000">
                                          <p:val>
                                            <p:strVal val="#ppt_x"/>
                                          </p:val>
                                        </p:tav>
                                      </p:tavLst>
                                    </p:anim>
                                    <p:anim calcmode="lin" valueType="num">
                                      <p:cBhvr additive="base">
                                        <p:cTn id="68" dur="1000" fill="hold"/>
                                        <p:tgtEl>
                                          <p:spTgt spid="3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p:bldP spid="5" grpId="0" animBg="1"/>
      <p:bldP spid="16" grpId="0" animBg="1"/>
      <p:bldP spid="21" grpId="0" animBg="1"/>
      <p:bldP spid="11" grpId="0"/>
      <p:bldP spid="24" grpId="0"/>
      <p:bldP spid="25" grpId="0"/>
      <p:bldP spid="26" grpId="0"/>
      <p:bldP spid="27"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p:txBody>
          <a:bodyPr/>
          <a:lstStyle/>
          <a:p>
            <a:r>
              <a:rPr lang="en-US" dirty="0"/>
              <a:t>Group exercise</a:t>
            </a:r>
          </a:p>
        </p:txBody>
      </p:sp>
      <p:sp>
        <p:nvSpPr>
          <p:cNvPr id="8" name="Text Placeholder 7">
            <a:extLst>
              <a:ext uri="{FF2B5EF4-FFF2-40B4-BE49-F238E27FC236}">
                <a16:creationId xmlns:a16="http://schemas.microsoft.com/office/drawing/2014/main" id="{D1A47CD9-B6F2-922D-52C6-8ED196BAA852}"/>
              </a:ext>
            </a:extLst>
          </p:cNvPr>
          <p:cNvSpPr>
            <a:spLocks noGrp="1"/>
          </p:cNvSpPr>
          <p:nvPr>
            <p:ph type="body" sz="half" idx="10"/>
          </p:nvPr>
        </p:nvSpPr>
        <p:spPr>
          <a:xfrm>
            <a:off x="371475" y="2555149"/>
            <a:ext cx="5724525" cy="205184"/>
          </a:xfrm>
        </p:spPr>
        <p:txBody>
          <a:bodyPr/>
          <a:lstStyle/>
          <a:p>
            <a:pPr marL="342900" indent="-342900">
              <a:buFont typeface="Arial" panose="020B0604020202020204" pitchFamily="34" charset="0"/>
              <a:buChar char="•"/>
            </a:pPr>
            <a:r>
              <a:rPr lang="en-US" dirty="0"/>
              <a:t>Nerissa + Emma----------------------- Script for cold calling- </a:t>
            </a:r>
            <a:r>
              <a:rPr lang="en-US" dirty="0">
                <a:solidFill>
                  <a:srgbClr val="FF0000"/>
                </a:solidFill>
              </a:rPr>
              <a:t>Validation Equipment</a:t>
            </a:r>
          </a:p>
          <a:p>
            <a:pPr marL="342900" indent="-342900">
              <a:buFont typeface="Arial" panose="020B0604020202020204" pitchFamily="34" charset="0"/>
              <a:buChar char="•"/>
            </a:pPr>
            <a:r>
              <a:rPr lang="en-US" dirty="0"/>
              <a:t>Sandra + Stefanie --------------------- Script for cold calling- </a:t>
            </a:r>
            <a:r>
              <a:rPr lang="en-US" dirty="0">
                <a:solidFill>
                  <a:srgbClr val="FF0000"/>
                </a:solidFill>
              </a:rPr>
              <a:t>Monitoring</a:t>
            </a:r>
          </a:p>
          <a:p>
            <a:pPr marL="342900" indent="-342900">
              <a:buFont typeface="Arial" panose="020B0604020202020204" pitchFamily="34" charset="0"/>
              <a:buChar char="•"/>
            </a:pPr>
            <a:r>
              <a:rPr lang="en-US" dirty="0"/>
              <a:t>Barrington + Nicola------------------- How does a first meeting look?- </a:t>
            </a:r>
            <a:r>
              <a:rPr lang="en-US" dirty="0">
                <a:solidFill>
                  <a:srgbClr val="FF0000"/>
                </a:solidFill>
              </a:rPr>
              <a:t>Monitoring</a:t>
            </a:r>
          </a:p>
          <a:p>
            <a:pPr marL="342900" indent="-342900">
              <a:buFont typeface="Arial" panose="020B0604020202020204" pitchFamily="34" charset="0"/>
              <a:buChar char="•"/>
            </a:pPr>
            <a:r>
              <a:rPr lang="en-US" dirty="0"/>
              <a:t>Vivien + </a:t>
            </a:r>
            <a:r>
              <a:rPr lang="en-US" dirty="0" err="1"/>
              <a:t>Mahery</a:t>
            </a:r>
            <a:r>
              <a:rPr lang="en-US" dirty="0"/>
              <a:t>------------------------ How does a first meeting look? – </a:t>
            </a:r>
            <a:r>
              <a:rPr lang="en-US" dirty="0">
                <a:solidFill>
                  <a:srgbClr val="FF0000"/>
                </a:solidFill>
              </a:rPr>
              <a:t>Validation Eq.</a:t>
            </a:r>
          </a:p>
          <a:p>
            <a:pPr marL="342900" indent="-342900">
              <a:buFont typeface="Arial" panose="020B0604020202020204" pitchFamily="34" charset="0"/>
              <a:buChar char="•"/>
            </a:pPr>
            <a:r>
              <a:rPr lang="en-US" dirty="0"/>
              <a:t>Marta + Luca----------------------------- Show the stuff! (DEMO) – </a:t>
            </a:r>
            <a:r>
              <a:rPr lang="en-US" dirty="0">
                <a:solidFill>
                  <a:srgbClr val="FF0000"/>
                </a:solidFill>
              </a:rPr>
              <a:t>Validation Equipment</a:t>
            </a:r>
          </a:p>
          <a:p>
            <a:pPr marL="342900" indent="-342900">
              <a:buFont typeface="Arial" panose="020B0604020202020204" pitchFamily="34" charset="0"/>
              <a:buChar char="•"/>
            </a:pPr>
            <a:r>
              <a:rPr lang="en-US" dirty="0"/>
              <a:t>Gregory + (CMU?)--------------------- How to handle objections/resistance?- </a:t>
            </a:r>
            <a:r>
              <a:rPr lang="en-US" dirty="0">
                <a:solidFill>
                  <a:srgbClr val="FF0000"/>
                </a:solidFill>
              </a:rPr>
              <a:t>Val Eq.</a:t>
            </a:r>
          </a:p>
          <a:p>
            <a:pPr marL="342900" indent="-342900">
              <a:buFont typeface="Arial" panose="020B0604020202020204" pitchFamily="34" charset="0"/>
              <a:buChar char="•"/>
            </a:pPr>
            <a:r>
              <a:rPr lang="en-US" dirty="0"/>
              <a:t>Presenters?------------------------------- </a:t>
            </a:r>
          </a:p>
        </p:txBody>
      </p:sp>
    </p:spTree>
    <p:extLst>
      <p:ext uri="{BB962C8B-B14F-4D97-AF65-F5344CB8AC3E}">
        <p14:creationId xmlns:p14="http://schemas.microsoft.com/office/powerpoint/2010/main" val="403519934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897568F-C8B4-939C-182B-8CCFAD98C2E2}"/>
              </a:ext>
            </a:extLst>
          </p:cNvPr>
          <p:cNvSpPr>
            <a:spLocks noGrp="1"/>
          </p:cNvSpPr>
          <p:nvPr>
            <p:ph type="body" sz="half" idx="10"/>
          </p:nvPr>
        </p:nvSpPr>
        <p:spPr>
          <a:xfrm>
            <a:off x="371475" y="2555149"/>
            <a:ext cx="5724525" cy="205184"/>
          </a:xfrm>
        </p:spPr>
        <p:txBody>
          <a:bodyPr/>
          <a:lstStyle/>
          <a:p>
            <a:pPr marL="342900" indent="-342900">
              <a:buFontTx/>
              <a:buChar char="-"/>
            </a:pPr>
            <a:r>
              <a:rPr lang="en-GB" dirty="0"/>
              <a:t>Script for cold calling---- lets hear it! </a:t>
            </a:r>
            <a:r>
              <a:rPr lang="en-GB" dirty="0">
                <a:sym typeface="Wingdings" panose="05000000000000000000" pitchFamily="2" charset="2"/>
              </a:rPr>
              <a:t></a:t>
            </a:r>
          </a:p>
          <a:p>
            <a:pPr marL="342900" indent="-342900">
              <a:buFontTx/>
              <a:buChar char="-"/>
            </a:pPr>
            <a:r>
              <a:rPr lang="en-GB" dirty="0"/>
              <a:t>How does the first meeting look?</a:t>
            </a:r>
          </a:p>
          <a:p>
            <a:pPr marL="498956" lvl="1">
              <a:buFontTx/>
              <a:buChar char="-"/>
            </a:pPr>
            <a:r>
              <a:rPr lang="en-GB" dirty="0"/>
              <a:t>Manager (presenter)</a:t>
            </a:r>
          </a:p>
          <a:p>
            <a:pPr marL="498956" lvl="1">
              <a:buFontTx/>
              <a:buChar char="-"/>
            </a:pPr>
            <a:r>
              <a:rPr lang="en-GB" dirty="0"/>
              <a:t>Technician (presenter)</a:t>
            </a:r>
          </a:p>
          <a:p>
            <a:pPr marL="342900" indent="-342900">
              <a:buFontTx/>
              <a:buChar char="-"/>
            </a:pPr>
            <a:r>
              <a:rPr lang="en-GB" dirty="0"/>
              <a:t>Show the stuff!</a:t>
            </a:r>
          </a:p>
          <a:p>
            <a:pPr marL="498956" lvl="1">
              <a:buFontTx/>
              <a:buChar char="-"/>
            </a:pPr>
            <a:r>
              <a:rPr lang="en-GB" dirty="0"/>
              <a:t>Val Manager (presenter)</a:t>
            </a:r>
          </a:p>
          <a:p>
            <a:pPr marL="498956" lvl="1">
              <a:buFontTx/>
              <a:buChar char="-"/>
            </a:pPr>
            <a:r>
              <a:rPr lang="en-GB" dirty="0"/>
              <a:t>Technician (presenter)</a:t>
            </a:r>
          </a:p>
          <a:p>
            <a:pPr marL="498956" lvl="1">
              <a:buFontTx/>
              <a:buChar char="-"/>
            </a:pPr>
            <a:r>
              <a:rPr lang="en-GB" dirty="0"/>
              <a:t>Technician, Kaye Lover (presenter)</a:t>
            </a:r>
          </a:p>
          <a:p>
            <a:pPr marL="342900" indent="-342900">
              <a:buFontTx/>
              <a:buChar char="-"/>
            </a:pPr>
            <a:r>
              <a:rPr lang="en-GB" dirty="0"/>
              <a:t>How to handle objections</a:t>
            </a:r>
          </a:p>
          <a:p>
            <a:pPr marL="498956" lvl="1">
              <a:buFontTx/>
              <a:buChar char="-"/>
            </a:pPr>
            <a:r>
              <a:rPr lang="en-GB" dirty="0"/>
              <a:t>Val Manager (presenter)</a:t>
            </a:r>
          </a:p>
          <a:p>
            <a:pPr marL="498956" lvl="1">
              <a:buFontTx/>
              <a:buChar char="-"/>
            </a:pPr>
            <a:r>
              <a:rPr lang="en-GB" dirty="0"/>
              <a:t>Technician (presenter)</a:t>
            </a:r>
          </a:p>
          <a:p>
            <a:pPr marL="498956" lvl="1">
              <a:buFontTx/>
              <a:buChar char="-"/>
            </a:pPr>
            <a:r>
              <a:rPr lang="en-GB" dirty="0"/>
              <a:t>Procurement (presenter)</a:t>
            </a:r>
            <a:endParaRPr lang="en-DK" dirty="0"/>
          </a:p>
        </p:txBody>
      </p:sp>
      <p:sp>
        <p:nvSpPr>
          <p:cNvPr id="3" name="Title 2">
            <a:extLst>
              <a:ext uri="{FF2B5EF4-FFF2-40B4-BE49-F238E27FC236}">
                <a16:creationId xmlns:a16="http://schemas.microsoft.com/office/drawing/2014/main" id="{D2CB4954-ACE8-B8FE-A16D-3B6F7A738E38}"/>
              </a:ext>
            </a:extLst>
          </p:cNvPr>
          <p:cNvSpPr>
            <a:spLocks noGrp="1"/>
          </p:cNvSpPr>
          <p:nvPr>
            <p:ph type="title"/>
          </p:nvPr>
        </p:nvSpPr>
        <p:spPr/>
        <p:txBody>
          <a:bodyPr/>
          <a:lstStyle/>
          <a:p>
            <a:r>
              <a:rPr lang="en-US" dirty="0"/>
              <a:t>Group exercise</a:t>
            </a:r>
            <a:endParaRPr lang="en-DK" dirty="0"/>
          </a:p>
        </p:txBody>
      </p:sp>
      <p:pic>
        <p:nvPicPr>
          <p:cNvPr id="7" name="Picture Placeholder 6" descr="Scene board in red background">
            <a:extLst>
              <a:ext uri="{FF2B5EF4-FFF2-40B4-BE49-F238E27FC236}">
                <a16:creationId xmlns:a16="http://schemas.microsoft.com/office/drawing/2014/main" id="{88D2C26D-EEC4-F0F2-63C0-7656B3674C35}"/>
              </a:ext>
            </a:extLst>
          </p:cNvPr>
          <p:cNvPicPr>
            <a:picLocks noGrp="1" noChangeAspect="1"/>
          </p:cNvPicPr>
          <p:nvPr>
            <p:ph type="pic" sz="quarter" idx="4294967295"/>
          </p:nvPr>
        </p:nvPicPr>
        <p:blipFill>
          <a:blip r:embed="rId2" cstate="screen">
            <a:extLst>
              <a:ext uri="{28A0092B-C50C-407E-A947-70E740481C1C}">
                <a14:useLocalDpi xmlns:a14="http://schemas.microsoft.com/office/drawing/2010/main"/>
              </a:ext>
            </a:extLst>
          </a:blip>
          <a:srcRect/>
          <a:stretch>
            <a:fillRect/>
          </a:stretch>
        </p:blipFill>
        <p:spPr>
          <a:xfrm>
            <a:off x="7202113" y="3606800"/>
            <a:ext cx="3613150" cy="3251200"/>
          </a:xfrm>
        </p:spPr>
      </p:pic>
    </p:spTree>
    <p:extLst>
      <p:ext uri="{BB962C8B-B14F-4D97-AF65-F5344CB8AC3E}">
        <p14:creationId xmlns:p14="http://schemas.microsoft.com/office/powerpoint/2010/main" val="418988758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9B8EC8E4-DA56-C2AF-CDAA-22217FAB97E7}"/>
              </a:ext>
            </a:extLst>
          </p:cNvPr>
          <p:cNvSpPr>
            <a:spLocks noGrp="1"/>
          </p:cNvSpPr>
          <p:nvPr>
            <p:ph type="body" sz="half" idx="10"/>
          </p:nvPr>
        </p:nvSpPr>
        <p:spPr/>
        <p:txBody>
          <a:bodyPr/>
          <a:lstStyle/>
          <a:p>
            <a:endParaRPr lang="en-US"/>
          </a:p>
        </p:txBody>
      </p:sp>
      <p:sp>
        <p:nvSpPr>
          <p:cNvPr id="7" name="Title 6">
            <a:extLst>
              <a:ext uri="{FF2B5EF4-FFF2-40B4-BE49-F238E27FC236}">
                <a16:creationId xmlns:a16="http://schemas.microsoft.com/office/drawing/2014/main" id="{59C4CABC-AD6D-9DD1-6F20-759C8F7C4BA8}"/>
              </a:ext>
            </a:extLst>
          </p:cNvPr>
          <p:cNvSpPr>
            <a:spLocks noGrp="1"/>
          </p:cNvSpPr>
          <p:nvPr>
            <p:ph type="title"/>
          </p:nvPr>
        </p:nvSpPr>
        <p:spPr/>
        <p:txBody>
          <a:bodyPr/>
          <a:lstStyle/>
          <a:p>
            <a:endParaRPr lang="en-US"/>
          </a:p>
        </p:txBody>
      </p:sp>
      <p:sp>
        <p:nvSpPr>
          <p:cNvPr id="8" name="Text Placeholder 7">
            <a:extLst>
              <a:ext uri="{FF2B5EF4-FFF2-40B4-BE49-F238E27FC236}">
                <a16:creationId xmlns:a16="http://schemas.microsoft.com/office/drawing/2014/main" id="{FE0B176B-0747-21B8-4DED-BC7C65BC4832}"/>
              </a:ext>
            </a:extLst>
          </p:cNvPr>
          <p:cNvSpPr>
            <a:spLocks noGrp="1"/>
          </p:cNvSpPr>
          <p:nvPr>
            <p:ph type="body" sz="half" idx="2"/>
          </p:nvPr>
        </p:nvSpPr>
        <p:spPr/>
        <p:txBody>
          <a:bodyPr/>
          <a:lstStyle/>
          <a:p>
            <a:endParaRPr lang="en-US"/>
          </a:p>
        </p:txBody>
      </p:sp>
      <p:pic>
        <p:nvPicPr>
          <p:cNvPr id="6" name="Picture 5" descr="Red round device that indicates 10">
            <a:extLst>
              <a:ext uri="{FF2B5EF4-FFF2-40B4-BE49-F238E27FC236}">
                <a16:creationId xmlns:a16="http://schemas.microsoft.com/office/drawing/2014/main" id="{4B16826A-A98D-AC56-A400-1D446FD31C8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600" y="-1"/>
            <a:ext cx="10972800" cy="7315199"/>
          </a:xfrm>
          <a:prstGeom prst="rect">
            <a:avLst/>
          </a:prstGeom>
        </p:spPr>
      </p:pic>
    </p:spTree>
    <p:extLst>
      <p:ext uri="{BB962C8B-B14F-4D97-AF65-F5344CB8AC3E}">
        <p14:creationId xmlns:p14="http://schemas.microsoft.com/office/powerpoint/2010/main" val="351174739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40D120-A2FA-3EAF-B255-70B858DB194F}"/>
              </a:ext>
            </a:extLst>
          </p:cNvPr>
          <p:cNvSpPr>
            <a:spLocks noGrp="1"/>
          </p:cNvSpPr>
          <p:nvPr>
            <p:ph type="body" sz="half" idx="10"/>
          </p:nvPr>
        </p:nvSpPr>
        <p:spPr/>
        <p:txBody>
          <a:bodyPr/>
          <a:lstStyle/>
          <a:p>
            <a:endParaRPr lang="en-US"/>
          </a:p>
        </p:txBody>
      </p:sp>
      <p:sp>
        <p:nvSpPr>
          <p:cNvPr id="2" name="Title 1">
            <a:extLst>
              <a:ext uri="{FF2B5EF4-FFF2-40B4-BE49-F238E27FC236}">
                <a16:creationId xmlns:a16="http://schemas.microsoft.com/office/drawing/2014/main" id="{0A44072B-2092-CAC2-BF5F-A9D6AE291055}"/>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5FB2055-5056-661A-12CD-48E8AE943697}"/>
              </a:ext>
            </a:extLst>
          </p:cNvPr>
          <p:cNvSpPr>
            <a:spLocks noGrp="1"/>
          </p:cNvSpPr>
          <p:nvPr>
            <p:ph type="body" sz="half" idx="2"/>
          </p:nvPr>
        </p:nvSpPr>
        <p:spPr/>
        <p:txBody>
          <a:bodyPr/>
          <a:lstStyle/>
          <a:p>
            <a:endParaRPr lang="en-US"/>
          </a:p>
        </p:txBody>
      </p:sp>
      <p:pic>
        <p:nvPicPr>
          <p:cNvPr id="18" name="Picture 17" descr="Empty seats in a movie theater">
            <a:extLst>
              <a:ext uri="{FF2B5EF4-FFF2-40B4-BE49-F238E27FC236}">
                <a16:creationId xmlns:a16="http://schemas.microsoft.com/office/drawing/2014/main" id="{2CCC0729-5EC0-89B1-ED72-755DE1053A8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600" y="1"/>
            <a:ext cx="10972800" cy="7315199"/>
          </a:xfrm>
          <a:prstGeom prst="rect">
            <a:avLst/>
          </a:prstGeom>
        </p:spPr>
      </p:pic>
      <p:sp>
        <p:nvSpPr>
          <p:cNvPr id="19" name="TextBox 18">
            <a:extLst>
              <a:ext uri="{FF2B5EF4-FFF2-40B4-BE49-F238E27FC236}">
                <a16:creationId xmlns:a16="http://schemas.microsoft.com/office/drawing/2014/main" id="{2E1BA1F5-EFCE-3020-CC81-86BC348F74E5}"/>
              </a:ext>
            </a:extLst>
          </p:cNvPr>
          <p:cNvSpPr txBox="1"/>
          <p:nvPr/>
        </p:nvSpPr>
        <p:spPr>
          <a:xfrm>
            <a:off x="2527875" y="4824436"/>
            <a:ext cx="7257115" cy="1717393"/>
          </a:xfrm>
          <a:prstGeom prst="rect">
            <a:avLst/>
          </a:prstGeom>
          <a:noFill/>
        </p:spPr>
        <p:txBody>
          <a:bodyPr wrap="none" rtlCol="0">
            <a:spAutoFit/>
          </a:bodyPr>
          <a:lstStyle/>
          <a:p>
            <a:pPr eaLnBrk="1" fontAlgn="auto" hangingPunct="1">
              <a:spcBef>
                <a:spcPts val="0"/>
              </a:spcBef>
              <a:spcAft>
                <a:spcPts val="0"/>
              </a:spcAft>
            </a:pPr>
            <a:r>
              <a:rPr lang="en-GB" sz="10560" b="1" dirty="0">
                <a:solidFill>
                  <a:schemeClr val="bg1"/>
                </a:solidFill>
                <a:latin typeface="+mn-lt"/>
              </a:rPr>
              <a:t>Showtime!</a:t>
            </a:r>
            <a:endParaRPr lang="en-DK" sz="10560" b="1" dirty="0">
              <a:solidFill>
                <a:schemeClr val="bg1"/>
              </a:solidFill>
              <a:latin typeface="+mn-lt"/>
            </a:endParaRPr>
          </a:p>
        </p:txBody>
      </p:sp>
    </p:spTree>
    <p:extLst>
      <p:ext uri="{BB962C8B-B14F-4D97-AF65-F5344CB8AC3E}">
        <p14:creationId xmlns:p14="http://schemas.microsoft.com/office/powerpoint/2010/main" val="198865841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0A648-746E-4E0F-2173-8FEB6DEEAD8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EEE3B9E-4383-1ABC-0A74-C60F3EA5CCA1}"/>
              </a:ext>
            </a:extLst>
          </p:cNvPr>
          <p:cNvSpPr>
            <a:spLocks noGrp="1"/>
          </p:cNvSpPr>
          <p:nvPr>
            <p:ph type="body" sz="half" idx="10"/>
          </p:nvPr>
        </p:nvSpPr>
        <p:spPr>
          <a:xfrm>
            <a:off x="371475" y="2555149"/>
            <a:ext cx="5724525" cy="205184"/>
          </a:xfrm>
        </p:spPr>
        <p:txBody>
          <a:bodyPr/>
          <a:lstStyle/>
          <a:p>
            <a:pPr marL="342900" indent="-342900">
              <a:buFontTx/>
              <a:buChar char="-"/>
            </a:pPr>
            <a:r>
              <a:rPr lang="en-GB" dirty="0"/>
              <a:t>Script for cold calling---- lets hear it! </a:t>
            </a:r>
            <a:r>
              <a:rPr lang="en-GB" dirty="0">
                <a:sym typeface="Wingdings" panose="05000000000000000000" pitchFamily="2" charset="2"/>
              </a:rPr>
              <a:t></a:t>
            </a:r>
          </a:p>
          <a:p>
            <a:pPr marL="342900" indent="-342900">
              <a:buFontTx/>
              <a:buChar char="-"/>
            </a:pPr>
            <a:r>
              <a:rPr lang="en-GB" dirty="0"/>
              <a:t>How does the first meeting look?</a:t>
            </a:r>
          </a:p>
          <a:p>
            <a:pPr marL="498956" lvl="1">
              <a:buFontTx/>
              <a:buChar char="-"/>
            </a:pPr>
            <a:r>
              <a:rPr lang="en-GB" dirty="0"/>
              <a:t>Manager (presenter)</a:t>
            </a:r>
          </a:p>
          <a:p>
            <a:pPr marL="498956" lvl="1">
              <a:buFontTx/>
              <a:buChar char="-"/>
            </a:pPr>
            <a:r>
              <a:rPr lang="en-GB" dirty="0"/>
              <a:t>Technician (presenter)</a:t>
            </a:r>
          </a:p>
          <a:p>
            <a:pPr marL="342900" indent="-342900">
              <a:buFontTx/>
              <a:buChar char="-"/>
            </a:pPr>
            <a:r>
              <a:rPr lang="en-GB" dirty="0"/>
              <a:t>Show the stuff!</a:t>
            </a:r>
          </a:p>
          <a:p>
            <a:pPr marL="498956" lvl="1">
              <a:buFontTx/>
              <a:buChar char="-"/>
            </a:pPr>
            <a:r>
              <a:rPr lang="en-GB" dirty="0"/>
              <a:t>Val Manager (presenter)</a:t>
            </a:r>
          </a:p>
          <a:p>
            <a:pPr marL="498956" lvl="1">
              <a:buFontTx/>
              <a:buChar char="-"/>
            </a:pPr>
            <a:r>
              <a:rPr lang="en-GB" dirty="0"/>
              <a:t>Technician (presenter)</a:t>
            </a:r>
          </a:p>
          <a:p>
            <a:pPr marL="498956" lvl="1">
              <a:buFontTx/>
              <a:buChar char="-"/>
            </a:pPr>
            <a:r>
              <a:rPr lang="en-GB" dirty="0"/>
              <a:t>Technician, Kaye Lover (presenter)</a:t>
            </a:r>
          </a:p>
          <a:p>
            <a:pPr marL="342900" indent="-342900">
              <a:buFontTx/>
              <a:buChar char="-"/>
            </a:pPr>
            <a:r>
              <a:rPr lang="en-GB" dirty="0"/>
              <a:t>How to handle objections</a:t>
            </a:r>
          </a:p>
          <a:p>
            <a:pPr marL="498956" lvl="1">
              <a:buFontTx/>
              <a:buChar char="-"/>
            </a:pPr>
            <a:r>
              <a:rPr lang="en-GB" dirty="0"/>
              <a:t>Val Manager (presenter)</a:t>
            </a:r>
          </a:p>
          <a:p>
            <a:pPr marL="498956" lvl="1">
              <a:buFontTx/>
              <a:buChar char="-"/>
            </a:pPr>
            <a:r>
              <a:rPr lang="en-GB" dirty="0"/>
              <a:t>Technician (presenter)</a:t>
            </a:r>
          </a:p>
          <a:p>
            <a:pPr marL="498956" lvl="1">
              <a:buFontTx/>
              <a:buChar char="-"/>
            </a:pPr>
            <a:r>
              <a:rPr lang="en-GB" dirty="0"/>
              <a:t>Procurement (presenter)</a:t>
            </a:r>
            <a:endParaRPr lang="en-DK" dirty="0"/>
          </a:p>
        </p:txBody>
      </p:sp>
      <p:sp>
        <p:nvSpPr>
          <p:cNvPr id="3" name="Title 2">
            <a:extLst>
              <a:ext uri="{FF2B5EF4-FFF2-40B4-BE49-F238E27FC236}">
                <a16:creationId xmlns:a16="http://schemas.microsoft.com/office/drawing/2014/main" id="{017B19FB-1879-0281-369E-1F2E3C2539BD}"/>
              </a:ext>
            </a:extLst>
          </p:cNvPr>
          <p:cNvSpPr>
            <a:spLocks noGrp="1"/>
          </p:cNvSpPr>
          <p:nvPr>
            <p:ph type="title"/>
          </p:nvPr>
        </p:nvSpPr>
        <p:spPr/>
        <p:txBody>
          <a:bodyPr/>
          <a:lstStyle/>
          <a:p>
            <a:r>
              <a:rPr lang="en-US" dirty="0"/>
              <a:t>Group exercise</a:t>
            </a:r>
            <a:endParaRPr lang="en-DK" dirty="0"/>
          </a:p>
        </p:txBody>
      </p:sp>
      <p:pic>
        <p:nvPicPr>
          <p:cNvPr id="7" name="Picture Placeholder 6" descr="Scene board in red background">
            <a:extLst>
              <a:ext uri="{FF2B5EF4-FFF2-40B4-BE49-F238E27FC236}">
                <a16:creationId xmlns:a16="http://schemas.microsoft.com/office/drawing/2014/main" id="{8E565DDA-78C0-BC71-2A41-218658140915}"/>
              </a:ext>
            </a:extLst>
          </p:cNvPr>
          <p:cNvPicPr>
            <a:picLocks noGrp="1" noChangeAspect="1"/>
          </p:cNvPicPr>
          <p:nvPr>
            <p:ph type="pic" sz="quarter" idx="4294967295"/>
          </p:nvPr>
        </p:nvPicPr>
        <p:blipFill>
          <a:blip r:embed="rId2" cstate="screen">
            <a:extLst>
              <a:ext uri="{28A0092B-C50C-407E-A947-70E740481C1C}">
                <a14:useLocalDpi xmlns:a14="http://schemas.microsoft.com/office/drawing/2010/main"/>
              </a:ext>
            </a:extLst>
          </a:blip>
          <a:srcRect/>
          <a:stretch>
            <a:fillRect/>
          </a:stretch>
        </p:blipFill>
        <p:spPr>
          <a:xfrm>
            <a:off x="7202113" y="3606800"/>
            <a:ext cx="3613150" cy="3251200"/>
          </a:xfrm>
        </p:spPr>
      </p:pic>
    </p:spTree>
    <p:extLst>
      <p:ext uri="{BB962C8B-B14F-4D97-AF65-F5344CB8AC3E}">
        <p14:creationId xmlns:p14="http://schemas.microsoft.com/office/powerpoint/2010/main" val="16356068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1A47CD9-B6F2-922D-52C6-8ED196BAA852}"/>
              </a:ext>
            </a:extLst>
          </p:cNvPr>
          <p:cNvSpPr>
            <a:spLocks noGrp="1"/>
          </p:cNvSpPr>
          <p:nvPr>
            <p:ph type="body" sz="half" idx="10"/>
          </p:nvPr>
        </p:nvSpPr>
        <p:spPr/>
        <p:txBody>
          <a:bodyPr/>
          <a:lstStyle/>
          <a:p>
            <a:pPr marL="411480" indent="-411480">
              <a:lnSpc>
                <a:spcPct val="100000"/>
              </a:lnSpc>
              <a:buFont typeface="Symbol" panose="05050102010706020507" pitchFamily="18" charset="2"/>
              <a:buChar char=""/>
            </a:pPr>
            <a:r>
              <a:rPr lang="en-GB" sz="2160" b="0" dirty="0">
                <a:latin typeface="+mj-lt"/>
                <a:ea typeface="Times New Roman" panose="02020603050405020304" pitchFamily="18" charset="0"/>
              </a:rPr>
              <a:t>What questions to ask?</a:t>
            </a:r>
            <a:endParaRPr lang="en-DK" sz="2160" b="0" dirty="0">
              <a:latin typeface="+mj-lt"/>
              <a:ea typeface="Times New Roman" panose="02020603050405020304" pitchFamily="18" charset="0"/>
            </a:endParaRPr>
          </a:p>
          <a:p>
            <a:pPr marL="411480" indent="-411480">
              <a:lnSpc>
                <a:spcPct val="100000"/>
              </a:lnSpc>
              <a:buFont typeface="Symbol" panose="05050102010706020507" pitchFamily="18" charset="2"/>
              <a:buChar char=""/>
            </a:pPr>
            <a:r>
              <a:rPr lang="en-GB" sz="2160" b="0" dirty="0">
                <a:latin typeface="+mj-lt"/>
                <a:ea typeface="Times New Roman" panose="02020603050405020304" pitchFamily="18" charset="0"/>
              </a:rPr>
              <a:t>Identify what stage are you in (Intro, DEMO, test)</a:t>
            </a:r>
            <a:endParaRPr lang="en-DK" sz="2160" b="0" dirty="0">
              <a:latin typeface="+mj-lt"/>
              <a:ea typeface="Times New Roman" panose="02020603050405020304" pitchFamily="18" charset="0"/>
            </a:endParaRPr>
          </a:p>
          <a:p>
            <a:pPr marL="411480" indent="-411480">
              <a:lnSpc>
                <a:spcPct val="100000"/>
              </a:lnSpc>
              <a:buFont typeface="Symbol" panose="05050102010706020507" pitchFamily="18" charset="2"/>
              <a:buChar char=""/>
            </a:pPr>
            <a:r>
              <a:rPr lang="en-GB" sz="2160" b="0" dirty="0">
                <a:latin typeface="+mj-lt"/>
                <a:ea typeface="Times New Roman" panose="02020603050405020304" pitchFamily="18" charset="0"/>
              </a:rPr>
              <a:t>Direct customer focus.</a:t>
            </a:r>
            <a:endParaRPr lang="en-DK" sz="2160" b="0" dirty="0">
              <a:latin typeface="+mj-lt"/>
              <a:ea typeface="Times New Roman" panose="02020603050405020304" pitchFamily="18" charset="0"/>
            </a:endParaRPr>
          </a:p>
          <a:p>
            <a:pPr marL="411480" indent="-411480">
              <a:lnSpc>
                <a:spcPct val="100000"/>
              </a:lnSpc>
              <a:buFont typeface="Symbol" panose="05050102010706020507" pitchFamily="18" charset="2"/>
              <a:buChar char=""/>
            </a:pPr>
            <a:r>
              <a:rPr lang="en-GB" sz="2160" b="0" dirty="0">
                <a:latin typeface="+mj-lt"/>
                <a:ea typeface="Times New Roman" panose="02020603050405020304" pitchFamily="18" charset="0"/>
              </a:rPr>
              <a:t>Prepare the DEMO.</a:t>
            </a:r>
            <a:endParaRPr lang="en-DK" sz="2160" b="0" dirty="0">
              <a:latin typeface="+mj-lt"/>
              <a:ea typeface="Times New Roman" panose="02020603050405020304" pitchFamily="18" charset="0"/>
            </a:endParaRPr>
          </a:p>
          <a:p>
            <a:pPr marL="411480" indent="-411480">
              <a:lnSpc>
                <a:spcPct val="100000"/>
              </a:lnSpc>
              <a:buFont typeface="Symbol" panose="05050102010706020507" pitchFamily="18" charset="2"/>
              <a:buChar char=""/>
            </a:pPr>
            <a:r>
              <a:rPr lang="en-GB" sz="2160" b="0" dirty="0">
                <a:latin typeface="+mj-lt"/>
                <a:ea typeface="Times New Roman" panose="02020603050405020304" pitchFamily="18" charset="0"/>
              </a:rPr>
              <a:t>Prepare the test.</a:t>
            </a:r>
            <a:endParaRPr lang="en-DK" sz="2160" b="0" dirty="0">
              <a:latin typeface="+mj-lt"/>
              <a:ea typeface="Times New Roman" panose="02020603050405020304" pitchFamily="18" charset="0"/>
            </a:endParaRPr>
          </a:p>
          <a:p>
            <a:pPr marL="342900" indent="-342900">
              <a:lnSpc>
                <a:spcPct val="100000"/>
              </a:lnSpc>
              <a:buFont typeface="Arial" panose="020B0604020202020204" pitchFamily="34" charset="0"/>
              <a:buChar char="•"/>
            </a:pPr>
            <a:endParaRPr lang="en-US" dirty="0">
              <a:latin typeface="+mj-lt"/>
            </a:endParaRPr>
          </a:p>
        </p:txBody>
      </p:sp>
      <p:sp>
        <p:nvSpPr>
          <p:cNvPr id="6" name="Title 5">
            <a:extLst>
              <a:ext uri="{FF2B5EF4-FFF2-40B4-BE49-F238E27FC236}">
                <a16:creationId xmlns:a16="http://schemas.microsoft.com/office/drawing/2014/main" id="{66B8275C-6E9D-94E9-9F30-23BEF1556B7A}"/>
              </a:ext>
            </a:extLst>
          </p:cNvPr>
          <p:cNvSpPr>
            <a:spLocks noGrp="1"/>
          </p:cNvSpPr>
          <p:nvPr>
            <p:ph type="title"/>
          </p:nvPr>
        </p:nvSpPr>
        <p:spPr/>
        <p:txBody>
          <a:bodyPr/>
          <a:lstStyle/>
          <a:p>
            <a:r>
              <a:rPr lang="en-US" dirty="0"/>
              <a:t>Demo best practices</a:t>
            </a:r>
          </a:p>
        </p:txBody>
      </p:sp>
      <p:sp>
        <p:nvSpPr>
          <p:cNvPr id="2" name="Text Placeholder 1">
            <a:extLst>
              <a:ext uri="{FF2B5EF4-FFF2-40B4-BE49-F238E27FC236}">
                <a16:creationId xmlns:a16="http://schemas.microsoft.com/office/drawing/2014/main" id="{7286402F-91AF-2B64-A4F5-07D73652A246}"/>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2939939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8695846"/>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ScRck2eKN05WO6B5fc.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6zV3F1W_O7EOsNQvUxA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dSf7hEBDHB2tyksQfHA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epSFbt4uDQTHM9RiW2Q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Nh6LMFcdfln3yAG9yGm8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DyIUYL.Ti3_ldNkuyRIE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XIC7lUkMY46OXNg245k_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biEg7Ja2bl7pBeUGPZR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P5qGqWkSKgvnwVKjqwHq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7EQS5wSrnywkJz..I2_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2X5e7XpSnm0z.6uRsde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06Ej2IBIoaDsgZXybvmv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oX.xNZNPOgh6jfH1eCV6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OmqSjFZPbMZ8qtTskK.P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K8Hb1ccUNeAnXxTMOm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1LNaZUqHg0x7we7v99B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1CQ2iwNewtXWTmxmAKMB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q4RTYY7Buc1YDyqdstaE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tCck8sDd1NfXCohRi3Y4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pELTjYYL4FgpxI9a1F9i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6rMQpwVOJHWmFOFFb2Ct3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TslyuyLKhWgWR0hBJqk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WpCDT.OYjs0MdvT2J4up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0GyyyB4HOILfB8C7gATHZ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6VjGecZ.hxP.UpzdfBma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kia_oeVZG9iNcS0R2KM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zaWHHn1JyjZaFBf.6gjE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RXhDmo_xypRnvysjx70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Mq2iKL.ubp8V1kiIREqz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F2RxVXL4vq9vh1XHd7u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K2aMlghEE2SWFaneLZw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2XxBXgyS576f_NuM_FfXr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tpC.ztw5gCQPgD8aMI5c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FWItsgQcKn9l4J6G4Gg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SzjtRoX97Ac80y4EXXY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bFSiVEruD9ITFO6fjbcS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Rz1Lk19VGDxpTrrxA9j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y16nHSWehDXpxCm.dFyw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4swXG9DfGcStXGQTByajp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Cv5N37qAayhkK0wROjW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fv_3ez2GPADeWez68sN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fbpoHhThWKmq63I3YJ0_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lUm8JEQuVUYkySFUdkqw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iWqCcXNkQtbKZm1uWGbP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9itbNR4hKIQvA3s2xoNr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kzGWU7d5jEJbUjPoXUOZ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Y6Y1xJNHmp5TqyODw1HV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Djghhnpsclnj4a4ZlK_4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wMRqziMJkkL4_z979t_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9hJSpj7dKmY5ywPxq.._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8kNp4vYca9hLeCHYldU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fxckyXq8KKdWl7wyLZIG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UA6KrSRbJxrzbrPyMYv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UOyi.8GvdXsY0eiSdPJ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1017088-36D7-45E9-9106-8C64A501F278}"/>
    </a:ext>
  </a:extLst>
</a:theme>
</file>

<file path=ppt/theme/theme2.xml><?xml version="1.0" encoding="utf-8"?>
<a:theme xmlns:a="http://schemas.openxmlformats.org/drawingml/2006/main" name="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8D3DC4F-CBF3-41EA-92C1-7B7AFD63B46E}"/>
    </a:ext>
  </a:extLst>
</a:theme>
</file>

<file path=ppt/theme/theme3.xml><?xml version="1.0" encoding="utf-8"?>
<a:theme xmlns:a="http://schemas.openxmlformats.org/drawingml/2006/main" name="2_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ED1DF473-2E3E-4D8A-A5F2-0AFC77710401}"/>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aa58c2a-f017-428b-bbaa-fa514989d33c">
      <Terms xmlns="http://schemas.microsoft.com/office/infopath/2007/PartnerControls"/>
    </lcf76f155ced4ddcb4097134ff3c332f>
    <TaxCatchAll xmlns="664ca7e1-e14f-440d-a513-c6c708b31b07"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9ADEA1D4D052C40A8862A7201693DCD" ma:contentTypeVersion="19" ma:contentTypeDescription="Create a new document." ma:contentTypeScope="" ma:versionID="23efa43e258ae61b2fc52c0eecf186fb">
  <xsd:schema xmlns:xsd="http://www.w3.org/2001/XMLSchema" xmlns:xs="http://www.w3.org/2001/XMLSchema" xmlns:p="http://schemas.microsoft.com/office/2006/metadata/properties" xmlns:ns2="5aa58c2a-f017-428b-bbaa-fa514989d33c" xmlns:ns3="664ca7e1-e14f-440d-a513-c6c708b31b07" targetNamespace="http://schemas.microsoft.com/office/2006/metadata/properties" ma:root="true" ma:fieldsID="1b5f473f7411cf554ec0ab2a398ae6c9" ns2:_="" ns3:_="">
    <xsd:import namespace="5aa58c2a-f017-428b-bbaa-fa514989d33c"/>
    <xsd:import namespace="664ca7e1-e14f-440d-a513-c6c708b31b0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a58c2a-f017-428b-bbaa-fa514989d3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16"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449fb74-ddce-4354-82c8-d456aa319e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64ca7e1-e14f-440d-a513-c6c708b31b0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a35717b-af10-4d7e-bd89-df9a2ed079bd}" ma:internalName="TaxCatchAll" ma:showField="CatchAllData" ma:web="664ca7e1-e14f-440d-a513-c6c708b31b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52EEB7-FEF9-42EB-817A-C2264CECDDF9}">
  <ds:schemaRefs>
    <ds:schemaRef ds:uri="http://schemas.microsoft.com/sharepoint/v3/contenttype/forms"/>
  </ds:schemaRefs>
</ds:datastoreItem>
</file>

<file path=customXml/itemProps2.xml><?xml version="1.0" encoding="utf-8"?>
<ds:datastoreItem xmlns:ds="http://schemas.openxmlformats.org/officeDocument/2006/customXml" ds:itemID="{97C83DAA-853C-437C-B82B-B636A6EE8D1A}">
  <ds:schemaRefs>
    <ds:schemaRef ds:uri="http://schemas.microsoft.com/office/2006/metadata/properties"/>
    <ds:schemaRef ds:uri="http://schemas.microsoft.com/office/infopath/2007/PartnerControls"/>
    <ds:schemaRef ds:uri="5aa58c2a-f017-428b-bbaa-fa514989d33c"/>
    <ds:schemaRef ds:uri="664ca7e1-e14f-440d-a513-c6c708b31b07"/>
  </ds:schemaRefs>
</ds:datastoreItem>
</file>

<file path=customXml/itemProps3.xml><?xml version="1.0" encoding="utf-8"?>
<ds:datastoreItem xmlns:ds="http://schemas.openxmlformats.org/officeDocument/2006/customXml" ds:itemID="{7379010A-6665-49CB-92D7-0B76CD583B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a58c2a-f017-428b-bbaa-fa514989d33c"/>
    <ds:schemaRef ds:uri="664ca7e1-e14f-440d-a513-c6c708b31b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36</TotalTime>
  <Words>4650</Words>
  <Application>Microsoft Office PowerPoint</Application>
  <PresentationFormat>Widescreen</PresentationFormat>
  <Paragraphs>892</Paragraphs>
  <Slides>96</Slides>
  <Notes>32</Notes>
  <HiddenSlides>4</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96</vt:i4>
      </vt:variant>
    </vt:vector>
  </HeadingPairs>
  <TitlesOfParts>
    <vt:vector size="112" baseType="lpstr">
      <vt:lpstr>Avenir Next</vt:lpstr>
      <vt:lpstr>Symbol</vt:lpstr>
      <vt:lpstr>Wingdings</vt:lpstr>
      <vt:lpstr>Calibri</vt:lpstr>
      <vt:lpstr>Avenir Next LT Pro</vt:lpstr>
      <vt:lpstr>Avenir Next LT Pro Demi</vt:lpstr>
      <vt:lpstr>AvenirNext LT Pro Regular</vt:lpstr>
      <vt:lpstr>Ellab Sans SemiBold</vt:lpstr>
      <vt:lpstr>Aptos</vt:lpstr>
      <vt:lpstr>Arial</vt:lpstr>
      <vt:lpstr>AvenirNext LT Pro Medium</vt:lpstr>
      <vt:lpstr>Ellab Sans</vt:lpstr>
      <vt:lpstr>1_ellab</vt:lpstr>
      <vt:lpstr>ellab</vt:lpstr>
      <vt:lpstr>2_ellab</vt:lpstr>
      <vt:lpstr>think-cell Slide</vt:lpstr>
      <vt:lpstr>Value Selling</vt:lpstr>
      <vt:lpstr>Did you watch the videos?</vt:lpstr>
      <vt:lpstr>Did you watch the videos?</vt:lpstr>
      <vt:lpstr>Aim of the training</vt:lpstr>
      <vt:lpstr>Participant Intro</vt:lpstr>
      <vt:lpstr>Ellab Strategy</vt:lpstr>
      <vt:lpstr>The Ellab Strategy – Executive Summary</vt:lpstr>
      <vt:lpstr>PowerPoint Presentation</vt:lpstr>
      <vt:lpstr>How Do We Ensure Success?</vt:lpstr>
      <vt:lpstr> We Support Your Full Life Cycle</vt:lpstr>
      <vt:lpstr>What Do We Offer? </vt:lpstr>
      <vt:lpstr>What is Validation - Thermal Validation? What is Monitoring?</vt:lpstr>
      <vt:lpstr>Ellab Sales Process</vt:lpstr>
      <vt:lpstr>How to convert a customer?</vt:lpstr>
      <vt:lpstr>How to convert a customer?</vt:lpstr>
      <vt:lpstr>How to convert a customer?</vt:lpstr>
      <vt:lpstr>How to convert a customer?</vt:lpstr>
      <vt:lpstr>How to convert a customer?</vt:lpstr>
      <vt:lpstr>How to convert a customer?</vt:lpstr>
      <vt:lpstr>How to convert a customer?</vt:lpstr>
      <vt:lpstr>How to convert a customer?</vt:lpstr>
      <vt:lpstr>Value-based sales</vt:lpstr>
      <vt:lpstr>What we’ll cover for the next hour</vt:lpstr>
      <vt:lpstr>Taking a customer from a lead to a closed deal has never been more complex</vt:lpstr>
      <vt:lpstr>Let’s start with some definitions</vt:lpstr>
      <vt:lpstr>What could this mean for our products?</vt:lpstr>
      <vt:lpstr>PowerPoint Presentation</vt:lpstr>
      <vt:lpstr>For the sales you actively engage in – where on the scale is Ellab’s business</vt:lpstr>
      <vt:lpstr>Asking questions is great, asking open questions is even better</vt:lpstr>
      <vt:lpstr>What’s the value-based sales process</vt:lpstr>
      <vt:lpstr>How do we know if we found the need?</vt:lpstr>
      <vt:lpstr>Let’s take it one step further</vt:lpstr>
      <vt:lpstr>The underlying need, is why the need is important</vt:lpstr>
      <vt:lpstr>Fully understanding the problem to solve</vt:lpstr>
      <vt:lpstr>Categorizing customers based on their roles and responsibilities </vt:lpstr>
      <vt:lpstr>What is a persona, and why is it important?</vt:lpstr>
      <vt:lpstr>User buyers need to understand the customer experience</vt:lpstr>
      <vt:lpstr>Technical buyers want to buy – not be sold</vt:lpstr>
      <vt:lpstr>Financial buyers want to make the smart financial decision</vt:lpstr>
      <vt:lpstr>Strategic buyers want to understand the business impact </vt:lpstr>
      <vt:lpstr>PowerPoint Presentation</vt:lpstr>
      <vt:lpstr>Practical Steps Towards Value Sales</vt:lpstr>
      <vt:lpstr>Who do we target and how?</vt:lpstr>
      <vt:lpstr>Account planning</vt:lpstr>
      <vt:lpstr>Who do we target and how?</vt:lpstr>
      <vt:lpstr>Databases &amp; Contacts</vt:lpstr>
      <vt:lpstr>Value Proposition- Along with customer all the way</vt:lpstr>
      <vt:lpstr>Along with customer all the way- Detailing the needs </vt:lpstr>
      <vt:lpstr>Future of  Ellab Sales</vt:lpstr>
      <vt:lpstr>Ellab ValSuite software – selling strategies</vt:lpstr>
      <vt:lpstr>Practical Steps Towards Value Sales</vt:lpstr>
      <vt:lpstr>What is the Best Way to Show Ellab Equipment?</vt:lpstr>
      <vt:lpstr>What is the best way to present Valsuite</vt:lpstr>
      <vt:lpstr>What is The Best Way to Show Ellab Equipment?</vt:lpstr>
      <vt:lpstr>What is the best way to show Valsuite?</vt:lpstr>
      <vt:lpstr>PowerPoint Presentation</vt:lpstr>
      <vt:lpstr>PowerPoint Presentation</vt:lpstr>
      <vt:lpstr>What is the Best Way to Show Ellab Equipment?</vt:lpstr>
      <vt:lpstr>What is the best way to present Valsuite</vt:lpstr>
      <vt:lpstr>Show how user-friendly the software is. </vt:lpstr>
      <vt:lpstr>Major advantage features</vt:lpstr>
      <vt:lpstr>Attack!</vt:lpstr>
      <vt:lpstr>What is the best wat to show Valsuite?</vt:lpstr>
      <vt:lpstr>What is the Best Way to Show ValSuite?</vt:lpstr>
      <vt:lpstr>Strategy update RoW</vt:lpstr>
      <vt:lpstr>What is the Best Way to Show ValSuite?</vt:lpstr>
      <vt:lpstr>PowerPoint Presentation</vt:lpstr>
      <vt:lpstr>What is the Best Way to Show ValSuite?</vt:lpstr>
      <vt:lpstr>Flexible Calibration</vt:lpstr>
      <vt:lpstr>PowerPoint Presentation</vt:lpstr>
      <vt:lpstr>What is the Best Way to Show ValSuite?</vt:lpstr>
      <vt:lpstr>PowerPoint Presentation</vt:lpstr>
      <vt:lpstr>What is the Best Way to Show ValSuite?</vt:lpstr>
      <vt:lpstr>Busy Workday</vt:lpstr>
      <vt:lpstr>What is the Best Way to Show ValSuite?</vt:lpstr>
      <vt:lpstr>PowerPoint Presentation</vt:lpstr>
      <vt:lpstr>What is the best wat to show Valsuite?</vt:lpstr>
      <vt:lpstr>What is the Best Way to Show ValSuite?</vt:lpstr>
      <vt:lpstr>Major trends</vt:lpstr>
      <vt:lpstr>Increasing regulatory stringency</vt:lpstr>
      <vt:lpstr>Shortage of skilled labor for Biopharma</vt:lpstr>
      <vt:lpstr>Multiproduct facilities - Barrier world</vt:lpstr>
      <vt:lpstr>More connected and data-driven pharmaceutical ecosystem</vt:lpstr>
      <vt:lpstr>Market trends </vt:lpstr>
      <vt:lpstr>Dataloggers clearly preferred solution</vt:lpstr>
      <vt:lpstr>PowerPoint Presentation</vt:lpstr>
      <vt:lpstr>Dataloggers and thermocouples</vt:lpstr>
      <vt:lpstr>Thank you</vt:lpstr>
      <vt:lpstr>Workshop</vt:lpstr>
      <vt:lpstr>Group exercise</vt:lpstr>
      <vt:lpstr>Group exercise</vt:lpstr>
      <vt:lpstr>PowerPoint Presentation</vt:lpstr>
      <vt:lpstr>PowerPoint Presentation</vt:lpstr>
      <vt:lpstr>Group exercise</vt:lpstr>
      <vt:lpstr>Demo best practi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eksandra Szejko</dc:creator>
  <cp:lastModifiedBy>Aleksandra Szejko</cp:lastModifiedBy>
  <cp:revision>4</cp:revision>
  <dcterms:created xsi:type="dcterms:W3CDTF">2025-06-20T07:54:33Z</dcterms:created>
  <dcterms:modified xsi:type="dcterms:W3CDTF">2025-07-18T12:2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ADEA1D4D052C40A8862A7201693DCD</vt:lpwstr>
  </property>
  <property fmtid="{D5CDD505-2E9C-101B-9397-08002B2CF9AE}" pid="3" name="MediaServiceImageTags">
    <vt:lpwstr/>
  </property>
</Properties>
</file>